
<file path=[Content_Types].xml><?xml version="1.0" encoding="utf-8"?>
<Types xmlns="http://schemas.openxmlformats.org/package/2006/content-types">
  <Default Extension="jpeg" ContentType="image/jpe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wdp" ContentType="image/vnd.ms-photo"/>
  <Default Extension="tiff" ContentType="image/tiff"/>
  <Default Extension="png" ContentType="image/png"/>
  <Default Extension="gif" ContentType="image/gif"/>
  <Default Extension="emf" ContentType="image/x-emf"/>
  <Default Extension="wmf" ContentType="image/x-w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diagrams/colors1.xml" ContentType="application/vnd.openxmlformats-officedocument.drawingml.diagramColors+xml"/>
  <Override PartName="/ppt/diagrams/colors2.xml" ContentType="application/vnd.openxmlformats-officedocument.drawingml.diagramColors+xml"/>
  <Override PartName="/ppt/diagrams/colors3.xml" ContentType="application/vnd.openxmlformats-officedocument.drawingml.diagramColors+xml"/>
  <Override PartName="/ppt/diagrams/colors4.xml" ContentType="application/vnd.openxmlformats-officedocument.drawingml.diagramColors+xml"/>
  <Override PartName="/ppt/diagrams/colors5.xml" ContentType="application/vnd.openxmlformats-officedocument.drawingml.diagramColors+xml"/>
  <Override PartName="/ppt/diagrams/data1.xml" ContentType="application/vnd.openxmlformats-officedocument.drawingml.diagramData+xml"/>
  <Override PartName="/ppt/diagrams/data2.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rawing1.xml" ContentType="application/vnd.ms-office.drawingml.diagramDrawing+xml"/>
  <Override PartName="/ppt/diagrams/drawing2.xml" ContentType="application/vnd.ms-office.drawingml.diagramDrawing+xml"/>
  <Override PartName="/ppt/diagrams/drawing3.xml" ContentType="application/vnd.ms-office.drawingml.diagramDrawing+xml"/>
  <Override PartName="/ppt/diagrams/drawing4.xml" ContentType="application/vnd.ms-office.drawingml.diagramDrawing+xml"/>
  <Override PartName="/ppt/diagrams/drawing5.xml" ContentType="application/vnd.ms-office.drawingml.diagramDrawing+xml"/>
  <Override PartName="/ppt/diagrams/layout1.xml" ContentType="application/vnd.openxmlformats-officedocument.drawingml.diagramLayout+xml"/>
  <Override PartName="/ppt/diagrams/layout2.xml" ContentType="application/vnd.openxmlformats-officedocument.drawingml.diagramLayout+xml"/>
  <Override PartName="/ppt/diagrams/layout3.xml" ContentType="application/vnd.openxmlformats-officedocument.drawingml.diagramLayout+xml"/>
  <Override PartName="/ppt/diagrams/layout4.xml" ContentType="application/vnd.openxmlformats-officedocument.drawingml.diagramLayout+xml"/>
  <Override PartName="/ppt/diagrams/layout5.xml" ContentType="application/vnd.openxmlformats-officedocument.drawingml.diagramLayout+xml"/>
  <Override PartName="/ppt/diagrams/quickStyle1.xml" ContentType="application/vnd.openxmlformats-officedocument.drawingml.diagramStyle+xml"/>
  <Override PartName="/ppt/diagrams/quickStyle2.xml" ContentType="application/vnd.openxmlformats-officedocument.drawingml.diagramStyle+xml"/>
  <Override PartName="/ppt/diagrams/quickStyle3.xml" ContentType="application/vnd.openxmlformats-officedocument.drawingml.diagramStyle+xml"/>
  <Override PartName="/ppt/diagrams/quickStyle4.xml" ContentType="application/vnd.openxmlformats-officedocument.drawingml.diagramStyle+xml"/>
  <Override PartName="/ppt/diagrams/quickStyle5.xml" ContentType="application/vnd.openxmlformats-officedocument.drawingml.diagramStyle+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Override1.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1"/>
    <p:sldMasterId id="2147483654" r:id="rId3"/>
    <p:sldMasterId id="2147483675" r:id="rId4"/>
    <p:sldMasterId id="2147483694" r:id="rId5"/>
    <p:sldMasterId id="2147483705" r:id="rId6"/>
    <p:sldMasterId id="2147483713" r:id="rId7"/>
    <p:sldMasterId id="2147483719" r:id="rId8"/>
  </p:sldMasterIdLst>
  <p:notesMasterIdLst>
    <p:notesMasterId r:id="rId14"/>
  </p:notesMasterIdLst>
  <p:sldIdLst>
    <p:sldId id="480" r:id="rId9"/>
    <p:sldId id="464" r:id="rId10"/>
    <p:sldId id="570" r:id="rId11"/>
    <p:sldId id="481" r:id="rId12"/>
    <p:sldId id="589" r:id="rId13"/>
    <p:sldId id="488" r:id="rId15"/>
    <p:sldId id="490" r:id="rId16"/>
    <p:sldId id="485" r:id="rId17"/>
    <p:sldId id="591" r:id="rId18"/>
    <p:sldId id="483" r:id="rId19"/>
    <p:sldId id="571" r:id="rId20"/>
    <p:sldId id="489" r:id="rId21"/>
    <p:sldId id="578" r:id="rId22"/>
    <p:sldId id="493" r:id="rId23"/>
    <p:sldId id="606" r:id="rId24"/>
    <p:sldId id="507" r:id="rId25"/>
    <p:sldId id="596" r:id="rId26"/>
    <p:sldId id="572" r:id="rId27"/>
    <p:sldId id="632" r:id="rId28"/>
    <p:sldId id="515" r:id="rId29"/>
    <p:sldId id="512" r:id="rId30"/>
    <p:sldId id="575" r:id="rId31"/>
    <p:sldId id="516" r:id="rId32"/>
    <p:sldId id="610" r:id="rId33"/>
    <p:sldId id="517" r:id="rId34"/>
    <p:sldId id="519" r:id="rId35"/>
    <p:sldId id="518" r:id="rId36"/>
    <p:sldId id="521" r:id="rId37"/>
    <p:sldId id="522" r:id="rId38"/>
    <p:sldId id="523" r:id="rId39"/>
    <p:sldId id="524" r:id="rId40"/>
    <p:sldId id="583" r:id="rId41"/>
    <p:sldId id="612" r:id="rId42"/>
    <p:sldId id="613" r:id="rId43"/>
    <p:sldId id="622" r:id="rId44"/>
    <p:sldId id="599" r:id="rId45"/>
    <p:sldId id="600" r:id="rId46"/>
    <p:sldId id="601" r:id="rId47"/>
    <p:sldId id="607" r:id="rId48"/>
    <p:sldId id="626" r:id="rId49"/>
    <p:sldId id="627" r:id="rId50"/>
    <p:sldId id="628" r:id="rId51"/>
    <p:sldId id="621" r:id="rId52"/>
    <p:sldId id="585" r:id="rId53"/>
    <p:sldId id="586" r:id="rId54"/>
    <p:sldId id="587" r:id="rId55"/>
    <p:sldId id="588" r:id="rId56"/>
    <p:sldId id="620" r:id="rId57"/>
    <p:sldId id="552" r:id="rId58"/>
    <p:sldId id="619" r:id="rId59"/>
    <p:sldId id="527" r:id="rId60"/>
    <p:sldId id="614" r:id="rId61"/>
    <p:sldId id="615" r:id="rId62"/>
    <p:sldId id="616" r:id="rId63"/>
    <p:sldId id="617" r:id="rId64"/>
    <p:sldId id="623" r:id="rId65"/>
    <p:sldId id="540" r:id="rId66"/>
    <p:sldId id="541" r:id="rId67"/>
    <p:sldId id="534" r:id="rId68"/>
    <p:sldId id="542" r:id="rId69"/>
    <p:sldId id="543" r:id="rId70"/>
    <p:sldId id="546" r:id="rId71"/>
    <p:sldId id="545" r:id="rId72"/>
    <p:sldId id="547" r:id="rId73"/>
    <p:sldId id="624" r:id="rId74"/>
    <p:sldId id="536" r:id="rId75"/>
    <p:sldId id="633" r:id="rId76"/>
    <p:sldId id="634" r:id="rId77"/>
    <p:sldId id="635" r:id="rId78"/>
    <p:sldId id="636" r:id="rId79"/>
    <p:sldId id="625" r:id="rId80"/>
    <p:sldId id="629" r:id="rId81"/>
    <p:sldId id="566" r:id="rId82"/>
    <p:sldId id="567" r:id="rId83"/>
    <p:sldId id="563" r:id="rId84"/>
    <p:sldId id="564" r:id="rId85"/>
    <p:sldId id="691" r:id="rId86"/>
    <p:sldId id="692" r:id="rId87"/>
    <p:sldId id="693" r:id="rId88"/>
    <p:sldId id="694" r:id="rId89"/>
    <p:sldId id="695" r:id="rId90"/>
    <p:sldId id="696" r:id="rId91"/>
    <p:sldId id="697" r:id="rId92"/>
    <p:sldId id="698" r:id="rId93"/>
    <p:sldId id="699" r:id="rId94"/>
    <p:sldId id="700" r:id="rId95"/>
    <p:sldId id="701" r:id="rId96"/>
    <p:sldId id="477" r:id="rId97"/>
  </p:sldIdLst>
  <p:sldSz cx="9144000" cy="6858000" type="screen4x3"/>
  <p:notesSz cx="6794500" cy="9931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200"/>
    <a:srgbClr val="FF5050"/>
    <a:srgbClr val="DCDDDF"/>
    <a:srgbClr val="96999E"/>
    <a:srgbClr val="007398"/>
    <a:srgbClr val="F7FBFF"/>
    <a:srgbClr val="DEEBF7"/>
    <a:srgbClr val="C6DBEF"/>
    <a:srgbClr val="9ECAE1"/>
    <a:srgbClr val="6BAE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中度样式 3 - 强调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6" autoAdjust="0"/>
    <p:restoredTop sz="94280" autoAdjust="0"/>
  </p:normalViewPr>
  <p:slideViewPr>
    <p:cSldViewPr snapToGrid="0" snapToObjects="1">
      <p:cViewPr varScale="1">
        <p:scale>
          <a:sx n="72" d="100"/>
          <a:sy n="72" d="100"/>
        </p:scale>
        <p:origin x="1350" y="72"/>
      </p:cViewPr>
      <p:guideLst>
        <p:guide orient="horz" pos="2136"/>
        <p:guide pos="2952"/>
      </p:guideLst>
    </p:cSldViewPr>
  </p:slideViewPr>
  <p:notesTextViewPr>
    <p:cViewPr>
      <p:scale>
        <a:sx n="100" d="100"/>
        <a:sy n="100" d="100"/>
      </p:scale>
      <p:origin x="0" y="0"/>
    </p:cViewPr>
  </p:notesTextViewPr>
  <p:sorterViewPr>
    <p:cViewPr>
      <p:scale>
        <a:sx n="140" d="100"/>
        <a:sy n="140" d="100"/>
      </p:scale>
      <p:origin x="0" y="6712"/>
    </p:cViewPr>
  </p:sorterViewPr>
  <p:gridSpacing cx="76200" cy="76200"/>
</p:viewPr>
</file>

<file path=ppt/_rels/presentation.xml.rels><?xml version="1.0" encoding="UTF-8" standalone="yes"?>
<Relationships xmlns="http://schemas.openxmlformats.org/package/2006/relationships"><Relationship Id="rId99" Type="http://schemas.openxmlformats.org/officeDocument/2006/relationships/viewProps" Target="viewProps.xml"/><Relationship Id="rId98" Type="http://schemas.openxmlformats.org/officeDocument/2006/relationships/presProps" Target="presProps.xml"/><Relationship Id="rId97" Type="http://schemas.openxmlformats.org/officeDocument/2006/relationships/slide" Target="slides/slide88.xml"/><Relationship Id="rId96" Type="http://schemas.openxmlformats.org/officeDocument/2006/relationships/slide" Target="slides/slide87.xml"/><Relationship Id="rId95" Type="http://schemas.openxmlformats.org/officeDocument/2006/relationships/slide" Target="slides/slide86.xml"/><Relationship Id="rId94" Type="http://schemas.openxmlformats.org/officeDocument/2006/relationships/slide" Target="slides/slide85.xml"/><Relationship Id="rId93" Type="http://schemas.openxmlformats.org/officeDocument/2006/relationships/slide" Target="slides/slide84.xml"/><Relationship Id="rId92" Type="http://schemas.openxmlformats.org/officeDocument/2006/relationships/slide" Target="slides/slide83.xml"/><Relationship Id="rId91" Type="http://schemas.openxmlformats.org/officeDocument/2006/relationships/slide" Target="slides/slide82.xml"/><Relationship Id="rId90" Type="http://schemas.openxmlformats.org/officeDocument/2006/relationships/slide" Target="slides/slide81.xml"/><Relationship Id="rId9" Type="http://schemas.openxmlformats.org/officeDocument/2006/relationships/slide" Target="slides/slide1.xml"/><Relationship Id="rId89" Type="http://schemas.openxmlformats.org/officeDocument/2006/relationships/slide" Target="slides/slide80.xml"/><Relationship Id="rId88" Type="http://schemas.openxmlformats.org/officeDocument/2006/relationships/slide" Target="slides/slide79.xml"/><Relationship Id="rId87" Type="http://schemas.openxmlformats.org/officeDocument/2006/relationships/slide" Target="slides/slide78.xml"/><Relationship Id="rId86" Type="http://schemas.openxmlformats.org/officeDocument/2006/relationships/slide" Target="slides/slide77.xml"/><Relationship Id="rId85" Type="http://schemas.openxmlformats.org/officeDocument/2006/relationships/slide" Target="slides/slide76.xml"/><Relationship Id="rId84" Type="http://schemas.openxmlformats.org/officeDocument/2006/relationships/slide" Target="slides/slide75.xml"/><Relationship Id="rId83" Type="http://schemas.openxmlformats.org/officeDocument/2006/relationships/slide" Target="slides/slide74.xml"/><Relationship Id="rId82" Type="http://schemas.openxmlformats.org/officeDocument/2006/relationships/slide" Target="slides/slide73.xml"/><Relationship Id="rId81" Type="http://schemas.openxmlformats.org/officeDocument/2006/relationships/slide" Target="slides/slide72.xml"/><Relationship Id="rId80" Type="http://schemas.openxmlformats.org/officeDocument/2006/relationships/slide" Target="slides/slide71.xml"/><Relationship Id="rId8" Type="http://schemas.openxmlformats.org/officeDocument/2006/relationships/slideMaster" Target="slideMasters/slideMaster7.xml"/><Relationship Id="rId79" Type="http://schemas.openxmlformats.org/officeDocument/2006/relationships/slide" Target="slides/slide70.xml"/><Relationship Id="rId78" Type="http://schemas.openxmlformats.org/officeDocument/2006/relationships/slide" Target="slides/slide69.xml"/><Relationship Id="rId77" Type="http://schemas.openxmlformats.org/officeDocument/2006/relationships/slide" Target="slides/slide68.xml"/><Relationship Id="rId76" Type="http://schemas.openxmlformats.org/officeDocument/2006/relationships/slide" Target="slides/slide67.xml"/><Relationship Id="rId75" Type="http://schemas.openxmlformats.org/officeDocument/2006/relationships/slide" Target="slides/slide66.xml"/><Relationship Id="rId74" Type="http://schemas.openxmlformats.org/officeDocument/2006/relationships/slide" Target="slides/slide65.xml"/><Relationship Id="rId73" Type="http://schemas.openxmlformats.org/officeDocument/2006/relationships/slide" Target="slides/slide64.xml"/><Relationship Id="rId72" Type="http://schemas.openxmlformats.org/officeDocument/2006/relationships/slide" Target="slides/slide63.xml"/><Relationship Id="rId71" Type="http://schemas.openxmlformats.org/officeDocument/2006/relationships/slide" Target="slides/slide62.xml"/><Relationship Id="rId70" Type="http://schemas.openxmlformats.org/officeDocument/2006/relationships/slide" Target="slides/slide61.xml"/><Relationship Id="rId7" Type="http://schemas.openxmlformats.org/officeDocument/2006/relationships/slideMaster" Target="slideMasters/slideMaster6.xml"/><Relationship Id="rId69" Type="http://schemas.openxmlformats.org/officeDocument/2006/relationships/slide" Target="slides/slide60.xml"/><Relationship Id="rId68" Type="http://schemas.openxmlformats.org/officeDocument/2006/relationships/slide" Target="slides/slide59.xml"/><Relationship Id="rId67" Type="http://schemas.openxmlformats.org/officeDocument/2006/relationships/slide" Target="slides/slide58.xml"/><Relationship Id="rId66" Type="http://schemas.openxmlformats.org/officeDocument/2006/relationships/slide" Target="slides/slide57.xml"/><Relationship Id="rId65" Type="http://schemas.openxmlformats.org/officeDocument/2006/relationships/slide" Target="slides/slide56.xml"/><Relationship Id="rId64" Type="http://schemas.openxmlformats.org/officeDocument/2006/relationships/slide" Target="slides/slide55.xml"/><Relationship Id="rId63" Type="http://schemas.openxmlformats.org/officeDocument/2006/relationships/slide" Target="slides/slide54.xml"/><Relationship Id="rId62" Type="http://schemas.openxmlformats.org/officeDocument/2006/relationships/slide" Target="slides/slide53.xml"/><Relationship Id="rId61" Type="http://schemas.openxmlformats.org/officeDocument/2006/relationships/slide" Target="slides/slide52.xml"/><Relationship Id="rId60" Type="http://schemas.openxmlformats.org/officeDocument/2006/relationships/slide" Target="slides/slide51.xml"/><Relationship Id="rId6" Type="http://schemas.openxmlformats.org/officeDocument/2006/relationships/slideMaster" Target="slideMasters/slideMaster5.xml"/><Relationship Id="rId59" Type="http://schemas.openxmlformats.org/officeDocument/2006/relationships/slide" Target="slides/slide50.xml"/><Relationship Id="rId58" Type="http://schemas.openxmlformats.org/officeDocument/2006/relationships/slide" Target="slides/slide49.xml"/><Relationship Id="rId57" Type="http://schemas.openxmlformats.org/officeDocument/2006/relationships/slide" Target="slides/slide48.xml"/><Relationship Id="rId56" Type="http://schemas.openxmlformats.org/officeDocument/2006/relationships/slide" Target="slides/slide47.xml"/><Relationship Id="rId55" Type="http://schemas.openxmlformats.org/officeDocument/2006/relationships/slide" Target="slides/slide46.xml"/><Relationship Id="rId54" Type="http://schemas.openxmlformats.org/officeDocument/2006/relationships/slide" Target="slides/slide45.xml"/><Relationship Id="rId53" Type="http://schemas.openxmlformats.org/officeDocument/2006/relationships/slide" Target="slides/slide44.xml"/><Relationship Id="rId52" Type="http://schemas.openxmlformats.org/officeDocument/2006/relationships/slide" Target="slides/slide43.xml"/><Relationship Id="rId51" Type="http://schemas.openxmlformats.org/officeDocument/2006/relationships/slide" Target="slides/slide42.xml"/><Relationship Id="rId50" Type="http://schemas.openxmlformats.org/officeDocument/2006/relationships/slide" Target="slides/slide41.xml"/><Relationship Id="rId5" Type="http://schemas.openxmlformats.org/officeDocument/2006/relationships/slideMaster" Target="slideMasters/slideMaster4.xml"/><Relationship Id="rId49" Type="http://schemas.openxmlformats.org/officeDocument/2006/relationships/slide" Target="slides/slide40.xml"/><Relationship Id="rId48" Type="http://schemas.openxmlformats.org/officeDocument/2006/relationships/slide" Target="slides/slide39.xml"/><Relationship Id="rId47" Type="http://schemas.openxmlformats.org/officeDocument/2006/relationships/slide" Target="slides/slide38.xml"/><Relationship Id="rId46" Type="http://schemas.openxmlformats.org/officeDocument/2006/relationships/slide" Target="slides/slide37.xml"/><Relationship Id="rId45" Type="http://schemas.openxmlformats.org/officeDocument/2006/relationships/slide" Target="slides/slide36.xml"/><Relationship Id="rId44" Type="http://schemas.openxmlformats.org/officeDocument/2006/relationships/slide" Target="slides/slide35.xml"/><Relationship Id="rId43" Type="http://schemas.openxmlformats.org/officeDocument/2006/relationships/slide" Target="slides/slide34.xml"/><Relationship Id="rId42" Type="http://schemas.openxmlformats.org/officeDocument/2006/relationships/slide" Target="slides/slide33.xml"/><Relationship Id="rId41" Type="http://schemas.openxmlformats.org/officeDocument/2006/relationships/slide" Target="slides/slide32.xml"/><Relationship Id="rId40" Type="http://schemas.openxmlformats.org/officeDocument/2006/relationships/slide" Target="slides/slide31.xml"/><Relationship Id="rId4" Type="http://schemas.openxmlformats.org/officeDocument/2006/relationships/slideMaster" Target="slideMasters/slideMaster3.xml"/><Relationship Id="rId39" Type="http://schemas.openxmlformats.org/officeDocument/2006/relationships/slide" Target="slides/slide30.xml"/><Relationship Id="rId38" Type="http://schemas.openxmlformats.org/officeDocument/2006/relationships/slide" Target="slides/slide29.xml"/><Relationship Id="rId37" Type="http://schemas.openxmlformats.org/officeDocument/2006/relationships/slide" Target="slides/slide28.xml"/><Relationship Id="rId36" Type="http://schemas.openxmlformats.org/officeDocument/2006/relationships/slide" Target="slides/slide27.xml"/><Relationship Id="rId35" Type="http://schemas.openxmlformats.org/officeDocument/2006/relationships/slide" Target="slides/slide26.xml"/><Relationship Id="rId34" Type="http://schemas.openxmlformats.org/officeDocument/2006/relationships/slide" Target="slides/slide25.xml"/><Relationship Id="rId33" Type="http://schemas.openxmlformats.org/officeDocument/2006/relationships/slide" Target="slides/slide24.xml"/><Relationship Id="rId32" Type="http://schemas.openxmlformats.org/officeDocument/2006/relationships/slide" Target="slides/slide23.xml"/><Relationship Id="rId31" Type="http://schemas.openxmlformats.org/officeDocument/2006/relationships/slide" Target="slides/slide22.xml"/><Relationship Id="rId30" Type="http://schemas.openxmlformats.org/officeDocument/2006/relationships/slide" Target="slides/slide21.xml"/><Relationship Id="rId3" Type="http://schemas.openxmlformats.org/officeDocument/2006/relationships/slideMaster" Target="slideMasters/slideMaster2.xml"/><Relationship Id="rId29" Type="http://schemas.openxmlformats.org/officeDocument/2006/relationships/slide" Target="slides/slide20.xml"/><Relationship Id="rId28" Type="http://schemas.openxmlformats.org/officeDocument/2006/relationships/slide" Target="slides/slide19.xml"/><Relationship Id="rId27" Type="http://schemas.openxmlformats.org/officeDocument/2006/relationships/slide" Target="slides/slide18.xml"/><Relationship Id="rId26" Type="http://schemas.openxmlformats.org/officeDocument/2006/relationships/slide" Target="slides/slide17.xml"/><Relationship Id="rId25" Type="http://schemas.openxmlformats.org/officeDocument/2006/relationships/slide" Target="slides/slide16.xml"/><Relationship Id="rId24" Type="http://schemas.openxmlformats.org/officeDocument/2006/relationships/slide" Target="slides/slide15.xml"/><Relationship Id="rId23" Type="http://schemas.openxmlformats.org/officeDocument/2006/relationships/slide" Target="slides/slide14.xml"/><Relationship Id="rId22" Type="http://schemas.openxmlformats.org/officeDocument/2006/relationships/slide" Target="slides/slide13.xml"/><Relationship Id="rId21" Type="http://schemas.openxmlformats.org/officeDocument/2006/relationships/slide" Target="slides/slide12.xml"/><Relationship Id="rId20" Type="http://schemas.openxmlformats.org/officeDocument/2006/relationships/slide" Target="slides/slide11.xml"/><Relationship Id="rId2" Type="http://schemas.openxmlformats.org/officeDocument/2006/relationships/theme" Target="theme/theme1.xml"/><Relationship Id="rId19" Type="http://schemas.openxmlformats.org/officeDocument/2006/relationships/slide" Target="slides/slide10.xml"/><Relationship Id="rId18" Type="http://schemas.openxmlformats.org/officeDocument/2006/relationships/slide" Target="slides/slide9.xml"/><Relationship Id="rId17" Type="http://schemas.openxmlformats.org/officeDocument/2006/relationships/slide" Target="slides/slide8.xml"/><Relationship Id="rId16" Type="http://schemas.openxmlformats.org/officeDocument/2006/relationships/slide" Target="slides/slide7.xml"/><Relationship Id="rId15" Type="http://schemas.openxmlformats.org/officeDocument/2006/relationships/slide" Target="slides/slide6.xml"/><Relationship Id="rId14" Type="http://schemas.openxmlformats.org/officeDocument/2006/relationships/notesMaster" Target="notesMasters/notesMaster1.xml"/><Relationship Id="rId13" Type="http://schemas.openxmlformats.org/officeDocument/2006/relationships/slide" Target="slides/slide5.xml"/><Relationship Id="rId12" Type="http://schemas.openxmlformats.org/officeDocument/2006/relationships/slide" Target="slides/slide4.xml"/><Relationship Id="rId11" Type="http://schemas.openxmlformats.org/officeDocument/2006/relationships/slide" Target="slides/slide3.xml"/><Relationship Id="rId100" Type="http://schemas.openxmlformats.org/officeDocument/2006/relationships/tableStyles" Target="tableStyles.xml"/><Relationship Id="rId10" Type="http://schemas.openxmlformats.org/officeDocument/2006/relationships/slide" Target="slides/slide2.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Workbook1.xlsx"/></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oleObject" Target="file:///\\elsamsdatp04va\roganr\My%20Documents\RAP\SD\publisher_author_stats.xlsx" TargetMode="External"/></Relationships>
</file>

<file path=ppt/charts/_rels/chart3.xml.rels><?xml version="1.0" encoding="UTF-8" standalone="yes"?>
<Relationships xmlns="http://schemas.openxmlformats.org/package/2006/relationships"><Relationship Id="rId3" Type="http://schemas.microsoft.com/office/2011/relationships/chartColorStyle" Target="colors3.xml"/><Relationship Id="rId2" Type="http://schemas.microsoft.com/office/2011/relationships/chartStyle" Target="style3.xml"/><Relationship Id="rId1" Type="http://schemas.openxmlformats.org/officeDocument/2006/relationships/oleObject" Target="file:///\\elsamsdatp04va\roganr\My%20Documents\RAP\SD\publisher_author_stats.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elsamsdatp04va\langeveldd\Value%20Story_Backfiles\SubjectArea\THES_Usage_Journals_PrePost95_SubjectAreas.xlsx" TargetMode="External"/></Relationships>
</file>

<file path=ppt/charts/_rels/chart5.xml.rels><?xml version="1.0" encoding="UTF-8" standalone="yes"?>
<Relationships xmlns="http://schemas.openxmlformats.org/package/2006/relationships"><Relationship Id="rId2" Type="http://schemas.openxmlformats.org/officeDocument/2006/relationships/themeOverride" Target="../theme/themeOverride1.xml"/><Relationship Id="rId1" Type="http://schemas.openxmlformats.org/officeDocument/2006/relationships/package" Target="../embeddings/Workbook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0710059171597633"/>
          <c:y val="0.05"/>
          <c:w val="0.902366863905325"/>
          <c:h val="0.859090909090909"/>
        </c:manualLayout>
      </c:layout>
      <c:bubbleChart>
        <c:varyColors val="0"/>
        <c:ser>
          <c:idx val="0"/>
          <c:order val="0"/>
          <c:tx>
            <c:strRef>
              <c:f>Sheet1!$B$1</c:f>
              <c:strCache>
                <c:ptCount val="1"/>
                <c:pt idx="0">
                  <c:v/>
                </c:pt>
              </c:strCache>
            </c:strRef>
          </c:tx>
          <c:spPr>
            <a:solidFill>
              <a:schemeClr val="tx2"/>
            </a:solidFill>
            <a:ln w="9525" cap="flat" cmpd="sng" algn="ctr">
              <a:solidFill>
                <a:schemeClr val="bg1"/>
              </a:solidFill>
              <a:round/>
            </a:ln>
            <a:effectLst/>
          </c:spPr>
          <c:invertIfNegative val="0"/>
          <c:dLbls>
            <c:delete val="1"/>
          </c:dLbls>
          <c:xVal>
            <c:numRef>
              <c:f>Sheet1!$A$2:$A$27</c:f>
              <c:numCache>
                <c:formatCode>General</c:formatCode>
                <c:ptCount val="26"/>
                <c:pt idx="0">
                  <c:v>7.49926842122985</c:v>
                </c:pt>
                <c:pt idx="1">
                  <c:v>5.19151046903299</c:v>
                </c:pt>
                <c:pt idx="2">
                  <c:v>2.55437778927442</c:v>
                </c:pt>
                <c:pt idx="3">
                  <c:v>12.0046632536777</c:v>
                </c:pt>
                <c:pt idx="4">
                  <c:v>9.23705685293967</c:v>
                </c:pt>
                <c:pt idx="5">
                  <c:v>4.91368250425138</c:v>
                </c:pt>
                <c:pt idx="6">
                  <c:v>8.22947494254805</c:v>
                </c:pt>
                <c:pt idx="7">
                  <c:v>8.1383918141747</c:v>
                </c:pt>
                <c:pt idx="8">
                  <c:v>7.34525163778688</c:v>
                </c:pt>
                <c:pt idx="9">
                  <c:v>6.9123558853142</c:v>
                </c:pt>
                <c:pt idx="10">
                  <c:v>15.7781012685551</c:v>
                </c:pt>
                <c:pt idx="11">
                  <c:v>9.08915009677927</c:v>
                </c:pt>
                <c:pt idx="12">
                  <c:v>7.65165834548026</c:v>
                </c:pt>
                <c:pt idx="13">
                  <c:v>2.68959836387141</c:v>
                </c:pt>
                <c:pt idx="14">
                  <c:v>6.2627024469821</c:v>
                </c:pt>
                <c:pt idx="15">
                  <c:v>2.55123310018728</c:v>
                </c:pt>
                <c:pt idx="16">
                  <c:v>5.96954438342707</c:v>
                </c:pt>
                <c:pt idx="17">
                  <c:v>2.32739322596184</c:v>
                </c:pt>
                <c:pt idx="18">
                  <c:v>10.2856361229909</c:v>
                </c:pt>
                <c:pt idx="19">
                  <c:v>0.890056517846023</c:v>
                </c:pt>
                <c:pt idx="20">
                  <c:v>4.85924390208483</c:v>
                </c:pt>
                <c:pt idx="21">
                  <c:v>7.82682636130844</c:v>
                </c:pt>
                <c:pt idx="22">
                  <c:v>8.6171747018044</c:v>
                </c:pt>
                <c:pt idx="23">
                  <c:v>1.18273878006232</c:v>
                </c:pt>
                <c:pt idx="24">
                  <c:v>12.5532837459658</c:v>
                </c:pt>
                <c:pt idx="25">
                  <c:v>13.6499983768846</c:v>
                </c:pt>
              </c:numCache>
            </c:numRef>
          </c:xVal>
          <c:yVal>
            <c:numRef>
              <c:f>Sheet1!$B$2:$B$27</c:f>
              <c:numCache>
                <c:formatCode>General</c:formatCode>
                <c:ptCount val="26"/>
                <c:pt idx="1">
                  <c:v>1.30668710966087</c:v>
                </c:pt>
                <c:pt idx="2">
                  <c:v>1.07397803755658</c:v>
                </c:pt>
                <c:pt idx="3">
                  <c:v>1.88187860477912</c:v>
                </c:pt>
                <c:pt idx="4">
                  <c:v>1.28490074906149</c:v>
                </c:pt>
                <c:pt idx="7">
                  <c:v>1.61793448264685</c:v>
                </c:pt>
                <c:pt idx="8">
                  <c:v>1.26684977601214</c:v>
                </c:pt>
                <c:pt idx="10">
                  <c:v>1.55815528118853</c:v>
                </c:pt>
                <c:pt idx="11">
                  <c:v>1.46831789461577</c:v>
                </c:pt>
                <c:pt idx="12">
                  <c:v>1.42549736579372</c:v>
                </c:pt>
                <c:pt idx="15">
                  <c:v>1.18168195654689</c:v>
                </c:pt>
                <c:pt idx="16">
                  <c:v>1.16961785281687</c:v>
                </c:pt>
                <c:pt idx="17">
                  <c:v>1.14920374928857</c:v>
                </c:pt>
                <c:pt idx="18">
                  <c:v>1.19116014220389</c:v>
                </c:pt>
                <c:pt idx="19">
                  <c:v>1.2829650509845</c:v>
                </c:pt>
                <c:pt idx="20">
                  <c:v>1.05600580721542</c:v>
                </c:pt>
                <c:pt idx="23">
                  <c:v>1.27546992848504</c:v>
                </c:pt>
                <c:pt idx="24">
                  <c:v>1.22339731390368</c:v>
                </c:pt>
                <c:pt idx="25">
                  <c:v>1.06654433966659</c:v>
                </c:pt>
              </c:numCache>
            </c:numRef>
          </c:yVal>
          <c:bubbleSize>
            <c:numRef>
              <c:f>Sheet1!$C$2:$C$27</c:f>
              <c:numCache>
                <c:formatCode>General</c:formatCode>
                <c:ptCount val="26"/>
                <c:pt idx="1">
                  <c:v>6564.00000000075</c:v>
                </c:pt>
                <c:pt idx="2">
                  <c:v>51579.0000000059</c:v>
                </c:pt>
                <c:pt idx="3">
                  <c:v>7071.0000000008</c:v>
                </c:pt>
                <c:pt idx="4">
                  <c:v>29620.0000000034</c:v>
                </c:pt>
                <c:pt idx="7">
                  <c:v>5634.00000000064</c:v>
                </c:pt>
                <c:pt idx="8">
                  <c:v>18224.0000000021</c:v>
                </c:pt>
                <c:pt idx="10">
                  <c:v>22295.0000000025</c:v>
                </c:pt>
                <c:pt idx="11">
                  <c:v>63446.0000000072</c:v>
                </c:pt>
                <c:pt idx="12">
                  <c:v>31792.0000000036</c:v>
                </c:pt>
                <c:pt idx="15">
                  <c:v>23107.0000000026</c:v>
                </c:pt>
                <c:pt idx="16">
                  <c:v>97722.0000000111</c:v>
                </c:pt>
                <c:pt idx="17">
                  <c:v>18073.0000000021</c:v>
                </c:pt>
                <c:pt idx="18">
                  <c:v>6166.0000000007</c:v>
                </c:pt>
                <c:pt idx="19">
                  <c:v>18091.0000000021</c:v>
                </c:pt>
                <c:pt idx="20">
                  <c:v>54046.0000000061</c:v>
                </c:pt>
                <c:pt idx="23">
                  <c:v>4745.00000000054</c:v>
                </c:pt>
                <c:pt idx="24">
                  <c:v>2717.00000000031</c:v>
                </c:pt>
                <c:pt idx="25">
                  <c:v>2701.00000000031</c:v>
                </c:pt>
              </c:numCache>
            </c:numRef>
          </c:bubbleSize>
          <c:bubble3D val="0"/>
        </c:ser>
        <c:ser>
          <c:idx val="1"/>
          <c:order val="1"/>
          <c:tx>
            <c:strRef>
              <c:f>Sheet1!$D$1</c:f>
              <c:strCache>
                <c:ptCount val="1"/>
                <c:pt idx="0">
                  <c:v/>
                </c:pt>
              </c:strCache>
            </c:strRef>
          </c:tx>
          <c:spPr>
            <a:solidFill>
              <a:schemeClr val="tx2"/>
            </a:solidFill>
            <a:ln w="9525" cap="flat" cmpd="sng" algn="ctr">
              <a:solidFill>
                <a:schemeClr val="bg1"/>
              </a:solidFill>
              <a:round/>
            </a:ln>
            <a:effectLst/>
          </c:spPr>
          <c:invertIfNegative val="0"/>
          <c:dLbls>
            <c:delete val="1"/>
          </c:dLbls>
          <c:xVal>
            <c:numRef>
              <c:f>Sheet1!$A$2:$A$27</c:f>
              <c:numCache>
                <c:formatCode>General</c:formatCode>
                <c:ptCount val="26"/>
                <c:pt idx="0">
                  <c:v>7.49926842122985</c:v>
                </c:pt>
                <c:pt idx="1">
                  <c:v>5.19151046903299</c:v>
                </c:pt>
                <c:pt idx="2">
                  <c:v>2.55437778927442</c:v>
                </c:pt>
                <c:pt idx="3">
                  <c:v>12.0046632536777</c:v>
                </c:pt>
                <c:pt idx="4">
                  <c:v>9.23705685293967</c:v>
                </c:pt>
                <c:pt idx="5">
                  <c:v>4.91368250425138</c:v>
                </c:pt>
                <c:pt idx="6">
                  <c:v>8.22947494254805</c:v>
                </c:pt>
                <c:pt idx="7">
                  <c:v>8.1383918141747</c:v>
                </c:pt>
                <c:pt idx="8">
                  <c:v>7.34525163778688</c:v>
                </c:pt>
                <c:pt idx="9">
                  <c:v>6.9123558853142</c:v>
                </c:pt>
                <c:pt idx="10">
                  <c:v>15.7781012685551</c:v>
                </c:pt>
                <c:pt idx="11">
                  <c:v>9.08915009677927</c:v>
                </c:pt>
                <c:pt idx="12">
                  <c:v>7.65165834548026</c:v>
                </c:pt>
                <c:pt idx="13">
                  <c:v>2.68959836387141</c:v>
                </c:pt>
                <c:pt idx="14">
                  <c:v>6.2627024469821</c:v>
                </c:pt>
                <c:pt idx="15">
                  <c:v>2.55123310018728</c:v>
                </c:pt>
                <c:pt idx="16">
                  <c:v>5.96954438342707</c:v>
                </c:pt>
                <c:pt idx="17">
                  <c:v>2.32739322596184</c:v>
                </c:pt>
                <c:pt idx="18">
                  <c:v>10.2856361229909</c:v>
                </c:pt>
                <c:pt idx="19">
                  <c:v>0.890056517846023</c:v>
                </c:pt>
                <c:pt idx="20">
                  <c:v>4.85924390208483</c:v>
                </c:pt>
                <c:pt idx="21">
                  <c:v>7.82682636130844</c:v>
                </c:pt>
                <c:pt idx="22">
                  <c:v>8.6171747018044</c:v>
                </c:pt>
                <c:pt idx="23">
                  <c:v>1.18273878006232</c:v>
                </c:pt>
                <c:pt idx="24">
                  <c:v>12.5532837459658</c:v>
                </c:pt>
                <c:pt idx="25">
                  <c:v>13.6499983768846</c:v>
                </c:pt>
              </c:numCache>
            </c:numRef>
          </c:xVal>
          <c:yVal>
            <c:numRef>
              <c:f>Sheet1!$D$2:$D$27</c:f>
              <c:numCache>
                <c:formatCode>General</c:formatCode>
                <c:ptCount val="26"/>
                <c:pt idx="0">
                  <c:v>1.40361501230433</c:v>
                </c:pt>
                <c:pt idx="5">
                  <c:v>1.14764974515648</c:v>
                </c:pt>
                <c:pt idx="6">
                  <c:v>1.48401194515563</c:v>
                </c:pt>
                <c:pt idx="9">
                  <c:v>1.44440886745915</c:v>
                </c:pt>
                <c:pt idx="13">
                  <c:v>1.09931937992371</c:v>
                </c:pt>
                <c:pt idx="14">
                  <c:v>1.15988634227759</c:v>
                </c:pt>
                <c:pt idx="21">
                  <c:v>1.3697021033845</c:v>
                </c:pt>
                <c:pt idx="22">
                  <c:v>1.57616391720859</c:v>
                </c:pt>
              </c:numCache>
            </c:numRef>
          </c:yVal>
          <c:bubbleSize>
            <c:numRef>
              <c:f>Sheet1!$E$2:$E$27</c:f>
              <c:numCache>
                <c:formatCode>General</c:formatCode>
                <c:ptCount val="26"/>
                <c:pt idx="0">
                  <c:v>29684.0000000034</c:v>
                </c:pt>
                <c:pt idx="5">
                  <c:v>50989.0000000058</c:v>
                </c:pt>
                <c:pt idx="6">
                  <c:v>22446.0000000026</c:v>
                </c:pt>
                <c:pt idx="9">
                  <c:v>8052.00000000091</c:v>
                </c:pt>
                <c:pt idx="13">
                  <c:v>13443.0000000015</c:v>
                </c:pt>
                <c:pt idx="14">
                  <c:v>58217.0000000066</c:v>
                </c:pt>
                <c:pt idx="21">
                  <c:v>11063.0000000013</c:v>
                </c:pt>
                <c:pt idx="22">
                  <c:v>15824.0000000018</c:v>
                </c:pt>
                <c:pt idx="25">
                  <c:v>0</c:v>
                </c:pt>
              </c:numCache>
            </c:numRef>
          </c:bubbleSize>
          <c:bubble3D val="0"/>
        </c:ser>
        <c:dLbls>
          <c:showLegendKey val="0"/>
          <c:showVal val="0"/>
          <c:showCatName val="0"/>
          <c:showSerName val="0"/>
          <c:showPercent val="0"/>
          <c:showBubbleSize val="0"/>
        </c:dLbls>
        <c:bubbleScale val="49"/>
        <c:showNegBubbles val="0"/>
        <c:sizeRepresents val="area"/>
        <c:axId val="321708000"/>
        <c:axId val="321708392"/>
      </c:bubbleChart>
      <c:valAx>
        <c:axId val="321708000"/>
        <c:scaling>
          <c:orientation val="minMax"/>
          <c:max val="20"/>
          <c:min val="0"/>
        </c:scaling>
        <c:delete val="0"/>
        <c:axPos val="b"/>
        <c:majorGridlines>
          <c:spPr>
            <a:ln w="9525" cap="flat" cmpd="sng" algn="ctr">
              <a:solidFill>
                <a:schemeClr val="dk1">
                  <a:lumMod val="15000"/>
                  <a:lumOff val="85000"/>
                </a:schemeClr>
              </a:solidFill>
              <a:round/>
            </a:ln>
            <a:effectLst/>
          </c:spPr>
        </c:majorGridlines>
        <c:numFmt formatCode="#,##0&quot;%&quot;;\-#,##0&quot;%&quot;" sourceLinked="0"/>
        <c:majorTickMark val="none"/>
        <c:minorTickMark val="none"/>
        <c:tickLblPos val="nextTo"/>
        <c:spPr>
          <a:noFill/>
          <a:ln w="9525" cap="rnd">
            <a:solidFill>
              <a:schemeClr val="dk1">
                <a:lumMod val="25000"/>
                <a:lumOff val="75000"/>
              </a:schemeClr>
            </a:solidFill>
            <a:round/>
          </a:ln>
          <a:effectLst/>
        </c:spPr>
        <c:txPr>
          <a:bodyPr rot="0" spcFirstLastPara="1" vertOverflow="ellipsis" vert="horz" wrap="square" anchor="ctr" anchorCtr="1"/>
          <a:lstStyle/>
          <a:p>
            <a:pPr>
              <a:defRPr lang="zh-CN" sz="1050" b="0" i="0" u="none" strike="noStrike" kern="1200" spc="0" baseline="0">
                <a:solidFill>
                  <a:schemeClr val="dk1">
                    <a:lumMod val="65000"/>
                    <a:lumOff val="35000"/>
                  </a:schemeClr>
                </a:solidFill>
                <a:latin typeface="+mn-lt"/>
                <a:ea typeface="+mn-ea"/>
                <a:cs typeface="+mn-cs"/>
              </a:defRPr>
            </a:pPr>
          </a:p>
        </c:txPr>
        <c:crossAx val="321708392"/>
        <c:crossesAt val="0"/>
        <c:crossBetween val="midCat"/>
        <c:majorUnit val="5"/>
      </c:valAx>
      <c:valAx>
        <c:axId val="321708392"/>
        <c:scaling>
          <c:orientation val="minMax"/>
          <c:max val="2"/>
          <c:min val="0"/>
        </c:scaling>
        <c:delete val="0"/>
        <c:axPos val="l"/>
        <c:majorGridlines>
          <c:spPr>
            <a:ln w="9525" cap="flat" cmpd="sng" algn="ctr">
              <a:solidFill>
                <a:schemeClr val="dk1">
                  <a:lumMod val="15000"/>
                  <a:lumOff val="85000"/>
                </a:schemeClr>
              </a:solidFill>
              <a:round/>
            </a:ln>
            <a:effectLst/>
          </c:spPr>
        </c:majorGridlines>
        <c:numFmt formatCode="#,##0.00;\-#,##0.00" sourceLinked="0"/>
        <c:majorTickMark val="none"/>
        <c:minorTickMark val="none"/>
        <c:tickLblPos val="nextTo"/>
        <c:spPr>
          <a:noFill/>
          <a:ln w="9525" cap="rnd">
            <a:solidFill>
              <a:schemeClr val="dk1">
                <a:lumMod val="25000"/>
                <a:lumOff val="75000"/>
              </a:schemeClr>
            </a:solidFill>
            <a:round/>
          </a:ln>
          <a:effectLst/>
        </c:spPr>
        <c:txPr>
          <a:bodyPr rot="0" spcFirstLastPara="1" vertOverflow="ellipsis" vert="horz" wrap="square" anchor="ctr" anchorCtr="1"/>
          <a:lstStyle/>
          <a:p>
            <a:pPr>
              <a:defRPr lang="zh-CN" sz="1050" b="0" i="0" u="none" strike="noStrike" kern="1200" spc="0" baseline="0">
                <a:solidFill>
                  <a:schemeClr val="dk1">
                    <a:lumMod val="65000"/>
                    <a:lumOff val="35000"/>
                  </a:schemeClr>
                </a:solidFill>
                <a:latin typeface="+mn-lt"/>
                <a:ea typeface="+mn-ea"/>
                <a:cs typeface="+mn-cs"/>
              </a:defRPr>
            </a:pPr>
          </a:p>
        </c:txPr>
        <c:crossAx val="321708000"/>
        <c:crossesAt val="0"/>
        <c:crossBetween val="midCat"/>
        <c:majorUnit val="0.25"/>
      </c:valAx>
      <c:spPr>
        <a:noFill/>
        <a:ln>
          <a:noFill/>
        </a:ln>
        <a:effectLst/>
      </c:spPr>
    </c:plotArea>
    <c:plotVisOnly val="1"/>
    <c:dispBlanksAs val="gap"/>
    <c:showDLblsOverMax val="0"/>
  </c:chart>
  <c:spPr>
    <a:solidFill>
      <a:schemeClr val="lt1"/>
    </a:solidFill>
    <a:ln w="9525" cap="flat" cmpd="sng" algn="ctr">
      <a:noFill/>
      <a:round/>
    </a:ln>
    <a:effectLst/>
  </c:spPr>
  <c:txPr>
    <a:bodyPr/>
    <a:lstStyle/>
    <a:p>
      <a:pPr>
        <a:defRPr lang="zh-CN"/>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622212049075261"/>
          <c:y val="0.0328638497652582"/>
          <c:w val="0.937778795092474"/>
          <c:h val="0.887417840375587"/>
        </c:manualLayout>
      </c:layout>
      <c:barChart>
        <c:barDir val="bar"/>
        <c:grouping val="clustered"/>
        <c:varyColors val="0"/>
        <c:ser>
          <c:idx val="0"/>
          <c:order val="0"/>
          <c:tx>
            <c:strRef>
              <c:f>Sheet1!$C$14</c:f>
              <c:strCache>
                <c:ptCount val="1"/>
                <c:pt idx="0">
                  <c:v>Elsevier</c:v>
                </c:pt>
              </c:strCache>
            </c:strRef>
          </c:tx>
          <c:spPr>
            <a:solidFill>
              <a:schemeClr val="tx2"/>
            </a:solidFill>
            <a:ln>
              <a:noFill/>
            </a:ln>
            <a:effectLst/>
          </c:spPr>
          <c:invertIfNegative val="0"/>
          <c:dLbls>
            <c:dLbl>
              <c:idx val="0"/>
              <c:layout>
                <c:manualLayout>
                  <c:x val="-0.127142062656656"/>
                  <c:y val="-0.000675619391030001"/>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bg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F$1</c:f>
              <c:strCache>
                <c:ptCount val="1"/>
                <c:pt idx="0">
                  <c:v>Average Author H-Index</c:v>
                </c:pt>
              </c:strCache>
            </c:strRef>
          </c:cat>
          <c:val>
            <c:numRef>
              <c:f>Sheet1!$F$14</c:f>
              <c:numCache>
                <c:formatCode>General</c:formatCode>
                <c:ptCount val="1"/>
                <c:pt idx="0">
                  <c:v>15.609</c:v>
                </c:pt>
              </c:numCache>
            </c:numRef>
          </c:val>
        </c:ser>
        <c:ser>
          <c:idx val="2"/>
          <c:order val="1"/>
          <c:tx>
            <c:strRef>
              <c:f>Sheet1!$C$16</c:f>
              <c:strCache>
                <c:ptCount val="1"/>
                <c:pt idx="0">
                  <c:v>Publisher A</c:v>
                </c:pt>
              </c:strCache>
            </c:strRef>
          </c:tx>
          <c:spPr>
            <a:solidFill>
              <a:schemeClr val="tx1">
                <a:lumMod val="60000"/>
                <a:lumOff val="40000"/>
              </a:schemeClr>
            </a:solidFill>
            <a:ln>
              <a:noFill/>
            </a:ln>
            <a:effectLst/>
          </c:spPr>
          <c:invertIfNegative val="0"/>
          <c:dPt>
            <c:idx val="0"/>
            <c:invertIfNegative val="0"/>
            <c:bubble3D val="0"/>
            <c:spPr>
              <a:solidFill>
                <a:schemeClr val="tx1"/>
              </a:solidFill>
              <a:ln>
                <a:noFill/>
              </a:ln>
              <a:effectLst/>
            </c:spPr>
          </c:dPt>
          <c:dLbls>
            <c:dLbl>
              <c:idx val="0"/>
              <c:layout>
                <c:manualLayout>
                  <c:x val="-0.143611058857503"/>
                  <c:y val="0.0105679598178088"/>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bg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F$1</c:f>
              <c:strCache>
                <c:ptCount val="1"/>
                <c:pt idx="0">
                  <c:v>Average Author H-Index</c:v>
                </c:pt>
              </c:strCache>
            </c:strRef>
          </c:cat>
          <c:val>
            <c:numRef>
              <c:f>Sheet1!$F$16</c:f>
              <c:numCache>
                <c:formatCode>General</c:formatCode>
                <c:ptCount val="1"/>
                <c:pt idx="0">
                  <c:v>13.078</c:v>
                </c:pt>
              </c:numCache>
            </c:numRef>
          </c:val>
        </c:ser>
        <c:ser>
          <c:idx val="1"/>
          <c:order val="2"/>
          <c:tx>
            <c:strRef>
              <c:f>Sheet1!$C$15</c:f>
              <c:strCache>
                <c:ptCount val="1"/>
                <c:pt idx="0">
                  <c:v>Publisher B</c:v>
                </c:pt>
              </c:strCache>
            </c:strRef>
          </c:tx>
          <c:spPr>
            <a:solidFill>
              <a:schemeClr val="tx1">
                <a:lumMod val="60000"/>
                <a:lumOff val="40000"/>
              </a:schemeClr>
            </a:solidFill>
            <a:ln>
              <a:noFill/>
            </a:ln>
            <a:effectLst/>
          </c:spPr>
          <c:invertIfNegative val="0"/>
          <c:dLbls>
            <c:dLbl>
              <c:idx val="0"/>
              <c:layout>
                <c:manualLayout>
                  <c:x val="-0.125491177591871"/>
                  <c:y val="-0.00433041053296491"/>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bg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F$1</c:f>
              <c:strCache>
                <c:ptCount val="1"/>
                <c:pt idx="0">
                  <c:v>Average Author H-Index</c:v>
                </c:pt>
              </c:strCache>
            </c:strRef>
          </c:cat>
          <c:val>
            <c:numRef>
              <c:f>Sheet1!$F$15</c:f>
              <c:numCache>
                <c:formatCode>General</c:formatCode>
                <c:ptCount val="1"/>
                <c:pt idx="0">
                  <c:v>13.228</c:v>
                </c:pt>
              </c:numCache>
            </c:numRef>
          </c:val>
        </c:ser>
        <c:dLbls>
          <c:showLegendKey val="0"/>
          <c:showVal val="0"/>
          <c:showCatName val="0"/>
          <c:showSerName val="0"/>
          <c:showPercent val="0"/>
          <c:showBubbleSize val="0"/>
        </c:dLbls>
        <c:gapWidth val="150"/>
        <c:axId val="389917320"/>
        <c:axId val="389916144"/>
      </c:barChart>
      <c:catAx>
        <c:axId val="38991732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50000"/>
                  </a:schemeClr>
                </a:solidFill>
                <a:latin typeface="+mn-lt"/>
                <a:ea typeface="+mn-ea"/>
                <a:cs typeface="+mn-cs"/>
              </a:defRPr>
            </a:pPr>
          </a:p>
        </c:txPr>
        <c:crossAx val="389916144"/>
        <c:crosses val="autoZero"/>
        <c:auto val="1"/>
        <c:lblAlgn val="ctr"/>
        <c:lblOffset val="100"/>
        <c:noMultiLvlLbl val="0"/>
      </c:catAx>
      <c:valAx>
        <c:axId val="38991614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389917320"/>
        <c:crosses val="autoZero"/>
        <c:crossBetween val="between"/>
      </c:valAx>
      <c:spPr>
        <a:noFill/>
        <a:ln>
          <a:noFill/>
        </a:ln>
        <a:effectLst/>
      </c:spPr>
    </c:plotArea>
    <c:legend>
      <c:legendPos val="r"/>
      <c:layout>
        <c:manualLayout>
          <c:xMode val="edge"/>
          <c:yMode val="edge"/>
          <c:x val="0.612229895025664"/>
          <c:y val="0.0630042291094842"/>
          <c:w val="0.164473420783909"/>
          <c:h val="0.286270484683658"/>
        </c:manualLayout>
      </c:layout>
      <c:overlay val="0"/>
      <c:spPr>
        <a:noFill/>
        <a:ln>
          <a:noFill/>
        </a:ln>
        <a:effectLst/>
      </c:spPr>
      <c:txPr>
        <a:bodyPr rot="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legend>
    <c:plotVisOnly val="1"/>
    <c:dispBlanksAs val="gap"/>
    <c:showDLblsOverMax val="0"/>
  </c:chart>
  <c:spPr>
    <a:noFill/>
    <a:ln>
      <a:noFill/>
    </a:ln>
    <a:effectLst/>
  </c:spPr>
  <c:txPr>
    <a:bodyPr/>
    <a:lstStyle/>
    <a:p>
      <a:pPr>
        <a:defRPr lang="zh-CN"/>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608416557367509"/>
          <c:y val="0.0238790042644554"/>
          <c:w val="0.939158344263249"/>
          <c:h val="0.89543197769028"/>
        </c:manualLayout>
      </c:layout>
      <c:barChart>
        <c:barDir val="bar"/>
        <c:grouping val="clustered"/>
        <c:varyColors val="0"/>
        <c:ser>
          <c:idx val="0"/>
          <c:order val="0"/>
          <c:tx>
            <c:strRef>
              <c:f>Sheet1!$C$14</c:f>
              <c:strCache>
                <c:ptCount val="1"/>
                <c:pt idx="0">
                  <c:v>Elsevier</c:v>
                </c:pt>
              </c:strCache>
            </c:strRef>
          </c:tx>
          <c:spPr>
            <a:solidFill>
              <a:schemeClr val="accent2"/>
            </a:solidFill>
            <a:ln>
              <a:noFill/>
            </a:ln>
            <a:effectLst/>
          </c:spPr>
          <c:invertIfNegative val="0"/>
          <c:dPt>
            <c:idx val="0"/>
            <c:invertIfNegative val="0"/>
            <c:bubble3D val="0"/>
            <c:spPr>
              <a:solidFill>
                <a:schemeClr val="tx2"/>
              </a:solidFill>
              <a:ln>
                <a:noFill/>
              </a:ln>
              <a:effectLst/>
            </c:spPr>
          </c:dPt>
          <c:dLbls>
            <c:dLbl>
              <c:idx val="0"/>
              <c:layout>
                <c:manualLayout>
                  <c:x val="-0.113315448438245"/>
                  <c:y val="0.00236546448416439"/>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bg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E$1</c:f>
              <c:strCache>
                <c:ptCount val="1"/>
                <c:pt idx="0">
                  <c:v>Average Author FWCI</c:v>
                </c:pt>
              </c:strCache>
            </c:strRef>
          </c:cat>
          <c:val>
            <c:numRef>
              <c:f>Sheet1!$E$14</c:f>
              <c:numCache>
                <c:formatCode>General</c:formatCode>
                <c:ptCount val="1"/>
                <c:pt idx="0">
                  <c:v>1.506</c:v>
                </c:pt>
              </c:numCache>
            </c:numRef>
          </c:val>
        </c:ser>
        <c:ser>
          <c:idx val="2"/>
          <c:order val="1"/>
          <c:tx>
            <c:strRef>
              <c:f>Sheet1!$C$16</c:f>
              <c:strCache>
                <c:ptCount val="1"/>
                <c:pt idx="0">
                  <c:v>Publisher A</c:v>
                </c:pt>
              </c:strCache>
            </c:strRef>
          </c:tx>
          <c:spPr>
            <a:solidFill>
              <a:schemeClr val="tx1"/>
            </a:solidFill>
            <a:ln>
              <a:noFill/>
            </a:ln>
            <a:effectLst/>
          </c:spPr>
          <c:invertIfNegative val="0"/>
          <c:dLbls>
            <c:dLbl>
              <c:idx val="0"/>
              <c:layout>
                <c:manualLayout>
                  <c:x val="-0.134167140420694"/>
                  <c:y val="-0.011552980909294"/>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900" b="0" i="0" u="none" strike="noStrike" kern="1200" baseline="0">
                    <a:solidFill>
                      <a:schemeClr val="bg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E$1</c:f>
              <c:strCache>
                <c:ptCount val="1"/>
                <c:pt idx="0">
                  <c:v>Average Author FWCI</c:v>
                </c:pt>
              </c:strCache>
            </c:strRef>
          </c:cat>
          <c:val>
            <c:numRef>
              <c:f>Sheet1!$E$16</c:f>
              <c:numCache>
                <c:formatCode>General</c:formatCode>
                <c:ptCount val="1"/>
                <c:pt idx="0">
                  <c:v>1.489</c:v>
                </c:pt>
              </c:numCache>
            </c:numRef>
          </c:val>
        </c:ser>
        <c:ser>
          <c:idx val="1"/>
          <c:order val="2"/>
          <c:tx>
            <c:strRef>
              <c:f>Sheet1!$C$15</c:f>
              <c:strCache>
                <c:ptCount val="1"/>
                <c:pt idx="0">
                  <c:v>Publisher B</c:v>
                </c:pt>
              </c:strCache>
            </c:strRef>
          </c:tx>
          <c:spPr>
            <a:solidFill>
              <a:schemeClr val="tx1">
                <a:lumMod val="60000"/>
                <a:lumOff val="40000"/>
              </a:schemeClr>
            </a:solidFill>
            <a:ln>
              <a:noFill/>
            </a:ln>
            <a:effectLst/>
          </c:spPr>
          <c:invertIfNegative val="0"/>
          <c:dLbls>
            <c:dLbl>
              <c:idx val="0"/>
              <c:layout>
                <c:manualLayout>
                  <c:x val="-0.109818083287395"/>
                  <c:y val="-0.0061914693638481"/>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lang="zh-CN" sz="1000" b="0" i="0" u="none" strike="noStrike" kern="1200" baseline="0">
                    <a:solidFill>
                      <a:schemeClr val="bg1"/>
                    </a:solidFill>
                    <a:latin typeface="+mn-lt"/>
                    <a:ea typeface="+mn-ea"/>
                    <a:cs typeface="+mn-cs"/>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E$1</c:f>
              <c:strCache>
                <c:ptCount val="1"/>
                <c:pt idx="0">
                  <c:v>Average Author FWCI</c:v>
                </c:pt>
              </c:strCache>
            </c:strRef>
          </c:cat>
          <c:val>
            <c:numRef>
              <c:f>Sheet1!$E$15</c:f>
              <c:numCache>
                <c:formatCode>General</c:formatCode>
                <c:ptCount val="1"/>
                <c:pt idx="0">
                  <c:v>1.453</c:v>
                </c:pt>
              </c:numCache>
            </c:numRef>
          </c:val>
        </c:ser>
        <c:dLbls>
          <c:showLegendKey val="0"/>
          <c:showVal val="0"/>
          <c:showCatName val="0"/>
          <c:showSerName val="0"/>
          <c:showPercent val="0"/>
          <c:showBubbleSize val="0"/>
        </c:dLbls>
        <c:gapWidth val="150"/>
        <c:axId val="389914184"/>
        <c:axId val="389915752"/>
      </c:barChart>
      <c:catAx>
        <c:axId val="389914184"/>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50000"/>
                  </a:schemeClr>
                </a:solidFill>
                <a:latin typeface="+mn-lt"/>
                <a:ea typeface="+mn-ea"/>
                <a:cs typeface="+mn-cs"/>
              </a:defRPr>
            </a:pPr>
          </a:p>
        </c:txPr>
        <c:crossAx val="389915752"/>
        <c:crosses val="autoZero"/>
        <c:auto val="1"/>
        <c:lblAlgn val="ctr"/>
        <c:lblOffset val="100"/>
        <c:noMultiLvlLbl val="0"/>
      </c:catAx>
      <c:valAx>
        <c:axId val="38991575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zh-CN" sz="900" b="0" i="0" u="none" strike="noStrike" kern="1200" baseline="0">
                <a:solidFill>
                  <a:schemeClr val="tx1">
                    <a:lumMod val="65000"/>
                    <a:lumOff val="35000"/>
                  </a:schemeClr>
                </a:solidFill>
                <a:latin typeface="+mn-lt"/>
                <a:ea typeface="+mn-ea"/>
                <a:cs typeface="+mn-cs"/>
              </a:defRPr>
            </a:pPr>
          </a:p>
        </c:txPr>
        <c:crossAx val="389914184"/>
        <c:crosses val="autoZero"/>
        <c:crossBetween val="between"/>
      </c:valAx>
      <c:spPr>
        <a:noFill/>
        <a:ln>
          <a:noFill/>
        </a:ln>
        <a:effectLst/>
      </c:spPr>
    </c:plotArea>
    <c:plotVisOnly val="1"/>
    <c:dispBlanksAs val="gap"/>
    <c:showDLblsOverMax val="0"/>
  </c:chart>
  <c:spPr>
    <a:noFill/>
    <a:ln>
      <a:noFill/>
    </a:ln>
    <a:effectLst/>
  </c:spPr>
  <c:txPr>
    <a:bodyPr/>
    <a:lstStyle/>
    <a:p>
      <a:pPr>
        <a:defRPr lang="zh-CN"/>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Sheet1!$A$8</c:f>
              <c:strCache>
                <c:ptCount val="1"/>
                <c:pt idx="0">
                  <c:v>Pre-1995</c:v>
                </c:pt>
              </c:strCache>
            </c:strRef>
          </c:tx>
          <c:spPr>
            <a:solidFill>
              <a:schemeClr val="tx2">
                <a:lumMod val="60000"/>
                <a:lumOff val="40000"/>
              </a:schemeClr>
            </a:solidFill>
            <a:ln>
              <a:solidFill>
                <a:schemeClr val="tx1"/>
              </a:solidFill>
            </a:ln>
          </c:spPr>
          <c:invertIfNegative val="0"/>
          <c:dLbls>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chemeClr val="tx1"/>
                    </a:solidFill>
                    <a:latin typeface="+mn-lt"/>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B$7:$AB$7</c:f>
              <c:strCache>
                <c:ptCount val="27"/>
                <c:pt idx="0">
                  <c:v>General</c:v>
                </c:pt>
                <c:pt idx="1">
                  <c:v>Agricultural and Biological Sciences</c:v>
                </c:pt>
                <c:pt idx="2">
                  <c:v>Arts and Humanities</c:v>
                </c:pt>
                <c:pt idx="3">
                  <c:v>Biochemistry, Genetics and Molecular Biology</c:v>
                </c:pt>
                <c:pt idx="4">
                  <c:v>Business, Management and Accounting</c:v>
                </c:pt>
                <c:pt idx="5">
                  <c:v>Chemical Engineering</c:v>
                </c:pt>
                <c:pt idx="6">
                  <c:v>Chemistry</c:v>
                </c:pt>
                <c:pt idx="7">
                  <c:v>Computer Science</c:v>
                </c:pt>
                <c:pt idx="8">
                  <c:v>Decision Sciences</c:v>
                </c:pt>
                <c:pt idx="9">
                  <c:v>Earth and Planetary Sciences</c:v>
                </c:pt>
                <c:pt idx="10">
                  <c:v>Economics, Econometrics and Finance</c:v>
                </c:pt>
                <c:pt idx="11">
                  <c:v>Energy</c:v>
                </c:pt>
                <c:pt idx="12">
                  <c:v>Engineering</c:v>
                </c:pt>
                <c:pt idx="13">
                  <c:v>Environmental Science</c:v>
                </c:pt>
                <c:pt idx="14">
                  <c:v>Immunology and Microbiology</c:v>
                </c:pt>
                <c:pt idx="15">
                  <c:v>Materials Science</c:v>
                </c:pt>
                <c:pt idx="16">
                  <c:v>Mathematics</c:v>
                </c:pt>
                <c:pt idx="17">
                  <c:v>Medicine</c:v>
                </c:pt>
                <c:pt idx="18">
                  <c:v>Neuroscience</c:v>
                </c:pt>
                <c:pt idx="19">
                  <c:v>Nursing</c:v>
                </c:pt>
                <c:pt idx="20">
                  <c:v>Pharmacology, Toxicology and Pharmaceutics</c:v>
                </c:pt>
                <c:pt idx="21">
                  <c:v>Physics and Astronomy</c:v>
                </c:pt>
                <c:pt idx="22">
                  <c:v>Psychology</c:v>
                </c:pt>
                <c:pt idx="23">
                  <c:v>Social Sciences</c:v>
                </c:pt>
                <c:pt idx="24">
                  <c:v>Veterinary</c:v>
                </c:pt>
                <c:pt idx="25">
                  <c:v>Dentistry</c:v>
                </c:pt>
                <c:pt idx="26">
                  <c:v>Health Professions</c:v>
                </c:pt>
              </c:strCache>
            </c:strRef>
          </c:cat>
          <c:val>
            <c:numRef>
              <c:f>Sheet1!$B$8:$AB$8</c:f>
              <c:numCache>
                <c:formatCode>0%</c:formatCode>
                <c:ptCount val="27"/>
                <c:pt idx="0">
                  <c:v>0</c:v>
                </c:pt>
                <c:pt idx="1">
                  <c:v>0.0826325074921573</c:v>
                </c:pt>
                <c:pt idx="2">
                  <c:v>0.190006477163969</c:v>
                </c:pt>
                <c:pt idx="3">
                  <c:v>0.0837246341303697</c:v>
                </c:pt>
                <c:pt idx="4">
                  <c:v>0.108561023963173</c:v>
                </c:pt>
                <c:pt idx="5">
                  <c:v>0.0958888870486865</c:v>
                </c:pt>
                <c:pt idx="6">
                  <c:v>0.157176861378249</c:v>
                </c:pt>
                <c:pt idx="7">
                  <c:v>0.147308906848929</c:v>
                </c:pt>
                <c:pt idx="8">
                  <c:v>0.0893971008227098</c:v>
                </c:pt>
                <c:pt idx="9">
                  <c:v>0.132762337436696</c:v>
                </c:pt>
                <c:pt idx="10">
                  <c:v>0.133448104384439</c:v>
                </c:pt>
                <c:pt idx="11">
                  <c:v>0.0993750219461431</c:v>
                </c:pt>
                <c:pt idx="12">
                  <c:v>0.136453476291674</c:v>
                </c:pt>
                <c:pt idx="13">
                  <c:v>0.0832218942801315</c:v>
                </c:pt>
                <c:pt idx="14">
                  <c:v>0.0613279345544955</c:v>
                </c:pt>
                <c:pt idx="15">
                  <c:v>0.121922687505477</c:v>
                </c:pt>
                <c:pt idx="16">
                  <c:v>0.199371481537882</c:v>
                </c:pt>
                <c:pt idx="17">
                  <c:v>0.0888208457148485</c:v>
                </c:pt>
                <c:pt idx="18">
                  <c:v>0.0559525547505865</c:v>
                </c:pt>
                <c:pt idx="19">
                  <c:v>0.0518259929929783</c:v>
                </c:pt>
                <c:pt idx="20">
                  <c:v>0.135708216805516</c:v>
                </c:pt>
                <c:pt idx="21">
                  <c:v>0.163238284203495</c:v>
                </c:pt>
                <c:pt idx="22">
                  <c:v>0.0858228660516428</c:v>
                </c:pt>
                <c:pt idx="23">
                  <c:v>0.111397528401988</c:v>
                </c:pt>
                <c:pt idx="24">
                  <c:v>0.0541997640103641</c:v>
                </c:pt>
                <c:pt idx="25">
                  <c:v>0.172106105250965</c:v>
                </c:pt>
                <c:pt idx="26">
                  <c:v>0.0790581448001744</c:v>
                </c:pt>
              </c:numCache>
            </c:numRef>
          </c:val>
        </c:ser>
        <c:ser>
          <c:idx val="1"/>
          <c:order val="1"/>
          <c:tx>
            <c:strRef>
              <c:f>Sheet1!$A$9</c:f>
              <c:strCache>
                <c:ptCount val="1"/>
                <c:pt idx="0">
                  <c:v>Post-1995</c:v>
                </c:pt>
              </c:strCache>
            </c:strRef>
          </c:tx>
          <c:spPr>
            <a:solidFill>
              <a:schemeClr val="tx2">
                <a:lumMod val="20000"/>
                <a:lumOff val="80000"/>
              </a:schemeClr>
            </a:solidFill>
            <a:ln>
              <a:solidFill>
                <a:schemeClr val="tx1"/>
              </a:solidFill>
            </a:ln>
          </c:spPr>
          <c:invertIfNegative val="0"/>
          <c:dLbls>
            <c:spPr>
              <a:noFill/>
              <a:ln>
                <a:noFill/>
              </a:ln>
              <a:effectLst/>
            </c:spPr>
            <c:txPr>
              <a:bodyPr rot="0" spcFirstLastPara="0" vertOverflow="ellipsis" vert="horz" wrap="square" lIns="38100" tIns="19050" rIns="38100" bIns="19050" anchor="ctr" anchorCtr="1"/>
              <a:lstStyle/>
              <a:p>
                <a:pPr>
                  <a:defRPr lang="zh-CN" sz="900" b="0" i="0" u="none" strike="noStrike" kern="1200" baseline="0">
                    <a:solidFill>
                      <a:schemeClr val="tx1"/>
                    </a:solidFill>
                    <a:latin typeface="+mn-lt"/>
                    <a:ea typeface="+mn-ea"/>
                    <a:cs typeface="+mn-cs"/>
                  </a:defRPr>
                </a:pPr>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B$7:$AB$7</c:f>
              <c:strCache>
                <c:ptCount val="27"/>
                <c:pt idx="0">
                  <c:v>General</c:v>
                </c:pt>
                <c:pt idx="1">
                  <c:v>Agricultural and Biological Sciences</c:v>
                </c:pt>
                <c:pt idx="2">
                  <c:v>Arts and Humanities</c:v>
                </c:pt>
                <c:pt idx="3">
                  <c:v>Biochemistry, Genetics and Molecular Biology</c:v>
                </c:pt>
                <c:pt idx="4">
                  <c:v>Business, Management and Accounting</c:v>
                </c:pt>
                <c:pt idx="5">
                  <c:v>Chemical Engineering</c:v>
                </c:pt>
                <c:pt idx="6">
                  <c:v>Chemistry</c:v>
                </c:pt>
                <c:pt idx="7">
                  <c:v>Computer Science</c:v>
                </c:pt>
                <c:pt idx="8">
                  <c:v>Decision Sciences</c:v>
                </c:pt>
                <c:pt idx="9">
                  <c:v>Earth and Planetary Sciences</c:v>
                </c:pt>
                <c:pt idx="10">
                  <c:v>Economics, Econometrics and Finance</c:v>
                </c:pt>
                <c:pt idx="11">
                  <c:v>Energy</c:v>
                </c:pt>
                <c:pt idx="12">
                  <c:v>Engineering</c:v>
                </c:pt>
                <c:pt idx="13">
                  <c:v>Environmental Science</c:v>
                </c:pt>
                <c:pt idx="14">
                  <c:v>Immunology and Microbiology</c:v>
                </c:pt>
                <c:pt idx="15">
                  <c:v>Materials Science</c:v>
                </c:pt>
                <c:pt idx="16">
                  <c:v>Mathematics</c:v>
                </c:pt>
                <c:pt idx="17">
                  <c:v>Medicine</c:v>
                </c:pt>
                <c:pt idx="18">
                  <c:v>Neuroscience</c:v>
                </c:pt>
                <c:pt idx="19">
                  <c:v>Nursing</c:v>
                </c:pt>
                <c:pt idx="20">
                  <c:v>Pharmacology, Toxicology and Pharmaceutics</c:v>
                </c:pt>
                <c:pt idx="21">
                  <c:v>Physics and Astronomy</c:v>
                </c:pt>
                <c:pt idx="22">
                  <c:v>Psychology</c:v>
                </c:pt>
                <c:pt idx="23">
                  <c:v>Social Sciences</c:v>
                </c:pt>
                <c:pt idx="24">
                  <c:v>Veterinary</c:v>
                </c:pt>
                <c:pt idx="25">
                  <c:v>Dentistry</c:v>
                </c:pt>
                <c:pt idx="26">
                  <c:v>Health Professions</c:v>
                </c:pt>
              </c:strCache>
            </c:strRef>
          </c:cat>
          <c:val>
            <c:numRef>
              <c:f>Sheet1!$B$9:$AB$9</c:f>
              <c:numCache>
                <c:formatCode>0%</c:formatCode>
                <c:ptCount val="27"/>
                <c:pt idx="0">
                  <c:v>1</c:v>
                </c:pt>
                <c:pt idx="1">
                  <c:v>0.917367492507843</c:v>
                </c:pt>
                <c:pt idx="2">
                  <c:v>0.809993522836031</c:v>
                </c:pt>
                <c:pt idx="3">
                  <c:v>0.91627536586963</c:v>
                </c:pt>
                <c:pt idx="4">
                  <c:v>0.891438976036827</c:v>
                </c:pt>
                <c:pt idx="5">
                  <c:v>0.904111112951314</c:v>
                </c:pt>
                <c:pt idx="6">
                  <c:v>0.842823138621751</c:v>
                </c:pt>
                <c:pt idx="7">
                  <c:v>0.852691093151071</c:v>
                </c:pt>
                <c:pt idx="8">
                  <c:v>0.91060289917729</c:v>
                </c:pt>
                <c:pt idx="9">
                  <c:v>0.867237662563304</c:v>
                </c:pt>
                <c:pt idx="10">
                  <c:v>0.866551895615561</c:v>
                </c:pt>
                <c:pt idx="11">
                  <c:v>0.900624978053857</c:v>
                </c:pt>
                <c:pt idx="12">
                  <c:v>0.863546523708326</c:v>
                </c:pt>
                <c:pt idx="13">
                  <c:v>0.916778105719869</c:v>
                </c:pt>
                <c:pt idx="14">
                  <c:v>0.938672065445505</c:v>
                </c:pt>
                <c:pt idx="15">
                  <c:v>0.878077312494524</c:v>
                </c:pt>
                <c:pt idx="16">
                  <c:v>0.800628518462118</c:v>
                </c:pt>
                <c:pt idx="17">
                  <c:v>0.911179154285152</c:v>
                </c:pt>
                <c:pt idx="18">
                  <c:v>0.944047445249414</c:v>
                </c:pt>
                <c:pt idx="19">
                  <c:v>0.948174007007022</c:v>
                </c:pt>
                <c:pt idx="20">
                  <c:v>0.864291783194484</c:v>
                </c:pt>
                <c:pt idx="21">
                  <c:v>0.836761715796505</c:v>
                </c:pt>
                <c:pt idx="22">
                  <c:v>0.914177133948357</c:v>
                </c:pt>
                <c:pt idx="23">
                  <c:v>0.888602471598012</c:v>
                </c:pt>
                <c:pt idx="24">
                  <c:v>0.945800235989636</c:v>
                </c:pt>
                <c:pt idx="25">
                  <c:v>0.827893894749035</c:v>
                </c:pt>
                <c:pt idx="26">
                  <c:v>0.920941855199826</c:v>
                </c:pt>
              </c:numCache>
            </c:numRef>
          </c:val>
        </c:ser>
        <c:dLbls>
          <c:showLegendKey val="0"/>
          <c:showVal val="0"/>
          <c:showCatName val="0"/>
          <c:showSerName val="0"/>
          <c:showPercent val="0"/>
          <c:showBubbleSize val="0"/>
        </c:dLbls>
        <c:gapWidth val="30"/>
        <c:overlap val="100"/>
        <c:axId val="75162368"/>
        <c:axId val="75163904"/>
      </c:barChart>
      <c:catAx>
        <c:axId val="75162368"/>
        <c:scaling>
          <c:orientation val="minMax"/>
        </c:scaling>
        <c:delete val="0"/>
        <c:axPos val="b"/>
        <c:numFmt formatCode="General" sourceLinked="0"/>
        <c:majorTickMark val="out"/>
        <c:minorTickMark val="none"/>
        <c:tickLblPos val="nextTo"/>
        <c:txPr>
          <a:bodyPr rot="-54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75163904"/>
        <c:crosses val="autoZero"/>
        <c:auto val="1"/>
        <c:lblAlgn val="ctr"/>
        <c:lblOffset val="100"/>
        <c:noMultiLvlLbl val="0"/>
      </c:catAx>
      <c:valAx>
        <c:axId val="75163904"/>
        <c:scaling>
          <c:orientation val="minMax"/>
        </c:scaling>
        <c:delete val="0"/>
        <c:axPos val="l"/>
        <c:numFmt formatCode="0%" sourceLinked="1"/>
        <c:majorTickMark val="out"/>
        <c:minorTickMark val="none"/>
        <c:tickLblPos val="nextTo"/>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crossAx val="75162368"/>
        <c:crosses val="autoZero"/>
        <c:crossBetween val="between"/>
      </c:valAx>
    </c:plotArea>
    <c:legend>
      <c:legendPos val="b"/>
      <c:layout/>
      <c:overlay val="0"/>
      <c:txPr>
        <a:bodyPr rot="0" spcFirstLastPara="0" vertOverflow="ellipsis" vert="horz" wrap="square" anchor="ctr" anchorCtr="1"/>
        <a:lstStyle/>
        <a:p>
          <a:pPr>
            <a:defRPr lang="zh-CN" sz="1000" b="0" i="0" u="none" strike="noStrike" kern="1200" baseline="0">
              <a:solidFill>
                <a:schemeClr val="tx1"/>
              </a:solidFill>
              <a:latin typeface="+mn-lt"/>
              <a:ea typeface="+mn-ea"/>
              <a:cs typeface="+mn-cs"/>
            </a:defRPr>
          </a:pPr>
        </a:p>
      </c:txPr>
    </c:legend>
    <c:plotVisOnly val="1"/>
    <c:dispBlanksAs val="gap"/>
    <c:showDLblsOverMax val="0"/>
  </c:chart>
  <c:txPr>
    <a:bodyPr/>
    <a:lstStyle/>
    <a:p>
      <a:pPr>
        <a:defRPr lang="zh-CN"/>
      </a:pP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94081116269794"/>
          <c:y val="0.0702458954638072"/>
          <c:w val="0.584450392348964"/>
          <c:h val="0.449016145709059"/>
        </c:manualLayout>
      </c:layout>
      <c:pieChart>
        <c:varyColors val="1"/>
        <c:ser>
          <c:idx val="0"/>
          <c:order val="0"/>
          <c:tx>
            <c:strRef>
              <c:f>Sheet1!$B$1</c:f>
              <c:strCache>
                <c:ptCount val="1"/>
                <c:pt idx="0">
                  <c:v>Sales</c:v>
                </c:pt>
              </c:strCache>
            </c:strRef>
          </c:tx>
          <c:explosion val="0"/>
          <c:dPt>
            <c:idx val="0"/>
            <c:bubble3D val="0"/>
            <c:spPr>
              <a:solidFill>
                <a:srgbClr val="FF8200"/>
              </a:solidFill>
            </c:spPr>
          </c:dPt>
          <c:dPt>
            <c:idx val="1"/>
            <c:bubble3D val="0"/>
            <c:spPr>
              <a:solidFill>
                <a:srgbClr val="FF8200">
                  <a:alpha val="45000"/>
                </a:srgbClr>
              </a:solidFill>
            </c:spPr>
          </c:dPt>
          <c:dPt>
            <c:idx val="2"/>
            <c:bubble3D val="0"/>
            <c:spPr>
              <a:solidFill>
                <a:srgbClr val="FF8200">
                  <a:alpha val="12000"/>
                </a:srgbClr>
              </a:solidFill>
            </c:spPr>
          </c:dPt>
          <c:dPt>
            <c:idx val="3"/>
            <c:bubble3D val="0"/>
            <c:spPr>
              <a:solidFill>
                <a:srgbClr val="007398"/>
              </a:solidFill>
            </c:spPr>
          </c:dPt>
          <c:dPt>
            <c:idx val="4"/>
            <c:bubble3D val="0"/>
            <c:spPr>
              <a:solidFill>
                <a:srgbClr val="41B6E6"/>
              </a:solidFill>
            </c:spPr>
          </c:dPt>
          <c:dPt>
            <c:idx val="5"/>
            <c:bubble3D val="0"/>
            <c:spPr>
              <a:solidFill>
                <a:srgbClr val="41B6E6">
                  <a:lumMod val="40000"/>
                  <a:lumOff val="60000"/>
                </a:srgbClr>
              </a:solidFill>
            </c:spPr>
          </c:dPt>
          <c:dPt>
            <c:idx val="6"/>
            <c:bubble3D val="0"/>
            <c:spPr>
              <a:solidFill>
                <a:srgbClr val="888B8D"/>
              </a:solidFill>
            </c:spPr>
          </c:dPt>
          <c:dLbls>
            <c:dLbl>
              <c:idx val="3"/>
              <c:layout/>
              <c:numFmt formatCode="General" sourceLinked="1"/>
              <c:spPr>
                <a:noFill/>
                <a:ln>
                  <a:noFill/>
                </a:ln>
                <a:effectLst/>
              </c:spPr>
              <c:txPr>
                <a:bodyPr rot="0" spcFirstLastPara="0" vertOverflow="ellipsis" vert="horz" wrap="square" lIns="38100" tIns="19050" rIns="38100" bIns="19050" anchor="ctr" anchorCtr="1"/>
                <a:lstStyle/>
                <a:p>
                  <a:pPr>
                    <a:defRPr lang="zh-CN" sz="1100" b="0" i="0" u="none" strike="noStrike" kern="1200" baseline="0">
                      <a:solidFill>
                        <a:schemeClr val="bg1"/>
                      </a:solidFill>
                      <a:latin typeface="Arial" panose="020B0604020202020204" pitchFamily="34" charset="0"/>
                      <a:ea typeface="+mn-ea"/>
                      <a:cs typeface="Arial" panose="020B0604020202020204" pitchFamily="34" charset="0"/>
                    </a:defRPr>
                  </a:pPr>
                </a:p>
              </c:txPr>
              <c:dLblPos val="bestFit"/>
              <c:showLegendKey val="0"/>
              <c:showVal val="1"/>
              <c:showCatName val="0"/>
              <c:showSerName val="0"/>
              <c:showPercent val="0"/>
              <c:showBubbleSize val="0"/>
              <c:extLst>
                <c:ext xmlns:c15="http://schemas.microsoft.com/office/drawing/2012/chart" uri="{CE6537A1-D6FC-4f65-9D91-7224C49458BB}"/>
              </c:extLst>
            </c:dLbl>
            <c:dLbl>
              <c:idx val="6"/>
              <c:layout/>
              <c:numFmt formatCode="General" sourceLinked="1"/>
              <c:spPr>
                <a:noFill/>
                <a:ln>
                  <a:noFill/>
                </a:ln>
                <a:effectLst/>
              </c:spPr>
              <c:txPr>
                <a:bodyPr rot="0" spcFirstLastPara="0" vertOverflow="ellipsis" vert="horz" wrap="square" lIns="38100" tIns="19050" rIns="38100" bIns="19050" anchor="ctr" anchorCtr="1"/>
                <a:lstStyle/>
                <a:p>
                  <a:pPr>
                    <a:defRPr lang="zh-CN" sz="1100" b="0" i="0" u="none" strike="noStrike" kern="1200" baseline="0">
                      <a:solidFill>
                        <a:schemeClr val="bg1"/>
                      </a:solidFill>
                      <a:latin typeface="Arial" panose="020B0604020202020204" pitchFamily="34" charset="0"/>
                      <a:ea typeface="+mn-ea"/>
                      <a:cs typeface="Arial" panose="020B0604020202020204" pitchFamily="34" charset="0"/>
                    </a:defRPr>
                  </a:pPr>
                </a:p>
              </c:txPr>
              <c:dLblPos val="bestFi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0" vertOverflow="ellipsis" vert="horz" wrap="square" lIns="38100" tIns="19050" rIns="38100" bIns="19050" anchor="ctr" anchorCtr="1"/>
              <a:lstStyle/>
              <a:p>
                <a:pPr>
                  <a:defRPr lang="zh-CN" sz="1100" b="0" i="0" u="none" strike="noStrike" kern="1200" baseline="0">
                    <a:solidFill>
                      <a:schemeClr val="tx1"/>
                    </a:solidFill>
                    <a:latin typeface="Arial" panose="020B0604020202020204" pitchFamily="34" charset="0"/>
                    <a:ea typeface="+mn-ea"/>
                    <a:cs typeface="Arial" panose="020B0604020202020204" pitchFamily="34" charset="0"/>
                  </a:defRPr>
                </a:pPr>
              </a:p>
            </c:txPr>
            <c:dLblPos val="bestFit"/>
            <c:showLegendKey val="0"/>
            <c:showVal val="1"/>
            <c:showCatName val="0"/>
            <c:showSerName val="0"/>
            <c:showPercent val="0"/>
            <c:showBubbleSize val="0"/>
            <c:showLeaderLines val="1"/>
            <c:extLst>
              <c:ext xmlns:c15="http://schemas.microsoft.com/office/drawing/2012/chart" uri="{CE6537A1-D6FC-4f65-9D91-7224C49458BB}">
                <c15:layout/>
                <c15:showLeaderLines val="1"/>
                <c15:leaderLines/>
              </c:ext>
            </c:extLst>
          </c:dLbls>
          <c:cat>
            <c:strRef>
              <c:f>Sheet1!$A$2:$A$8</c:f>
              <c:strCache>
                <c:ptCount val="7"/>
                <c:pt idx="0">
                  <c:v>Several times a week</c:v>
                </c:pt>
                <c:pt idx="1">
                  <c:v>Around once a week</c:v>
                </c:pt>
                <c:pt idx="2">
                  <c:v>Around once or twice a month</c:v>
                </c:pt>
                <c:pt idx="3">
                  <c:v>Once every 2-3 months</c:v>
                </c:pt>
                <c:pt idx="4">
                  <c:v>Once every 6 months</c:v>
                </c:pt>
                <c:pt idx="5">
                  <c:v>Less often/never</c:v>
                </c:pt>
                <c:pt idx="6">
                  <c:v>It depends on what I'm working on at the time</c:v>
                </c:pt>
              </c:strCache>
            </c:strRef>
          </c:cat>
          <c:val>
            <c:numRef>
              <c:f>Sheet1!$B$2:$B$8</c:f>
              <c:numCache>
                <c:formatCode>0%</c:formatCode>
                <c:ptCount val="7"/>
                <c:pt idx="0">
                  <c:v>0.198863636363636</c:v>
                </c:pt>
                <c:pt idx="1">
                  <c:v>0.241477272727273</c:v>
                </c:pt>
                <c:pt idx="2">
                  <c:v>0.269886363636364</c:v>
                </c:pt>
                <c:pt idx="3">
                  <c:v>0.0965909090909091</c:v>
                </c:pt>
                <c:pt idx="4">
                  <c:v>0.0596590909090909</c:v>
                </c:pt>
                <c:pt idx="5">
                  <c:v>0.0284090909090909</c:v>
                </c:pt>
                <c:pt idx="6">
                  <c:v>0.105113636363636</c:v>
                </c:pt>
              </c:numCache>
            </c:numRef>
          </c:val>
        </c:ser>
        <c:dLbls>
          <c:showLegendKey val="0"/>
          <c:showVal val="0"/>
          <c:showCatName val="0"/>
          <c:showSerName val="0"/>
          <c:showPercent val="0"/>
          <c:showBubbleSize val="0"/>
          <c:showLeaderLines val="1"/>
        </c:dLbls>
        <c:firstSliceAng val="0"/>
      </c:pieChart>
      <c:spPr>
        <a:noFill/>
        <a:ln w="25400">
          <a:noFill/>
        </a:ln>
      </c:spPr>
    </c:plotArea>
    <c:legend>
      <c:legendPos val="r"/>
      <c:layout>
        <c:manualLayout>
          <c:xMode val="edge"/>
          <c:yMode val="edge"/>
          <c:x val="0"/>
          <c:y val="0.678300028762722"/>
          <c:w val="0.887104645800047"/>
          <c:h val="0.284230327318026"/>
        </c:manualLayout>
      </c:layout>
      <c:overlay val="0"/>
      <c:txPr>
        <a:bodyPr rot="0" spcFirstLastPara="0" vertOverflow="ellipsis" vert="horz" wrap="square" anchor="ctr" anchorCtr="1"/>
        <a:lstStyle/>
        <a:p>
          <a:pPr>
            <a:defRPr lang="zh-CN" sz="1050" b="0" i="0" u="none" strike="noStrike" kern="1200" baseline="0">
              <a:solidFill>
                <a:schemeClr val="bg1">
                  <a:lumMod val="50000"/>
                </a:schemeClr>
              </a:solidFill>
              <a:latin typeface="Arial" panose="020B0604020202020204" pitchFamily="34" charset="0"/>
              <a:ea typeface="+mn-ea"/>
              <a:cs typeface="Arial" panose="020B0604020202020204" pitchFamily="34" charset="0"/>
            </a:defRPr>
          </a:pPr>
        </a:p>
      </c:txPr>
    </c:legend>
    <c:plotVisOnly val="1"/>
    <c:dispBlanksAs val="gap"/>
    <c:showDLblsOverMax val="0"/>
  </c:chart>
  <c:txPr>
    <a:bodyPr/>
    <a:lstStyle/>
    <a:p>
      <a:pPr>
        <a:defRPr lang="zh-CN" sz="1100">
          <a:latin typeface="Arial" panose="020B0604020202020204" pitchFamily="34" charset="0"/>
          <a:cs typeface="Arial" panose="020B0604020202020204" pitchFamily="34" charset="0"/>
        </a:defRPr>
      </a:pPr>
    </a:p>
  </c:txPr>
  <c:externalData r:id="rId1">
    <c:autoUpdate val="0"/>
  </c:externalData>
</c:chartSpace>
</file>

<file path=ppt/charts/colors1.xml><?xml version="1.0" encoding="utf-8"?>
<cs:colorStyle xmlns:cs="http://schemas.microsoft.com/office/drawing/2012/chartStyle" xmlns:a="http://schemas.openxmlformats.org/drawingml/2006/main" meth="withinLinear" id="14">
  <a:schemeClr val="accent1"/>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6">
  <cs:axisTitle>
    <cs:lnRef idx="0"/>
    <cs:fillRef idx="0"/>
    <cs:effectRef idx="0"/>
    <cs:fontRef idx="minor">
      <a:schemeClr val="dk1">
        <a:lumMod val="65000"/>
        <a:lumOff val="35000"/>
      </a:schemeClr>
    </cs:fontRef>
    <cs:defRPr sz="1195" kern="1200"/>
  </cs:axisTitle>
  <cs:categoryAxis>
    <cs:lnRef idx="0"/>
    <cs:fillRef idx="0"/>
    <cs:effectRef idx="0"/>
    <cs:fontRef idx="minor">
      <a:schemeClr val="dk1">
        <a:lumMod val="65000"/>
        <a:lumOff val="35000"/>
      </a:schemeClr>
    </cs:fontRef>
    <cs:spPr>
      <a:ln w="9525" cap="rnd">
        <a:solidFill>
          <a:schemeClr val="dk1">
            <a:lumMod val="20000"/>
            <a:lumOff val="80000"/>
          </a:schemeClr>
        </a:solidFill>
        <a:round/>
      </a:ln>
    </cs:spPr>
    <cs:defRPr sz="1195" kern="1200"/>
  </cs:categoryAxis>
  <cs:chartArea mods="allowNoLineOverride">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5" kern="1200"/>
  </cs:chartArea>
  <cs:dataLabel>
    <cs:lnRef idx="0"/>
    <cs:fillRef idx="0"/>
    <cs:effectRef idx="0"/>
    <cs:fontRef idx="minor">
      <a:schemeClr val="dk1">
        <a:lumMod val="65000"/>
        <a:lumOff val="3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effectRef idx="1"/>
    <cs:fontRef idx="minor">
      <a:schemeClr val="dk1"/>
    </cs:fontRef>
    <cs:spPr>
      <a:ln w="9525" cap="flat" cmpd="sng" algn="ctr">
        <a:solidFill>
          <a:schemeClr val="phClr">
            <a:alpha val="70000"/>
          </a:schemeClr>
        </a:solidFill>
        <a:prstDash val="sysDot"/>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rnd">
        <a:solidFill>
          <a:schemeClr val="dk1">
            <a:lumMod val="15000"/>
            <a:lumOff val="85000"/>
          </a:schemeClr>
        </a:solidFill>
        <a:round/>
      </a:ln>
    </cs:spPr>
    <cs:defRPr sz="1195" kern="1200"/>
  </cs:dataTable>
  <cs:downBar>
    <cs:lnRef idx="0"/>
    <cs:fillRef idx="0"/>
    <cs:effectRef idx="0"/>
    <cs:fontRef idx="minor">
      <a:schemeClr val="dk1"/>
    </cs:fontRef>
    <cs:spPr>
      <a:solidFill>
        <a:schemeClr val="dk1">
          <a:lumMod val="75000"/>
          <a:lumOff val="25000"/>
        </a:schemeClr>
      </a:solidFill>
      <a:ln w="9525" cap="rnd">
        <a:solidFill>
          <a:schemeClr val="dk1">
            <a:lumMod val="65000"/>
            <a:lumOff val="35000"/>
          </a:schemeClr>
        </a:solidFill>
        <a:round/>
      </a:ln>
    </cs:spPr>
  </cs:downBar>
  <cs:dropLine>
    <cs:lnRef idx="0"/>
    <cs:fillRef idx="0"/>
    <cs:effectRef idx="0"/>
    <cs:fontRef idx="minor">
      <a:schemeClr val="dk1"/>
    </cs:fontRef>
    <cs:spPr>
      <a:ln w="9525" cap="rnd">
        <a:solidFill>
          <a:schemeClr val="dk1">
            <a:lumMod val="35000"/>
            <a:lumOff val="65000"/>
          </a:schemeClr>
        </a:solidFill>
        <a:round/>
      </a:ln>
    </cs:spPr>
  </cs:dropLine>
  <cs:errorBar>
    <cs:lnRef idx="0"/>
    <cs:fillRef idx="0"/>
    <cs:effectRef idx="0"/>
    <cs:fontRef idx="minor">
      <a:schemeClr val="dk1"/>
    </cs:fontRef>
    <cs:spPr>
      <a:ln w="9525" cap="rnd">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rnd">
        <a:solidFill>
          <a:schemeClr val="dk1">
            <a:lumMod val="35000"/>
            <a:lumOff val="65000"/>
          </a:schemeClr>
        </a:solidFill>
        <a:round/>
      </a:ln>
    </cs:spPr>
  </cs:hiLoLine>
  <cs:leaderLine>
    <cs:lnRef idx="0"/>
    <cs:fillRef idx="0"/>
    <cs:effectRef idx="0"/>
    <cs:fontRef idx="minor">
      <a:schemeClr val="dk1"/>
    </cs:fontRef>
    <cs:spPr>
      <a:ln w="9525" cap="rnd">
        <a:solidFill>
          <a:schemeClr val="dk1">
            <a:lumMod val="35000"/>
            <a:lumOff val="65000"/>
          </a:schemeClr>
        </a:solidFill>
        <a:round/>
      </a:ln>
    </cs:spPr>
  </cs:leaderLine>
  <cs:legend>
    <cs:lnRef idx="0"/>
    <cs:fillRef idx="0"/>
    <cs:effectRef idx="0"/>
    <cs:fontRef idx="minor">
      <a:schemeClr val="dk1">
        <a:lumMod val="65000"/>
        <a:lumOff val="35000"/>
      </a:schemeClr>
    </cs:fontRef>
    <cs:defRPr sz="1195" kern="1200" spc="0" baseline="0"/>
  </cs:legend>
  <cs:plotArea>
    <cs:lnRef idx="0"/>
    <cs:fillRef idx="0"/>
    <cs:effectRef idx="0"/>
    <cs:fontRef idx="minor">
      <a:schemeClr val="dk1"/>
    </cs:fontRef>
    <cs:spPr>
      <a:gradFill>
        <a:gsLst>
          <a:gs pos="100000">
            <a:schemeClr val="lt1">
              <a:lumMod val="95000"/>
            </a:schemeClr>
          </a:gs>
          <a:gs pos="0">
            <a:schemeClr val="lt1">
              <a:alpha val="0"/>
            </a:schemeClr>
          </a:gs>
        </a:gsLst>
        <a:lin ang="5400000" scaled="0"/>
      </a:gradFill>
    </cs:spPr>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rnd">
        <a:solidFill>
          <a:schemeClr val="dk1">
            <a:lumMod val="20000"/>
            <a:lumOff val="80000"/>
          </a:schemeClr>
        </a:solidFill>
        <a:round/>
      </a:ln>
    </cs:spPr>
    <cs:defRPr sz="1195" kern="1200"/>
  </cs:seriesAxis>
  <cs:seriesLine>
    <cs:lnRef idx="0"/>
    <cs:fillRef idx="0"/>
    <cs:effectRef idx="0"/>
    <cs:fontRef idx="minor">
      <a:schemeClr val="dk1"/>
    </cs:fontRef>
    <cs:spPr>
      <a:ln w="9525" cap="rnd">
        <a:solidFill>
          <a:schemeClr val="dk1">
            <a:lumMod val="35000"/>
            <a:lumOff val="65000"/>
          </a:schemeClr>
        </a:solidFill>
        <a:round/>
      </a:ln>
    </cs:spPr>
  </cs:seriesLine>
  <cs:title>
    <cs:lnRef idx="0"/>
    <cs:fillRef idx="0"/>
    <cs:effectRef idx="0"/>
    <cs:fontRef idx="minor">
      <a:schemeClr val="dk1">
        <a:lumMod val="50000"/>
        <a:lumOff val="50000"/>
      </a:schemeClr>
    </cs:fontRef>
    <cs:defRPr sz="1860" kern="1200" cap="none" spc="2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dk1">
        <a:lumMod val="65000"/>
        <a:lumOff val="35000"/>
      </a:schemeClr>
    </cs:fontRef>
    <cs:defRPr sz="1195" kern="1200"/>
  </cs:trendlineLabel>
  <cs:upBar>
    <cs:lnRef idx="0"/>
    <cs:fillRef idx="0"/>
    <cs:effectRef idx="0"/>
    <cs:fontRef idx="minor">
      <a:schemeClr val="dk1"/>
    </cs:fontRef>
    <cs:spPr>
      <a:solidFill>
        <a:schemeClr val="lt1"/>
      </a:solidFill>
    </cs:spPr>
  </cs:upBar>
  <cs:valueAxis>
    <cs:lnRef idx="0"/>
    <cs:fillRef idx="0"/>
    <cs:effectRef idx="0"/>
    <cs:fontRef idx="minor">
      <a:schemeClr val="dk1">
        <a:lumMod val="65000"/>
        <a:lumOff val="35000"/>
      </a:schemeClr>
    </cs:fontRef>
    <cs:spPr>
      <a:ln w="9525" cap="rnd">
        <a:solidFill>
          <a:schemeClr val="dk1">
            <a:lumMod val="25000"/>
            <a:lumOff val="75000"/>
          </a:schemeClr>
        </a:solidFill>
        <a:round/>
      </a:ln>
    </cs:spPr>
    <cs:defRPr sz="1195" kern="1200" spc="0" baseline="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alignNode1">
    <dgm:fillClrLst meth="repeat">
      <a:schemeClr val="dk2"/>
    </dgm:fillClrLst>
    <dgm:linClrLst meth="repeat">
      <a:schemeClr val="dk2"/>
    </dgm:linClrLst>
    <dgm:effectClrLst/>
    <dgm:txLinClrLst/>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node0">
    <dgm:fillClrLst meth="repeat">
      <a:schemeClr val="dk2"/>
    </dgm:fillClrLst>
    <dgm:linClrLst meth="repeat">
      <a:schemeClr val="lt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node0">
    <dgm:fillClrLst meth="cycle">
      <a:schemeClr val="accent6">
        <a:alpha val="80000"/>
      </a:schemeClr>
    </dgm:fillClrLst>
    <dgm:linClrLst meth="repeat">
      <a:schemeClr val="lt1"/>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6_5">
  <dgm:title val=""/>
  <dgm:desc val=""/>
  <dgm:catLst>
    <dgm:cat type="accent6" pri="11500"/>
  </dgm:catLst>
  <dgm:styleLbl name="align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Node1">
    <dgm:fillClrLst>
      <a:schemeClr val="accent6">
        <a:alpha val="90000"/>
      </a:schemeClr>
      <a:schemeClr val="accent6">
        <a:alpha val="50000"/>
      </a:schemeClr>
    </dgm:fillClrLst>
    <dgm:linClrLst>
      <a:schemeClr val="accent6">
        <a:alpha val="90000"/>
      </a:schemeClr>
      <a:schemeClr val="accent6">
        <a:alpha val="50000"/>
      </a:schemeClr>
    </dgm:linClrLst>
    <dgm:effectClrLst/>
    <dgm:txLinClrLst/>
    <dgm:txFillClrLst/>
    <dgm:txEffectClrLst/>
  </dgm:styleLbl>
  <dgm:styleLbl name="asst0">
    <dgm:fillClrLst meth="repeat">
      <a:schemeClr val="accent6">
        <a:alpha val="90000"/>
      </a:schemeClr>
    </dgm:fillClrLst>
    <dgm:linClrLst meth="repeat">
      <a:schemeClr val="lt1"/>
    </dgm:linClrLst>
    <dgm:effectClrLst/>
    <dgm:txLinClrLst/>
    <dgm:txFillClrLst/>
    <dgm:txEffectClrLst/>
  </dgm:styleLbl>
  <dgm:styleLbl name="asst1">
    <dgm:fillClrLst meth="repeat">
      <a:schemeClr val="accent6">
        <a:alpha val="90000"/>
      </a:schemeClr>
    </dgm:fillClrLst>
    <dgm:linClrLst meth="repeat">
      <a:schemeClr val="lt1"/>
    </dgm:linClrLst>
    <dgm:effectClrLst/>
    <dgm:txLinClrLst/>
    <dgm:txFillClrLst/>
    <dgm:txEffectClrLst/>
  </dgm:styleLbl>
  <dgm:styleLbl name="asst2">
    <dgm:fillClrLst>
      <a:schemeClr val="accent6">
        <a:alpha val="90000"/>
      </a:schemeClr>
    </dgm:fillClrLst>
    <dgm:linClrLst meth="repeat">
      <a:schemeClr val="lt1"/>
    </dgm:linClrLst>
    <dgm:effectClrLst/>
    <dgm:txLinClrLst/>
    <dgm:txFillClrLst/>
    <dgm:txEffectClrLst/>
  </dgm:styleLbl>
  <dgm:styleLbl name="asst3">
    <dgm:fillClrLst>
      <a:schemeClr val="accent6">
        <a:alpha val="70000"/>
      </a:schemeClr>
    </dgm:fillClrLst>
    <dgm:linClrLst meth="repeat">
      <a:schemeClr val="lt1"/>
    </dgm:linClrLst>
    <dgm:effectClrLst/>
    <dgm:txLinClrLst/>
    <dgm:txFillClrLst/>
    <dgm:txEffectClrLst/>
  </dgm:styleLbl>
  <dgm:styleLbl name="asst4">
    <dgm:fillClrLst>
      <a:schemeClr val="accent6">
        <a:alpha val="50000"/>
      </a:schemeClr>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con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1">
    <dgm:fillClrLst meth="repeat">
      <a:schemeClr val="lt1">
        <a:alpha val="9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50000"/>
      </a:schemeClr>
    </dgm:linClrLst>
    <dgm:effectClrLst/>
    <dgm:txLinClrLst/>
    <dgm:txFillClrLst meth="repeat">
      <a:schemeClr val="dk1"/>
    </dgm:txFillClrLst>
    <dgm:txEffectClrLst/>
  </dgm:styleLbl>
  <dgm:styleLbl name="fgAccFollowNode1">
    <dgm:fillClrLst>
      <a:schemeClr val="accent6">
        <a:alpha val="90000"/>
        <a:tint val="40000"/>
      </a:schemeClr>
      <a:schemeClr val="accent6">
        <a:alpha val="5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ImgPlace1">
    <dgm:fillClrLst>
      <a:schemeClr val="accent6">
        <a:tint val="50000"/>
        <a:alpha val="90000"/>
      </a:schemeClr>
      <a:schemeClr val="accent6">
        <a:tint val="20000"/>
        <a:alpha val="50000"/>
      </a:schemeClr>
    </dgm:fillClrLst>
    <dgm:linClrLst meth="repeat">
      <a:schemeClr val="lt1"/>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lnNode1">
    <dgm:fillClrLst>
      <a:schemeClr val="accent6">
        <a:shade val="90000"/>
      </a:schemeClr>
      <a:schemeClr val="accent6">
        <a:tint val="50000"/>
        <a:alpha val="50000"/>
      </a:schemeClr>
    </dgm:fillClrLst>
    <dgm:linClrLst meth="repeat">
      <a:schemeClr val="lt1"/>
    </dgm:linClrLst>
    <dgm:effectClrLst/>
    <dgm:txLinClrLst/>
    <dgm:txFillClrLst/>
    <dgm:txEffectClrLst/>
  </dgm:styleLbl>
  <dgm:styleLbl name="node0">
    <dgm:fillClrLst meth="cycle">
      <a:schemeClr val="accent6">
        <a:alpha val="80000"/>
      </a:schemeClr>
    </dgm:fillClrLst>
    <dgm:linClrLst meth="repeat">
      <a:schemeClr val="lt1"/>
    </dgm:linClrLst>
    <dgm:effectClrLst/>
    <dgm:txLinClrLst/>
    <dgm:txFillClrLst/>
    <dgm:txEffectClrLst/>
  </dgm:styleLbl>
  <dgm:styleLbl name="node1">
    <dgm:fillClrLst>
      <a:schemeClr val="accent6">
        <a:alpha val="90000"/>
      </a:schemeClr>
      <a:schemeClr val="accent6">
        <a:alpha val="50000"/>
      </a:schemeClr>
    </dgm:fillClrLst>
    <dgm:linClrLst meth="repeat">
      <a:schemeClr val="lt1"/>
    </dgm:linClrLst>
    <dgm:effectClrLst/>
    <dgm:txLinClrLst/>
    <dgm:txFillClrLst/>
    <dgm:txEffectClrLst/>
  </dgm:styleLbl>
  <dgm:styleLbl name="node2">
    <dgm:fillClrLst>
      <a:schemeClr val="accent6">
        <a:alpha val="70000"/>
      </a:schemeClr>
    </dgm:fillClrLst>
    <dgm:linClrLst meth="repeat">
      <a:schemeClr val="lt1"/>
    </dgm:linClrLst>
    <dgm:effectClrLst/>
    <dgm:txLinClrLst/>
    <dgm:txFillClrLst/>
    <dgm:txEffectClrLst/>
  </dgm:styleLbl>
  <dgm:styleLbl name="node3">
    <dgm:fillClrLst>
      <a:schemeClr val="accent6">
        <a:alpha val="50000"/>
      </a:schemeClr>
    </dgm:fillClrLst>
    <dgm:linClrLst meth="repeat">
      <a:schemeClr val="lt1"/>
    </dgm:linClrLst>
    <dgm:effectClrLst/>
    <dgm:txLinClrLst/>
    <dgm:txFillClrLst/>
    <dgm:txEffectClrLst/>
  </dgm:styleLbl>
  <dgm:styleLbl name="node4">
    <dgm:fillClrLst>
      <a:schemeClr val="accent6">
        <a:alpha val="30000"/>
      </a:schemeClr>
    </dgm:fillClrLst>
    <dgm:linClrLst meth="repeat">
      <a:schemeClr val="lt1"/>
    </dgm:linClrLst>
    <dgm:effectClrLst/>
    <dgm:txLinClrLst/>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a:tint val="90000"/>
      </a:schemeClr>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a:tint val="50000"/>
      </a:schemeClr>
    </dgm:linClrLst>
    <dgm:effectClrLst/>
    <dgm:txLinClrLst/>
    <dgm:txFillClrLst meth="repeat">
      <a:schemeClr val="tx1"/>
    </dgm:txFillClrLst>
    <dgm:txEffectClrLst/>
  </dgm:styleLbl>
  <dgm:styleLbl name="parChTrans2D1">
    <dgm:fillClrLst meth="repeat">
      <a:schemeClr val="accent6">
        <a:shade val="80000"/>
      </a:schemeClr>
    </dgm:fillClrLst>
    <dgm:linClrLst meth="repeat">
      <a:schemeClr val="accent6">
        <a:shade val="80000"/>
      </a:schemeClr>
    </dgm:linClrLst>
    <dgm:effectClrLst/>
    <dgm:txLinClrLst/>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meth="repeat">
      <a:schemeClr val="tx1"/>
    </dgm:txFillClrLst>
    <dgm:txEffectClrLst/>
  </dgm:styleLbl>
  <dgm:styleLbl name="sibTrans2D1">
    <dgm:fillClrLst>
      <a:schemeClr val="accent6">
        <a:shade val="90000"/>
      </a:schemeClr>
      <a:schemeClr val="accent6">
        <a:tint val="50000"/>
      </a:schemeClr>
    </dgm:fillClrLst>
    <dgm:linClrLst>
      <a:schemeClr val="accent6">
        <a:shade val="90000"/>
      </a:schemeClr>
      <a:schemeClr val="accent6">
        <a:tint val="50000"/>
      </a:schemeClr>
    </dgm:linClrLst>
    <dgm:effectClrLst/>
    <dgm:txLinClrLst/>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a:schemeClr val="accent6">
        <a:alpha val="90000"/>
      </a:schemeClr>
      <a:schemeClr val="accent6">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6">
        <a:alpha val="90000"/>
      </a:schemeClr>
      <a:schemeClr val="accent6">
        <a:alpha val="50000"/>
      </a:schemeClr>
    </dgm:linClrLst>
    <dgm:effectClrLst/>
    <dgm:txLinClrLst/>
    <dgm:txFillClrLst meth="repeat">
      <a:schemeClr val="dk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vennNode1">
    <dgm:fillClrLst>
      <a:schemeClr val="accent6">
        <a:shade val="80000"/>
        <a:alpha val="50000"/>
      </a:schemeClr>
      <a:schemeClr val="accent6">
        <a:alpha val="8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41DF7C01-85FA-4AFA-9A8F-5353D459B76E}" type="doc">
      <dgm:prSet loTypeId="urn:microsoft.com/office/officeart/2005/8/layout/pyramid1" loCatId="pyramid" qsTypeId="urn:microsoft.com/office/officeart/2005/8/quickstyle/simple1" qsCatId="simple" csTypeId="urn:microsoft.com/office/officeart/2005/8/colors/accent0_3" csCatId="mainScheme" phldr="1"/>
      <dgm:spPr/>
    </dgm:pt>
    <dgm:pt modelId="{E5C3B41E-0A9E-45E1-A1C3-01C4A9635206}">
      <dgm:prSet phldrT="[Text]" custT="1"/>
      <dgm:spPr>
        <a:solidFill>
          <a:srgbClr val="C00000"/>
        </a:solidFill>
      </dgm:spPr>
      <dgm:t>
        <a:bodyPr/>
        <a:lstStyle/>
        <a:p>
          <a:r>
            <a:rPr lang="zh-CN" altLang="en-US" sz="1500" dirty="0">
              <a:solidFill>
                <a:schemeClr val="bg1"/>
              </a:solidFill>
            </a:rPr>
            <a:t>专业工具</a:t>
          </a:r>
          <a:endParaRPr lang="en-US" sz="1500" dirty="0">
            <a:solidFill>
              <a:schemeClr val="bg1"/>
            </a:solidFill>
          </a:endParaRPr>
        </a:p>
      </dgm:t>
    </dgm:pt>
    <dgm:pt modelId="{8B614687-FD52-4C32-A90D-8FE6BB74C9B5}" cxnId="{54C71FF8-482A-426E-BDDA-81C5167A808C}" type="parTrans">
      <dgm:prSet/>
      <dgm:spPr/>
      <dgm:t>
        <a:bodyPr/>
        <a:lstStyle/>
        <a:p>
          <a:endParaRPr lang="en-US"/>
        </a:p>
      </dgm:t>
    </dgm:pt>
    <dgm:pt modelId="{6FD2C257-425C-4608-B693-A75AC291123C}" cxnId="{54C71FF8-482A-426E-BDDA-81C5167A808C}" type="sibTrans">
      <dgm:prSet/>
      <dgm:spPr/>
      <dgm:t>
        <a:bodyPr/>
        <a:lstStyle/>
        <a:p>
          <a:endParaRPr lang="en-US"/>
        </a:p>
      </dgm:t>
    </dgm:pt>
    <dgm:pt modelId="{97746A95-06D9-4A92-88CE-692897CFD505}">
      <dgm:prSet phldrT="[Text]" custT="1"/>
      <dgm:spPr>
        <a:solidFill>
          <a:schemeClr val="accent1">
            <a:lumMod val="75000"/>
          </a:schemeClr>
        </a:solidFill>
      </dgm:spPr>
      <dgm:t>
        <a:bodyPr/>
        <a:lstStyle/>
        <a:p>
          <a:r>
            <a:rPr lang="zh-CN" altLang="en-US" sz="1500" dirty="0">
              <a:solidFill>
                <a:schemeClr val="bg1"/>
              </a:solidFill>
            </a:rPr>
            <a:t>题名文摘</a:t>
          </a:r>
          <a:endParaRPr lang="en-US" sz="1500" dirty="0">
            <a:solidFill>
              <a:schemeClr val="bg1"/>
            </a:solidFill>
          </a:endParaRPr>
        </a:p>
      </dgm:t>
    </dgm:pt>
    <dgm:pt modelId="{83FECF6B-9429-47BF-B7DA-1B4342DEFCD0}" cxnId="{B725484F-1EEA-4F3E-B059-7F7AED6102A5}" type="parTrans">
      <dgm:prSet/>
      <dgm:spPr/>
      <dgm:t>
        <a:bodyPr/>
        <a:lstStyle/>
        <a:p>
          <a:endParaRPr lang="en-US"/>
        </a:p>
      </dgm:t>
    </dgm:pt>
    <dgm:pt modelId="{BAF3BB5B-BC3A-4CD1-B899-F975F2E17A10}" cxnId="{B725484F-1EEA-4F3E-B059-7F7AED6102A5}" type="sibTrans">
      <dgm:prSet/>
      <dgm:spPr/>
      <dgm:t>
        <a:bodyPr/>
        <a:lstStyle/>
        <a:p>
          <a:endParaRPr lang="en-US"/>
        </a:p>
      </dgm:t>
    </dgm:pt>
    <dgm:pt modelId="{25ED1E5E-0599-4DC2-A037-7195DF541D56}">
      <dgm:prSet phldrT="[Text]" custT="1"/>
      <dgm:spPr>
        <a:solidFill>
          <a:srgbClr val="92D050"/>
        </a:solidFill>
      </dgm:spPr>
      <dgm:t>
        <a:bodyPr/>
        <a:lstStyle/>
        <a:p>
          <a:r>
            <a:rPr lang="zh-CN" altLang="en-US" sz="1500" dirty="0"/>
            <a:t>文献全文</a:t>
          </a:r>
          <a:endParaRPr lang="en-US" sz="1500" dirty="0"/>
        </a:p>
      </dgm:t>
    </dgm:pt>
    <dgm:pt modelId="{B24E218D-EEA6-4E05-8ECE-EFB5C002C564}" cxnId="{BFCB7A2F-F312-4813-9174-20CECA66B783}" type="parTrans">
      <dgm:prSet/>
      <dgm:spPr/>
      <dgm:t>
        <a:bodyPr/>
        <a:lstStyle/>
        <a:p>
          <a:endParaRPr lang="en-US"/>
        </a:p>
      </dgm:t>
    </dgm:pt>
    <dgm:pt modelId="{E8E8F830-6941-4B53-91A7-1C61C280E40F}" cxnId="{BFCB7A2F-F312-4813-9174-20CECA66B783}" type="sibTrans">
      <dgm:prSet/>
      <dgm:spPr/>
      <dgm:t>
        <a:bodyPr/>
        <a:lstStyle/>
        <a:p>
          <a:endParaRPr lang="en-US"/>
        </a:p>
      </dgm:t>
    </dgm:pt>
    <dgm:pt modelId="{EA7626C4-D8CE-45D2-9254-440261C51926}">
      <dgm:prSet phldrT="[Text]" custT="1"/>
      <dgm:spPr/>
      <dgm:t>
        <a:bodyPr/>
        <a:lstStyle/>
        <a:p>
          <a:r>
            <a:rPr lang="zh-CN" altLang="en-US" sz="1500" dirty="0"/>
            <a:t>导师指定</a:t>
          </a:r>
          <a:endParaRPr lang="en-US" sz="1500" dirty="0"/>
        </a:p>
      </dgm:t>
    </dgm:pt>
    <dgm:pt modelId="{8153E4BA-CD9D-4532-96CD-561829FA3EF6}" cxnId="{73550354-3F25-47F8-8615-DAA0E2ABF797}" type="parTrans">
      <dgm:prSet/>
      <dgm:spPr/>
      <dgm:t>
        <a:bodyPr/>
        <a:lstStyle/>
        <a:p>
          <a:endParaRPr lang="en-US"/>
        </a:p>
      </dgm:t>
    </dgm:pt>
    <dgm:pt modelId="{A705CDA4-1FDE-4A9E-AB30-5EE94CC1E182}" cxnId="{73550354-3F25-47F8-8615-DAA0E2ABF797}" type="sibTrans">
      <dgm:prSet/>
      <dgm:spPr/>
      <dgm:t>
        <a:bodyPr/>
        <a:lstStyle/>
        <a:p>
          <a:endParaRPr lang="en-US"/>
        </a:p>
      </dgm:t>
    </dgm:pt>
    <dgm:pt modelId="{9EF98351-A53C-4305-BE40-FC1D6787EA26}">
      <dgm:prSet phldrT="[Text]" custT="1"/>
      <dgm:spPr>
        <a:solidFill>
          <a:srgbClr val="006666"/>
        </a:solidFill>
      </dgm:spPr>
      <dgm:t>
        <a:bodyPr/>
        <a:lstStyle/>
        <a:p>
          <a:r>
            <a:rPr lang="zh-CN" altLang="en-US" sz="1500" dirty="0">
              <a:solidFill>
                <a:schemeClr val="bg1"/>
              </a:solidFill>
            </a:rPr>
            <a:t>文献被引情况</a:t>
          </a:r>
          <a:endParaRPr lang="en-US" sz="1500" dirty="0">
            <a:solidFill>
              <a:schemeClr val="bg1"/>
            </a:solidFill>
          </a:endParaRPr>
        </a:p>
      </dgm:t>
    </dgm:pt>
    <dgm:pt modelId="{D7B7E5D6-B591-41C3-A81B-DF27A0E23490}" cxnId="{88501560-FEDD-4F81-A58D-8B2C859A7C73}" type="parTrans">
      <dgm:prSet/>
      <dgm:spPr/>
      <dgm:t>
        <a:bodyPr/>
        <a:lstStyle/>
        <a:p>
          <a:endParaRPr lang="en-US"/>
        </a:p>
      </dgm:t>
    </dgm:pt>
    <dgm:pt modelId="{604827C5-EB86-4DB4-BACB-E73C60E9424D}" cxnId="{88501560-FEDD-4F81-A58D-8B2C859A7C73}" type="sibTrans">
      <dgm:prSet/>
      <dgm:spPr/>
      <dgm:t>
        <a:bodyPr/>
        <a:lstStyle/>
        <a:p>
          <a:endParaRPr lang="en-US"/>
        </a:p>
      </dgm:t>
    </dgm:pt>
    <dgm:pt modelId="{580E4F55-5EC3-44FA-9749-94FEE2E7DD1A}" type="pres">
      <dgm:prSet presAssocID="{41DF7C01-85FA-4AFA-9A8F-5353D459B76E}" presName="Name0" presStyleCnt="0">
        <dgm:presLayoutVars>
          <dgm:dir/>
          <dgm:animLvl val="lvl"/>
          <dgm:resizeHandles val="exact"/>
        </dgm:presLayoutVars>
      </dgm:prSet>
      <dgm:spPr/>
    </dgm:pt>
    <dgm:pt modelId="{7B6D3D85-BE98-4B56-B295-701DBDBFA032}" type="pres">
      <dgm:prSet presAssocID="{EA7626C4-D8CE-45D2-9254-440261C51926}" presName="Name8" presStyleCnt="0"/>
      <dgm:spPr/>
    </dgm:pt>
    <dgm:pt modelId="{06B10881-8772-4C4A-9D26-FB45433F3758}" type="pres">
      <dgm:prSet presAssocID="{EA7626C4-D8CE-45D2-9254-440261C51926}" presName="level" presStyleLbl="node1" presStyleIdx="0" presStyleCnt="5">
        <dgm:presLayoutVars>
          <dgm:chMax val="1"/>
          <dgm:bulletEnabled val="1"/>
        </dgm:presLayoutVars>
      </dgm:prSet>
      <dgm:spPr/>
    </dgm:pt>
    <dgm:pt modelId="{B72F51DC-E78C-42C8-8682-EC3FDB981C86}" type="pres">
      <dgm:prSet presAssocID="{EA7626C4-D8CE-45D2-9254-440261C51926}" presName="levelTx" presStyleLbl="revTx" presStyleIdx="0" presStyleCnt="0">
        <dgm:presLayoutVars>
          <dgm:chMax val="1"/>
          <dgm:bulletEnabled val="1"/>
        </dgm:presLayoutVars>
      </dgm:prSet>
      <dgm:spPr/>
    </dgm:pt>
    <dgm:pt modelId="{5572DCEF-AB04-4365-BF7B-4047270AA639}" type="pres">
      <dgm:prSet presAssocID="{E5C3B41E-0A9E-45E1-A1C3-01C4A9635206}" presName="Name8" presStyleCnt="0"/>
      <dgm:spPr/>
    </dgm:pt>
    <dgm:pt modelId="{91912A26-A188-45BD-8589-1315A912D41D}" type="pres">
      <dgm:prSet presAssocID="{E5C3B41E-0A9E-45E1-A1C3-01C4A9635206}" presName="level" presStyleLbl="node1" presStyleIdx="1" presStyleCnt="5">
        <dgm:presLayoutVars>
          <dgm:chMax val="1"/>
          <dgm:bulletEnabled val="1"/>
        </dgm:presLayoutVars>
      </dgm:prSet>
      <dgm:spPr/>
    </dgm:pt>
    <dgm:pt modelId="{05BCD088-526B-467F-A732-061EC8EB9F4E}" type="pres">
      <dgm:prSet presAssocID="{E5C3B41E-0A9E-45E1-A1C3-01C4A9635206}" presName="levelTx" presStyleLbl="revTx" presStyleIdx="0" presStyleCnt="0">
        <dgm:presLayoutVars>
          <dgm:chMax val="1"/>
          <dgm:bulletEnabled val="1"/>
        </dgm:presLayoutVars>
      </dgm:prSet>
      <dgm:spPr/>
    </dgm:pt>
    <dgm:pt modelId="{013F727A-B3A7-4CE8-9365-00666022C195}" type="pres">
      <dgm:prSet presAssocID="{9EF98351-A53C-4305-BE40-FC1D6787EA26}" presName="Name8" presStyleCnt="0"/>
      <dgm:spPr/>
    </dgm:pt>
    <dgm:pt modelId="{3642159B-B1A5-4BAD-89D6-524890742D5B}" type="pres">
      <dgm:prSet presAssocID="{9EF98351-A53C-4305-BE40-FC1D6787EA26}" presName="level" presStyleLbl="node1" presStyleIdx="2" presStyleCnt="5">
        <dgm:presLayoutVars>
          <dgm:chMax val="1"/>
          <dgm:bulletEnabled val="1"/>
        </dgm:presLayoutVars>
      </dgm:prSet>
      <dgm:spPr/>
    </dgm:pt>
    <dgm:pt modelId="{58950A91-2259-448D-B938-544A3CA3DC38}" type="pres">
      <dgm:prSet presAssocID="{9EF98351-A53C-4305-BE40-FC1D6787EA26}" presName="levelTx" presStyleLbl="revTx" presStyleIdx="0" presStyleCnt="0">
        <dgm:presLayoutVars>
          <dgm:chMax val="1"/>
          <dgm:bulletEnabled val="1"/>
        </dgm:presLayoutVars>
      </dgm:prSet>
      <dgm:spPr/>
    </dgm:pt>
    <dgm:pt modelId="{C463040D-044C-4FC3-AAA1-0A7A617B920A}" type="pres">
      <dgm:prSet presAssocID="{97746A95-06D9-4A92-88CE-692897CFD505}" presName="Name8" presStyleCnt="0"/>
      <dgm:spPr/>
    </dgm:pt>
    <dgm:pt modelId="{C6F6526A-DD8D-4921-A674-6F841450E5BA}" type="pres">
      <dgm:prSet presAssocID="{97746A95-06D9-4A92-88CE-692897CFD505}" presName="level" presStyleLbl="node1" presStyleIdx="3" presStyleCnt="5">
        <dgm:presLayoutVars>
          <dgm:chMax val="1"/>
          <dgm:bulletEnabled val="1"/>
        </dgm:presLayoutVars>
      </dgm:prSet>
      <dgm:spPr/>
    </dgm:pt>
    <dgm:pt modelId="{B20196F2-1B63-4971-8252-3275521A0054}" type="pres">
      <dgm:prSet presAssocID="{97746A95-06D9-4A92-88CE-692897CFD505}" presName="levelTx" presStyleLbl="revTx" presStyleIdx="0" presStyleCnt="0">
        <dgm:presLayoutVars>
          <dgm:chMax val="1"/>
          <dgm:bulletEnabled val="1"/>
        </dgm:presLayoutVars>
      </dgm:prSet>
      <dgm:spPr/>
    </dgm:pt>
    <dgm:pt modelId="{8971F2D8-86F6-4B20-8B0A-D8DCC20FF652}" type="pres">
      <dgm:prSet presAssocID="{25ED1E5E-0599-4DC2-A037-7195DF541D56}" presName="Name8" presStyleCnt="0"/>
      <dgm:spPr/>
    </dgm:pt>
    <dgm:pt modelId="{8556EB57-CE2A-4D1C-A7F6-78264D3C1D67}" type="pres">
      <dgm:prSet presAssocID="{25ED1E5E-0599-4DC2-A037-7195DF541D56}" presName="level" presStyleLbl="node1" presStyleIdx="4" presStyleCnt="5">
        <dgm:presLayoutVars>
          <dgm:chMax val="1"/>
          <dgm:bulletEnabled val="1"/>
        </dgm:presLayoutVars>
      </dgm:prSet>
      <dgm:spPr/>
    </dgm:pt>
    <dgm:pt modelId="{BFF2CC4D-3DCE-4E90-8922-2F22C7638011}" type="pres">
      <dgm:prSet presAssocID="{25ED1E5E-0599-4DC2-A037-7195DF541D56}" presName="levelTx" presStyleLbl="revTx" presStyleIdx="0" presStyleCnt="0">
        <dgm:presLayoutVars>
          <dgm:chMax val="1"/>
          <dgm:bulletEnabled val="1"/>
        </dgm:presLayoutVars>
      </dgm:prSet>
      <dgm:spPr/>
    </dgm:pt>
  </dgm:ptLst>
  <dgm:cxnLst>
    <dgm:cxn modelId="{20693619-4B23-4346-A1B0-C4E7D6B44DC1}" type="presOf" srcId="{EA7626C4-D8CE-45D2-9254-440261C51926}" destId="{06B10881-8772-4C4A-9D26-FB45433F3758}" srcOrd="0" destOrd="0" presId="urn:microsoft.com/office/officeart/2005/8/layout/pyramid1"/>
    <dgm:cxn modelId="{A33CA01F-8858-404C-804C-7B7D430AEFE4}" type="presOf" srcId="{9EF98351-A53C-4305-BE40-FC1D6787EA26}" destId="{58950A91-2259-448D-B938-544A3CA3DC38}" srcOrd="1" destOrd="0" presId="urn:microsoft.com/office/officeart/2005/8/layout/pyramid1"/>
    <dgm:cxn modelId="{6D805720-389C-415C-9D9C-A3EE54345167}" type="presOf" srcId="{41DF7C01-85FA-4AFA-9A8F-5353D459B76E}" destId="{580E4F55-5EC3-44FA-9749-94FEE2E7DD1A}" srcOrd="0" destOrd="0" presId="urn:microsoft.com/office/officeart/2005/8/layout/pyramid1"/>
    <dgm:cxn modelId="{083A1726-5087-4A0C-BFF9-376E43EC9B3D}" type="presOf" srcId="{97746A95-06D9-4A92-88CE-692897CFD505}" destId="{B20196F2-1B63-4971-8252-3275521A0054}" srcOrd="1" destOrd="0" presId="urn:microsoft.com/office/officeart/2005/8/layout/pyramid1"/>
    <dgm:cxn modelId="{5810182C-FF17-4C8F-A4A3-9C1D47CC3EA2}" type="presOf" srcId="{E5C3B41E-0A9E-45E1-A1C3-01C4A9635206}" destId="{91912A26-A188-45BD-8589-1315A912D41D}" srcOrd="0" destOrd="0" presId="urn:microsoft.com/office/officeart/2005/8/layout/pyramid1"/>
    <dgm:cxn modelId="{BFCB7A2F-F312-4813-9174-20CECA66B783}" srcId="{41DF7C01-85FA-4AFA-9A8F-5353D459B76E}" destId="{25ED1E5E-0599-4DC2-A037-7195DF541D56}" srcOrd="4" destOrd="0" parTransId="{B24E218D-EEA6-4E05-8ECE-EFB5C002C564}" sibTransId="{E8E8F830-6941-4B53-91A7-1C61C280E40F}"/>
    <dgm:cxn modelId="{34773E35-C426-4A26-A80E-547BCE31AAA3}" type="presOf" srcId="{E5C3B41E-0A9E-45E1-A1C3-01C4A9635206}" destId="{05BCD088-526B-467F-A732-061EC8EB9F4E}" srcOrd="1" destOrd="0" presId="urn:microsoft.com/office/officeart/2005/8/layout/pyramid1"/>
    <dgm:cxn modelId="{88501560-FEDD-4F81-A58D-8B2C859A7C73}" srcId="{41DF7C01-85FA-4AFA-9A8F-5353D459B76E}" destId="{9EF98351-A53C-4305-BE40-FC1D6787EA26}" srcOrd="2" destOrd="0" parTransId="{D7B7E5D6-B591-41C3-A81B-DF27A0E23490}" sibTransId="{604827C5-EB86-4DB4-BACB-E73C60E9424D}"/>
    <dgm:cxn modelId="{2446FA6E-337D-479F-A41A-84196225B169}" type="presOf" srcId="{25ED1E5E-0599-4DC2-A037-7195DF541D56}" destId="{BFF2CC4D-3DCE-4E90-8922-2F22C7638011}" srcOrd="1" destOrd="0" presId="urn:microsoft.com/office/officeart/2005/8/layout/pyramid1"/>
    <dgm:cxn modelId="{B725484F-1EEA-4F3E-B059-7F7AED6102A5}" srcId="{41DF7C01-85FA-4AFA-9A8F-5353D459B76E}" destId="{97746A95-06D9-4A92-88CE-692897CFD505}" srcOrd="3" destOrd="0" parTransId="{83FECF6B-9429-47BF-B7DA-1B4342DEFCD0}" sibTransId="{BAF3BB5B-BC3A-4CD1-B899-F975F2E17A10}"/>
    <dgm:cxn modelId="{73550354-3F25-47F8-8615-DAA0E2ABF797}" srcId="{41DF7C01-85FA-4AFA-9A8F-5353D459B76E}" destId="{EA7626C4-D8CE-45D2-9254-440261C51926}" srcOrd="0" destOrd="0" parTransId="{8153E4BA-CD9D-4532-96CD-561829FA3EF6}" sibTransId="{A705CDA4-1FDE-4A9E-AB30-5EE94CC1E182}"/>
    <dgm:cxn modelId="{638F9E87-1623-4681-8DCA-4E9FB90DCD73}" type="presOf" srcId="{EA7626C4-D8CE-45D2-9254-440261C51926}" destId="{B72F51DC-E78C-42C8-8682-EC3FDB981C86}" srcOrd="1" destOrd="0" presId="urn:microsoft.com/office/officeart/2005/8/layout/pyramid1"/>
    <dgm:cxn modelId="{CCB3BA8F-374D-457E-B7CC-74B5280E955D}" type="presOf" srcId="{25ED1E5E-0599-4DC2-A037-7195DF541D56}" destId="{8556EB57-CE2A-4D1C-A7F6-78264D3C1D67}" srcOrd="0" destOrd="0" presId="urn:microsoft.com/office/officeart/2005/8/layout/pyramid1"/>
    <dgm:cxn modelId="{5A781BB5-4C0E-46A7-8CDF-20FA8BF7FD19}" type="presOf" srcId="{9EF98351-A53C-4305-BE40-FC1D6787EA26}" destId="{3642159B-B1A5-4BAD-89D6-524890742D5B}" srcOrd="0" destOrd="0" presId="urn:microsoft.com/office/officeart/2005/8/layout/pyramid1"/>
    <dgm:cxn modelId="{9A6C13D8-E85F-4C90-A45A-F83373B662C0}" type="presOf" srcId="{97746A95-06D9-4A92-88CE-692897CFD505}" destId="{C6F6526A-DD8D-4921-A674-6F841450E5BA}" srcOrd="0" destOrd="0" presId="urn:microsoft.com/office/officeart/2005/8/layout/pyramid1"/>
    <dgm:cxn modelId="{54C71FF8-482A-426E-BDDA-81C5167A808C}" srcId="{41DF7C01-85FA-4AFA-9A8F-5353D459B76E}" destId="{E5C3B41E-0A9E-45E1-A1C3-01C4A9635206}" srcOrd="1" destOrd="0" parTransId="{8B614687-FD52-4C32-A90D-8FE6BB74C9B5}" sibTransId="{6FD2C257-425C-4608-B693-A75AC291123C}"/>
    <dgm:cxn modelId="{6A3CD822-A557-4765-A2E1-01FECE8BF43D}" type="presParOf" srcId="{580E4F55-5EC3-44FA-9749-94FEE2E7DD1A}" destId="{7B6D3D85-BE98-4B56-B295-701DBDBFA032}" srcOrd="0" destOrd="0" presId="urn:microsoft.com/office/officeart/2005/8/layout/pyramid1"/>
    <dgm:cxn modelId="{688DC918-F7A5-4BD2-8A27-BA8B47770982}" type="presParOf" srcId="{7B6D3D85-BE98-4B56-B295-701DBDBFA032}" destId="{06B10881-8772-4C4A-9D26-FB45433F3758}" srcOrd="0" destOrd="0" presId="urn:microsoft.com/office/officeart/2005/8/layout/pyramid1"/>
    <dgm:cxn modelId="{61405C06-7E7A-4C36-93F0-6DD81015D8D0}" type="presParOf" srcId="{7B6D3D85-BE98-4B56-B295-701DBDBFA032}" destId="{B72F51DC-E78C-42C8-8682-EC3FDB981C86}" srcOrd="1" destOrd="0" presId="urn:microsoft.com/office/officeart/2005/8/layout/pyramid1"/>
    <dgm:cxn modelId="{E150179C-CDA3-4830-A48B-A77BC09A11F4}" type="presParOf" srcId="{580E4F55-5EC3-44FA-9749-94FEE2E7DD1A}" destId="{5572DCEF-AB04-4365-BF7B-4047270AA639}" srcOrd="1" destOrd="0" presId="urn:microsoft.com/office/officeart/2005/8/layout/pyramid1"/>
    <dgm:cxn modelId="{A7B76FBF-6EF2-4E47-B703-43715EAF3641}" type="presParOf" srcId="{5572DCEF-AB04-4365-BF7B-4047270AA639}" destId="{91912A26-A188-45BD-8589-1315A912D41D}" srcOrd="0" destOrd="0" presId="urn:microsoft.com/office/officeart/2005/8/layout/pyramid1"/>
    <dgm:cxn modelId="{D3C0257D-760A-4E5F-81F7-A1ED84E8524F}" type="presParOf" srcId="{5572DCEF-AB04-4365-BF7B-4047270AA639}" destId="{05BCD088-526B-467F-A732-061EC8EB9F4E}" srcOrd="1" destOrd="0" presId="urn:microsoft.com/office/officeart/2005/8/layout/pyramid1"/>
    <dgm:cxn modelId="{645422D9-262F-442F-833C-930AD6286A6C}" type="presParOf" srcId="{580E4F55-5EC3-44FA-9749-94FEE2E7DD1A}" destId="{013F727A-B3A7-4CE8-9365-00666022C195}" srcOrd="2" destOrd="0" presId="urn:microsoft.com/office/officeart/2005/8/layout/pyramid1"/>
    <dgm:cxn modelId="{B9B6B05A-49B3-4A29-9806-002B3039DEC3}" type="presParOf" srcId="{013F727A-B3A7-4CE8-9365-00666022C195}" destId="{3642159B-B1A5-4BAD-89D6-524890742D5B}" srcOrd="0" destOrd="0" presId="urn:microsoft.com/office/officeart/2005/8/layout/pyramid1"/>
    <dgm:cxn modelId="{B80B582B-CE67-4B43-B90A-9839D28CA388}" type="presParOf" srcId="{013F727A-B3A7-4CE8-9365-00666022C195}" destId="{58950A91-2259-448D-B938-544A3CA3DC38}" srcOrd="1" destOrd="0" presId="urn:microsoft.com/office/officeart/2005/8/layout/pyramid1"/>
    <dgm:cxn modelId="{E1A2EC32-2AFD-4DA3-A34D-F4FAE6C0E34D}" type="presParOf" srcId="{580E4F55-5EC3-44FA-9749-94FEE2E7DD1A}" destId="{C463040D-044C-4FC3-AAA1-0A7A617B920A}" srcOrd="3" destOrd="0" presId="urn:microsoft.com/office/officeart/2005/8/layout/pyramid1"/>
    <dgm:cxn modelId="{0DE653C2-7534-4F2C-8248-1307541FC61B}" type="presParOf" srcId="{C463040D-044C-4FC3-AAA1-0A7A617B920A}" destId="{C6F6526A-DD8D-4921-A674-6F841450E5BA}" srcOrd="0" destOrd="0" presId="urn:microsoft.com/office/officeart/2005/8/layout/pyramid1"/>
    <dgm:cxn modelId="{9D9F6B0A-A936-4563-A0D4-DB84E85DA2E6}" type="presParOf" srcId="{C463040D-044C-4FC3-AAA1-0A7A617B920A}" destId="{B20196F2-1B63-4971-8252-3275521A0054}" srcOrd="1" destOrd="0" presId="urn:microsoft.com/office/officeart/2005/8/layout/pyramid1"/>
    <dgm:cxn modelId="{E7C110D5-A35A-40FF-B4B9-E7F842294274}" type="presParOf" srcId="{580E4F55-5EC3-44FA-9749-94FEE2E7DD1A}" destId="{8971F2D8-86F6-4B20-8B0A-D8DCC20FF652}" srcOrd="4" destOrd="0" presId="urn:microsoft.com/office/officeart/2005/8/layout/pyramid1"/>
    <dgm:cxn modelId="{334F0F4D-9EAE-47A5-A050-583B8E0127F2}" type="presParOf" srcId="{8971F2D8-86F6-4B20-8B0A-D8DCC20FF652}" destId="{8556EB57-CE2A-4D1C-A7F6-78264D3C1D67}" srcOrd="0" destOrd="0" presId="urn:microsoft.com/office/officeart/2005/8/layout/pyramid1"/>
    <dgm:cxn modelId="{C9115FB2-4238-4219-BBEA-092AFBD57668}" type="presParOf" srcId="{8971F2D8-86F6-4B20-8B0A-D8DCC20FF652}" destId="{BFF2CC4D-3DCE-4E90-8922-2F22C7638011}" srcOrd="1" destOrd="0" presId="urn:microsoft.com/office/officeart/2005/8/layout/pyramid1"/>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98FDFEE-FD86-4F9F-AE2F-3880390C213C}" type="doc">
      <dgm:prSet loTypeId="urn:microsoft.com/office/officeart/2005/8/layout/pyramid1" loCatId="pyramid" qsTypeId="urn:microsoft.com/office/officeart/2005/8/quickstyle/simple1" qsCatId="simple" csTypeId="urn:microsoft.com/office/officeart/2005/8/colors/accent1_2" csCatId="accent1" phldr="1"/>
      <dgm:spPr/>
    </dgm:pt>
    <dgm:pt modelId="{32E956A5-8CC8-4755-984C-792BD9FEB5DE}">
      <dgm:prSet phldrT="[Text]" custT="1"/>
      <dgm:spPr>
        <a:solidFill>
          <a:schemeClr val="accent6"/>
        </a:solidFill>
        <a:ln>
          <a:noFill/>
        </a:ln>
        <a:effectLst/>
        <a:scene3d>
          <a:camera prst="orthographicFront">
            <a:rot lat="0" lon="0" rev="0"/>
          </a:camera>
          <a:lightRig rig="contrasting" dir="t">
            <a:rot lat="0" lon="0" rev="7800000"/>
          </a:lightRig>
        </a:scene3d>
        <a:sp3d>
          <a:bevelT w="139700" h="139700"/>
        </a:sp3d>
      </dgm:spPr>
      <dgm:t>
        <a:bodyPr/>
        <a:lstStyle/>
        <a:p>
          <a:r>
            <a:rPr lang="en-US" sz="1000" b="1" dirty="0"/>
            <a:t>Keywords</a:t>
          </a:r>
        </a:p>
        <a:p>
          <a:r>
            <a:rPr lang="en-US" sz="1000" b="1" dirty="0"/>
            <a:t>1025</a:t>
          </a:r>
          <a:endParaRPr lang="en-US" sz="2000" b="1" dirty="0"/>
        </a:p>
      </dgm:t>
    </dgm:pt>
    <dgm:pt modelId="{35CFA3A7-E37D-42CF-93BB-822B13992E7D}" cxnId="{CB3857BD-0193-4DA3-97CF-31ECD3431A72}" type="parTrans">
      <dgm:prSet/>
      <dgm:spPr/>
      <dgm:t>
        <a:bodyPr/>
        <a:lstStyle/>
        <a:p>
          <a:endParaRPr lang="en-US" sz="1400" b="1"/>
        </a:p>
      </dgm:t>
    </dgm:pt>
    <dgm:pt modelId="{EDA8D6BE-BFB7-4FCC-A459-E94F570A77E9}" cxnId="{CB3857BD-0193-4DA3-97CF-31ECD3431A72}" type="sibTrans">
      <dgm:prSet/>
      <dgm:spPr/>
      <dgm:t>
        <a:bodyPr/>
        <a:lstStyle/>
        <a:p>
          <a:endParaRPr lang="en-US" sz="1400" b="1"/>
        </a:p>
      </dgm:t>
    </dgm:pt>
    <dgm:pt modelId="{925DC652-6270-4351-8C80-9A042F50D4A6}">
      <dgm:prSet phldrT="[Text]" custT="1"/>
      <dgm:spPr>
        <a:solidFill>
          <a:schemeClr val="accent6">
            <a:lumMod val="60000"/>
            <a:lumOff val="40000"/>
          </a:schemeClr>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n-US" sz="1200" b="1" dirty="0"/>
            <a:t>Titles</a:t>
          </a:r>
        </a:p>
        <a:p>
          <a:r>
            <a:rPr lang="en-US" sz="1200" b="1" dirty="0"/>
            <a:t>1936</a:t>
          </a:r>
        </a:p>
      </dgm:t>
    </dgm:pt>
    <dgm:pt modelId="{2897FA74-4351-44E3-88D7-B13B202DC47C}" cxnId="{1D3971AB-3971-460D-BB6F-F8ADCD22487C}" type="parTrans">
      <dgm:prSet/>
      <dgm:spPr/>
      <dgm:t>
        <a:bodyPr/>
        <a:lstStyle/>
        <a:p>
          <a:endParaRPr lang="en-US" sz="1400" b="1"/>
        </a:p>
      </dgm:t>
    </dgm:pt>
    <dgm:pt modelId="{55EDF972-1022-4300-B934-2B13240AD2AA}" cxnId="{1D3971AB-3971-460D-BB6F-F8ADCD22487C}" type="sibTrans">
      <dgm:prSet/>
      <dgm:spPr/>
      <dgm:t>
        <a:bodyPr/>
        <a:lstStyle/>
        <a:p>
          <a:endParaRPr lang="en-US" sz="1400" b="1"/>
        </a:p>
      </dgm:t>
    </dgm:pt>
    <dgm:pt modelId="{1B49F4B4-AAF7-403B-B1F6-5C02C1BEA202}">
      <dgm:prSet phldrT="[Text]" custT="1"/>
      <dgm:spPr>
        <a:solidFill>
          <a:schemeClr val="accent6">
            <a:lumMod val="40000"/>
            <a:lumOff val="60000"/>
          </a:schemeClr>
        </a:solidFill>
        <a:ln>
          <a:noFill/>
        </a:ln>
        <a:effectLst/>
        <a:scene3d>
          <a:camera prst="orthographicFront">
            <a:rot lat="0" lon="0" rev="0"/>
          </a:camera>
          <a:lightRig rig="contrasting" dir="t">
            <a:rot lat="0" lon="0" rev="7800000"/>
          </a:lightRig>
        </a:scene3d>
        <a:sp3d>
          <a:bevelT w="139700" h="139700"/>
        </a:sp3d>
      </dgm:spPr>
      <dgm:t>
        <a:bodyPr/>
        <a:lstStyle/>
        <a:p>
          <a:r>
            <a:rPr lang="en-US" sz="1200" b="1" dirty="0"/>
            <a:t>Abstracts</a:t>
          </a:r>
        </a:p>
        <a:p>
          <a:r>
            <a:rPr lang="en-US" sz="1200" b="1" dirty="0"/>
            <a:t>2,617</a:t>
          </a:r>
        </a:p>
      </dgm:t>
    </dgm:pt>
    <dgm:pt modelId="{561BE885-669F-4A09-B3DF-087939A83A7F}" cxnId="{08E451C6-ACDC-435B-9BAC-F915DF815851}" type="parTrans">
      <dgm:prSet/>
      <dgm:spPr/>
      <dgm:t>
        <a:bodyPr/>
        <a:lstStyle/>
        <a:p>
          <a:endParaRPr lang="en-US" sz="1400" b="1"/>
        </a:p>
      </dgm:t>
    </dgm:pt>
    <dgm:pt modelId="{48E18D96-4835-4386-BA10-39D2ACB2CB48}" cxnId="{08E451C6-ACDC-435B-9BAC-F915DF815851}" type="sibTrans">
      <dgm:prSet/>
      <dgm:spPr/>
      <dgm:t>
        <a:bodyPr/>
        <a:lstStyle/>
        <a:p>
          <a:endParaRPr lang="en-US" sz="1400" b="1"/>
        </a:p>
      </dgm:t>
    </dgm:pt>
    <dgm:pt modelId="{C3A0314F-FA4F-40A7-9C32-2B900A59AAA8}">
      <dgm:prSet custT="1"/>
      <dgm:spPr>
        <a:solidFill>
          <a:schemeClr val="accent6">
            <a:lumMod val="20000"/>
            <a:lumOff val="80000"/>
          </a:schemeClr>
        </a:solidFill>
        <a:ln>
          <a:noFill/>
        </a:ln>
        <a:effectLst/>
        <a:scene3d>
          <a:camera prst="orthographicFront">
            <a:rot lat="0" lon="0" rev="0"/>
          </a:camera>
          <a:lightRig rig="contrasting" dir="t">
            <a:rot lat="0" lon="0" rev="7800000"/>
          </a:lightRig>
        </a:scene3d>
        <a:sp3d>
          <a:bevelT w="139700" h="139700"/>
        </a:sp3d>
      </dgm:spPr>
      <dgm:t>
        <a:bodyPr/>
        <a:lstStyle/>
        <a:p>
          <a:r>
            <a:rPr lang="en-US" sz="1200" b="1" dirty="0"/>
            <a:t>All fields</a:t>
          </a:r>
        </a:p>
        <a:p>
          <a:r>
            <a:rPr lang="en-US" sz="1200" b="1" dirty="0"/>
            <a:t>14,513</a:t>
          </a:r>
        </a:p>
      </dgm:t>
    </dgm:pt>
    <dgm:pt modelId="{C05B01B2-D67C-4750-B526-A3EE1408819E}" cxnId="{EB2DA3CB-DEE9-45BC-83D4-65574AA0A433}" type="parTrans">
      <dgm:prSet/>
      <dgm:spPr/>
      <dgm:t>
        <a:bodyPr/>
        <a:lstStyle/>
        <a:p>
          <a:endParaRPr lang="en-US" sz="1400" b="1"/>
        </a:p>
      </dgm:t>
    </dgm:pt>
    <dgm:pt modelId="{BDB9CFC0-2D1D-429C-9405-1E98DCEE80AC}" cxnId="{EB2DA3CB-DEE9-45BC-83D4-65574AA0A433}" type="sibTrans">
      <dgm:prSet/>
      <dgm:spPr/>
      <dgm:t>
        <a:bodyPr/>
        <a:lstStyle/>
        <a:p>
          <a:endParaRPr lang="en-US" sz="1400" b="1"/>
        </a:p>
      </dgm:t>
    </dgm:pt>
    <dgm:pt modelId="{7FEA97F8-37B6-4F64-B1F9-20A29A5E53EB}" type="pres">
      <dgm:prSet presAssocID="{098FDFEE-FD86-4F9F-AE2F-3880390C213C}" presName="Name0" presStyleCnt="0">
        <dgm:presLayoutVars>
          <dgm:dir/>
          <dgm:animLvl val="lvl"/>
          <dgm:resizeHandles val="exact"/>
        </dgm:presLayoutVars>
      </dgm:prSet>
      <dgm:spPr/>
    </dgm:pt>
    <dgm:pt modelId="{72D70048-2C90-4595-AB06-9FC210F3C04D}" type="pres">
      <dgm:prSet presAssocID="{32E956A5-8CC8-4755-984C-792BD9FEB5DE}" presName="Name8" presStyleCnt="0"/>
      <dgm:spPr/>
    </dgm:pt>
    <dgm:pt modelId="{1F2B7194-C303-41A8-97A1-E88E78258EBC}" type="pres">
      <dgm:prSet presAssocID="{32E956A5-8CC8-4755-984C-792BD9FEB5DE}" presName="level" presStyleLbl="node1" presStyleIdx="0" presStyleCnt="4">
        <dgm:presLayoutVars>
          <dgm:chMax val="1"/>
          <dgm:bulletEnabled val="1"/>
        </dgm:presLayoutVars>
      </dgm:prSet>
      <dgm:spPr/>
    </dgm:pt>
    <dgm:pt modelId="{F84CD348-C968-4DE7-8D22-B2C6B0D12C32}" type="pres">
      <dgm:prSet presAssocID="{32E956A5-8CC8-4755-984C-792BD9FEB5DE}" presName="levelTx" presStyleLbl="revTx" presStyleIdx="0" presStyleCnt="0">
        <dgm:presLayoutVars>
          <dgm:chMax val="1"/>
          <dgm:bulletEnabled val="1"/>
        </dgm:presLayoutVars>
      </dgm:prSet>
      <dgm:spPr/>
    </dgm:pt>
    <dgm:pt modelId="{52A112F1-C849-47F2-B0DB-44EAAD60E71D}" type="pres">
      <dgm:prSet presAssocID="{925DC652-6270-4351-8C80-9A042F50D4A6}" presName="Name8" presStyleCnt="0"/>
      <dgm:spPr/>
    </dgm:pt>
    <dgm:pt modelId="{451262B7-3CBA-478F-8960-ADFBD33429E0}" type="pres">
      <dgm:prSet presAssocID="{925DC652-6270-4351-8C80-9A042F50D4A6}" presName="level" presStyleLbl="node1" presStyleIdx="1" presStyleCnt="4">
        <dgm:presLayoutVars>
          <dgm:chMax val="1"/>
          <dgm:bulletEnabled val="1"/>
        </dgm:presLayoutVars>
      </dgm:prSet>
      <dgm:spPr/>
    </dgm:pt>
    <dgm:pt modelId="{08DC871B-4888-46F5-A9D2-09483180904D}" type="pres">
      <dgm:prSet presAssocID="{925DC652-6270-4351-8C80-9A042F50D4A6}" presName="levelTx" presStyleLbl="revTx" presStyleIdx="0" presStyleCnt="0">
        <dgm:presLayoutVars>
          <dgm:chMax val="1"/>
          <dgm:bulletEnabled val="1"/>
        </dgm:presLayoutVars>
      </dgm:prSet>
      <dgm:spPr/>
    </dgm:pt>
    <dgm:pt modelId="{8E407F3A-0475-4A13-BBF5-E5C0D30DF44B}" type="pres">
      <dgm:prSet presAssocID="{1B49F4B4-AAF7-403B-B1F6-5C02C1BEA202}" presName="Name8" presStyleCnt="0"/>
      <dgm:spPr/>
    </dgm:pt>
    <dgm:pt modelId="{318EE17B-28E4-44F3-A67D-8A60BC37D114}" type="pres">
      <dgm:prSet presAssocID="{1B49F4B4-AAF7-403B-B1F6-5C02C1BEA202}" presName="level" presStyleLbl="node1" presStyleIdx="2" presStyleCnt="4">
        <dgm:presLayoutVars>
          <dgm:chMax val="1"/>
          <dgm:bulletEnabled val="1"/>
        </dgm:presLayoutVars>
      </dgm:prSet>
      <dgm:spPr/>
    </dgm:pt>
    <dgm:pt modelId="{A487D537-8876-4F08-B929-25499000407C}" type="pres">
      <dgm:prSet presAssocID="{1B49F4B4-AAF7-403B-B1F6-5C02C1BEA202}" presName="levelTx" presStyleLbl="revTx" presStyleIdx="0" presStyleCnt="0">
        <dgm:presLayoutVars>
          <dgm:chMax val="1"/>
          <dgm:bulletEnabled val="1"/>
        </dgm:presLayoutVars>
      </dgm:prSet>
      <dgm:spPr/>
    </dgm:pt>
    <dgm:pt modelId="{9867234A-2F43-419C-9F6C-A83C61014329}" type="pres">
      <dgm:prSet presAssocID="{C3A0314F-FA4F-40A7-9C32-2B900A59AAA8}" presName="Name8" presStyleCnt="0"/>
      <dgm:spPr/>
    </dgm:pt>
    <dgm:pt modelId="{81A177E3-673A-4445-BCB2-92D165D0A2AA}" type="pres">
      <dgm:prSet presAssocID="{C3A0314F-FA4F-40A7-9C32-2B900A59AAA8}" presName="level" presStyleLbl="node1" presStyleIdx="3" presStyleCnt="4">
        <dgm:presLayoutVars>
          <dgm:chMax val="1"/>
          <dgm:bulletEnabled val="1"/>
        </dgm:presLayoutVars>
      </dgm:prSet>
      <dgm:spPr/>
    </dgm:pt>
    <dgm:pt modelId="{1BB46AB2-C77A-4ACF-A05D-6BE31089A8A1}" type="pres">
      <dgm:prSet presAssocID="{C3A0314F-FA4F-40A7-9C32-2B900A59AAA8}" presName="levelTx" presStyleLbl="revTx" presStyleIdx="0" presStyleCnt="0">
        <dgm:presLayoutVars>
          <dgm:chMax val="1"/>
          <dgm:bulletEnabled val="1"/>
        </dgm:presLayoutVars>
      </dgm:prSet>
      <dgm:spPr/>
    </dgm:pt>
  </dgm:ptLst>
  <dgm:cxnLst>
    <dgm:cxn modelId="{2D699019-9981-4D4A-8128-9064E03F8541}" type="presOf" srcId="{925DC652-6270-4351-8C80-9A042F50D4A6}" destId="{08DC871B-4888-46F5-A9D2-09483180904D}" srcOrd="1" destOrd="0" presId="urn:microsoft.com/office/officeart/2005/8/layout/pyramid1"/>
    <dgm:cxn modelId="{C54C891B-CBAD-4132-AC88-5951DA6FFA2C}" type="presOf" srcId="{32E956A5-8CC8-4755-984C-792BD9FEB5DE}" destId="{F84CD348-C968-4DE7-8D22-B2C6B0D12C32}" srcOrd="1" destOrd="0" presId="urn:microsoft.com/office/officeart/2005/8/layout/pyramid1"/>
    <dgm:cxn modelId="{A3BFBC46-8F3D-4ABD-BDDD-8BDBBD1DCC98}" type="presOf" srcId="{C3A0314F-FA4F-40A7-9C32-2B900A59AAA8}" destId="{1BB46AB2-C77A-4ACF-A05D-6BE31089A8A1}" srcOrd="1" destOrd="0" presId="urn:microsoft.com/office/officeart/2005/8/layout/pyramid1"/>
    <dgm:cxn modelId="{1B5D437E-D815-46E8-89D4-2397EE27FA20}" type="presOf" srcId="{925DC652-6270-4351-8C80-9A042F50D4A6}" destId="{451262B7-3CBA-478F-8960-ADFBD33429E0}" srcOrd="0" destOrd="0" presId="urn:microsoft.com/office/officeart/2005/8/layout/pyramid1"/>
    <dgm:cxn modelId="{CBB1C79C-FAD1-4012-BD22-11431DDD6215}" type="presOf" srcId="{1B49F4B4-AAF7-403B-B1F6-5C02C1BEA202}" destId="{318EE17B-28E4-44F3-A67D-8A60BC37D114}" srcOrd="0" destOrd="0" presId="urn:microsoft.com/office/officeart/2005/8/layout/pyramid1"/>
    <dgm:cxn modelId="{CA5ACB9C-EBA9-4A23-936C-87616BB602CB}" type="presOf" srcId="{C3A0314F-FA4F-40A7-9C32-2B900A59AAA8}" destId="{81A177E3-673A-4445-BCB2-92D165D0A2AA}" srcOrd="0" destOrd="0" presId="urn:microsoft.com/office/officeart/2005/8/layout/pyramid1"/>
    <dgm:cxn modelId="{1D3971AB-3971-460D-BB6F-F8ADCD22487C}" srcId="{098FDFEE-FD86-4F9F-AE2F-3880390C213C}" destId="{925DC652-6270-4351-8C80-9A042F50D4A6}" srcOrd="1" destOrd="0" parTransId="{2897FA74-4351-44E3-88D7-B13B202DC47C}" sibTransId="{55EDF972-1022-4300-B934-2B13240AD2AA}"/>
    <dgm:cxn modelId="{230509AD-901D-4D97-A4AA-52DA83F54206}" type="presOf" srcId="{098FDFEE-FD86-4F9F-AE2F-3880390C213C}" destId="{7FEA97F8-37B6-4F64-B1F9-20A29A5E53EB}" srcOrd="0" destOrd="0" presId="urn:microsoft.com/office/officeart/2005/8/layout/pyramid1"/>
    <dgm:cxn modelId="{5B40B5BC-B706-4DAD-8C29-4FEFBEB6DE9D}" type="presOf" srcId="{32E956A5-8CC8-4755-984C-792BD9FEB5DE}" destId="{1F2B7194-C303-41A8-97A1-E88E78258EBC}" srcOrd="0" destOrd="0" presId="urn:microsoft.com/office/officeart/2005/8/layout/pyramid1"/>
    <dgm:cxn modelId="{CB3857BD-0193-4DA3-97CF-31ECD3431A72}" srcId="{098FDFEE-FD86-4F9F-AE2F-3880390C213C}" destId="{32E956A5-8CC8-4755-984C-792BD9FEB5DE}" srcOrd="0" destOrd="0" parTransId="{35CFA3A7-E37D-42CF-93BB-822B13992E7D}" sibTransId="{EDA8D6BE-BFB7-4FCC-A459-E94F570A77E9}"/>
    <dgm:cxn modelId="{08E451C6-ACDC-435B-9BAC-F915DF815851}" srcId="{098FDFEE-FD86-4F9F-AE2F-3880390C213C}" destId="{1B49F4B4-AAF7-403B-B1F6-5C02C1BEA202}" srcOrd="2" destOrd="0" parTransId="{561BE885-669F-4A09-B3DF-087939A83A7F}" sibTransId="{48E18D96-4835-4386-BA10-39D2ACB2CB48}"/>
    <dgm:cxn modelId="{EB2DA3CB-DEE9-45BC-83D4-65574AA0A433}" srcId="{098FDFEE-FD86-4F9F-AE2F-3880390C213C}" destId="{C3A0314F-FA4F-40A7-9C32-2B900A59AAA8}" srcOrd="3" destOrd="0" parTransId="{C05B01B2-D67C-4750-B526-A3EE1408819E}" sibTransId="{BDB9CFC0-2D1D-429C-9405-1E98DCEE80AC}"/>
    <dgm:cxn modelId="{C356AED9-4885-4BD9-96AE-7E4598DE0CCE}" type="presOf" srcId="{1B49F4B4-AAF7-403B-B1F6-5C02C1BEA202}" destId="{A487D537-8876-4F08-B929-25499000407C}" srcOrd="1" destOrd="0" presId="urn:microsoft.com/office/officeart/2005/8/layout/pyramid1"/>
    <dgm:cxn modelId="{45905B7C-AA47-4CA1-9DAD-DFA3954C1442}" type="presParOf" srcId="{7FEA97F8-37B6-4F64-B1F9-20A29A5E53EB}" destId="{72D70048-2C90-4595-AB06-9FC210F3C04D}" srcOrd="0" destOrd="0" presId="urn:microsoft.com/office/officeart/2005/8/layout/pyramid1"/>
    <dgm:cxn modelId="{ED5D649B-E9EC-4C61-933C-EB2266B4BC85}" type="presParOf" srcId="{72D70048-2C90-4595-AB06-9FC210F3C04D}" destId="{1F2B7194-C303-41A8-97A1-E88E78258EBC}" srcOrd="0" destOrd="0" presId="urn:microsoft.com/office/officeart/2005/8/layout/pyramid1"/>
    <dgm:cxn modelId="{A93D6236-BD34-47CF-B45B-34377DE541D7}" type="presParOf" srcId="{72D70048-2C90-4595-AB06-9FC210F3C04D}" destId="{F84CD348-C968-4DE7-8D22-B2C6B0D12C32}" srcOrd="1" destOrd="0" presId="urn:microsoft.com/office/officeart/2005/8/layout/pyramid1"/>
    <dgm:cxn modelId="{0BE20A6F-3EF3-493C-826E-3702D4A17608}" type="presParOf" srcId="{7FEA97F8-37B6-4F64-B1F9-20A29A5E53EB}" destId="{52A112F1-C849-47F2-B0DB-44EAAD60E71D}" srcOrd="1" destOrd="0" presId="urn:microsoft.com/office/officeart/2005/8/layout/pyramid1"/>
    <dgm:cxn modelId="{C6F22666-8483-47AF-AFFB-3E4A7EAD9A55}" type="presParOf" srcId="{52A112F1-C849-47F2-B0DB-44EAAD60E71D}" destId="{451262B7-3CBA-478F-8960-ADFBD33429E0}" srcOrd="0" destOrd="0" presId="urn:microsoft.com/office/officeart/2005/8/layout/pyramid1"/>
    <dgm:cxn modelId="{0CB7C6E5-6C1D-48B4-9D9C-7E41BF1AE369}" type="presParOf" srcId="{52A112F1-C849-47F2-B0DB-44EAAD60E71D}" destId="{08DC871B-4888-46F5-A9D2-09483180904D}" srcOrd="1" destOrd="0" presId="urn:microsoft.com/office/officeart/2005/8/layout/pyramid1"/>
    <dgm:cxn modelId="{5882AC75-ECAB-4DBD-84A1-4B9040F4A011}" type="presParOf" srcId="{7FEA97F8-37B6-4F64-B1F9-20A29A5E53EB}" destId="{8E407F3A-0475-4A13-BBF5-E5C0D30DF44B}" srcOrd="2" destOrd="0" presId="urn:microsoft.com/office/officeart/2005/8/layout/pyramid1"/>
    <dgm:cxn modelId="{3A4FCEC2-5836-49A2-9CE7-DC7D5F534818}" type="presParOf" srcId="{8E407F3A-0475-4A13-BBF5-E5C0D30DF44B}" destId="{318EE17B-28E4-44F3-A67D-8A60BC37D114}" srcOrd="0" destOrd="0" presId="urn:microsoft.com/office/officeart/2005/8/layout/pyramid1"/>
    <dgm:cxn modelId="{06BD5726-E707-45A3-837A-864D315AB5E2}" type="presParOf" srcId="{8E407F3A-0475-4A13-BBF5-E5C0D30DF44B}" destId="{A487D537-8876-4F08-B929-25499000407C}" srcOrd="1" destOrd="0" presId="urn:microsoft.com/office/officeart/2005/8/layout/pyramid1"/>
    <dgm:cxn modelId="{0D7B3566-AA8F-41A9-942C-D83F8EA91CC1}" type="presParOf" srcId="{7FEA97F8-37B6-4F64-B1F9-20A29A5E53EB}" destId="{9867234A-2F43-419C-9F6C-A83C61014329}" srcOrd="3" destOrd="0" presId="urn:microsoft.com/office/officeart/2005/8/layout/pyramid1"/>
    <dgm:cxn modelId="{7658BD04-6FC3-4493-81E3-9C6562B2DAA2}" type="presParOf" srcId="{9867234A-2F43-419C-9F6C-A83C61014329}" destId="{81A177E3-673A-4445-BCB2-92D165D0A2AA}" srcOrd="0" destOrd="0" presId="urn:microsoft.com/office/officeart/2005/8/layout/pyramid1"/>
    <dgm:cxn modelId="{5CBECFA1-0059-4A35-B2B6-7E79A6E3C421}" type="presParOf" srcId="{9867234A-2F43-419C-9F6C-A83C61014329}" destId="{1BB46AB2-C77A-4ACF-A05D-6BE31089A8A1}" srcOrd="1" destOrd="0" presId="urn:microsoft.com/office/officeart/2005/8/layout/pyramid1"/>
  </dgm:cxnLst>
  <dgm:bg>
    <a:effectLst>
      <a:glow rad="101600">
        <a:schemeClr val="accent1">
          <a:satMod val="175000"/>
          <a:alpha val="40000"/>
        </a:schemeClr>
      </a:glow>
    </a:effectLst>
  </dgm:bg>
  <dgm:whole/>
  <dgm:extLst>
    <a:ext uri="http://schemas.microsoft.com/office/drawing/2008/diagram">
      <dsp:dataModelExt xmlns:dsp="http://schemas.microsoft.com/office/drawing/2008/diagram" relId="rId5"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98FDFEE-FD86-4F9F-AE2F-3880390C213C}" type="doc">
      <dgm:prSet loTypeId="urn:microsoft.com/office/officeart/2005/8/layout/pyramid1" loCatId="pyramid" qsTypeId="urn:microsoft.com/office/officeart/2005/8/quickstyle/simple1" qsCatId="simple" csTypeId="urn:microsoft.com/office/officeart/2005/8/colors/accent1_2" csCatId="accent1" phldr="1"/>
      <dgm:spPr/>
    </dgm:pt>
    <dgm:pt modelId="{32E956A5-8CC8-4755-984C-792BD9FEB5DE}">
      <dgm:prSet phldrT="[Text]" custT="1"/>
      <dgm:spPr>
        <a:solidFill>
          <a:srgbClr val="10A810"/>
        </a:solidFill>
        <a:ln>
          <a:noFill/>
        </a:ln>
        <a:effectLst/>
        <a:scene3d>
          <a:camera prst="orthographicFront">
            <a:rot lat="0" lon="0" rev="0"/>
          </a:camera>
          <a:lightRig rig="contrasting" dir="t">
            <a:rot lat="0" lon="0" rev="7800000"/>
          </a:lightRig>
        </a:scene3d>
        <a:sp3d>
          <a:bevelT w="139700" h="139700"/>
        </a:sp3d>
      </dgm:spPr>
      <dgm:t>
        <a:bodyPr/>
        <a:lstStyle/>
        <a:p>
          <a:r>
            <a:rPr lang="en-US" sz="1000" b="1" dirty="0"/>
            <a:t>Keywords</a:t>
          </a:r>
        </a:p>
        <a:p>
          <a:r>
            <a:rPr lang="en-US" sz="1000" b="1" dirty="0"/>
            <a:t>70</a:t>
          </a:r>
          <a:endParaRPr lang="en-US" sz="2000" b="1" dirty="0"/>
        </a:p>
      </dgm:t>
    </dgm:pt>
    <dgm:pt modelId="{35CFA3A7-E37D-42CF-93BB-822B13992E7D}" cxnId="{CB3857BD-0193-4DA3-97CF-31ECD3431A72}" type="parTrans">
      <dgm:prSet/>
      <dgm:spPr/>
      <dgm:t>
        <a:bodyPr/>
        <a:lstStyle/>
        <a:p>
          <a:endParaRPr lang="en-US" sz="1400" b="1"/>
        </a:p>
      </dgm:t>
    </dgm:pt>
    <dgm:pt modelId="{EDA8D6BE-BFB7-4FCC-A459-E94F570A77E9}" cxnId="{CB3857BD-0193-4DA3-97CF-31ECD3431A72}" type="sibTrans">
      <dgm:prSet/>
      <dgm:spPr/>
      <dgm:t>
        <a:bodyPr/>
        <a:lstStyle/>
        <a:p>
          <a:endParaRPr lang="en-US" sz="1400" b="1"/>
        </a:p>
      </dgm:t>
    </dgm:pt>
    <dgm:pt modelId="{925DC652-6270-4351-8C80-9A042F50D4A6}">
      <dgm:prSet phldrT="[Text]" custT="1"/>
      <dgm:spPr>
        <a:solidFill>
          <a:srgbClr val="7BE3A5"/>
        </a:solidFill>
        <a:ln>
          <a:noFill/>
        </a:ln>
        <a:effectLst>
          <a:outerShdw blurRad="190500" dist="228600" dir="2700000" algn="ctr">
            <a:srgbClr val="000000">
              <a:alpha val="30000"/>
            </a:srgbClr>
          </a:outerShdw>
        </a:effectLst>
        <a:scene3d>
          <a:camera prst="orthographicFront">
            <a:rot lat="0" lon="0" rev="0"/>
          </a:camera>
          <a:lightRig rig="glow" dir="t">
            <a:rot lat="0" lon="0" rev="4800000"/>
          </a:lightRig>
        </a:scene3d>
        <a:sp3d prstMaterial="matte">
          <a:bevelT w="127000" h="63500"/>
        </a:sp3d>
      </dgm:spPr>
      <dgm:t>
        <a:bodyPr/>
        <a:lstStyle/>
        <a:p>
          <a:r>
            <a:rPr lang="en-US" sz="1200" b="1" dirty="0"/>
            <a:t>Titles</a:t>
          </a:r>
        </a:p>
        <a:p>
          <a:r>
            <a:rPr lang="en-US" sz="1200" b="1" dirty="0"/>
            <a:t>131</a:t>
          </a:r>
        </a:p>
      </dgm:t>
    </dgm:pt>
    <dgm:pt modelId="{2897FA74-4351-44E3-88D7-B13B202DC47C}" cxnId="{1D3971AB-3971-460D-BB6F-F8ADCD22487C}" type="parTrans">
      <dgm:prSet/>
      <dgm:spPr/>
      <dgm:t>
        <a:bodyPr/>
        <a:lstStyle/>
        <a:p>
          <a:endParaRPr lang="en-US" sz="1400" b="1"/>
        </a:p>
      </dgm:t>
    </dgm:pt>
    <dgm:pt modelId="{55EDF972-1022-4300-B934-2B13240AD2AA}" cxnId="{1D3971AB-3971-460D-BB6F-F8ADCD22487C}" type="sibTrans">
      <dgm:prSet/>
      <dgm:spPr/>
      <dgm:t>
        <a:bodyPr/>
        <a:lstStyle/>
        <a:p>
          <a:endParaRPr lang="en-US" sz="1400" b="1"/>
        </a:p>
      </dgm:t>
    </dgm:pt>
    <dgm:pt modelId="{1B49F4B4-AAF7-403B-B1F6-5C02C1BEA202}">
      <dgm:prSet phldrT="[Text]" custT="1"/>
      <dgm:spPr>
        <a:solidFill>
          <a:srgbClr val="D6FEC6"/>
        </a:solidFill>
        <a:ln>
          <a:noFill/>
        </a:ln>
        <a:effectLst/>
        <a:scene3d>
          <a:camera prst="orthographicFront">
            <a:rot lat="0" lon="0" rev="0"/>
          </a:camera>
          <a:lightRig rig="contrasting" dir="t">
            <a:rot lat="0" lon="0" rev="7800000"/>
          </a:lightRig>
        </a:scene3d>
        <a:sp3d>
          <a:bevelT w="139700" h="139700"/>
        </a:sp3d>
      </dgm:spPr>
      <dgm:t>
        <a:bodyPr/>
        <a:lstStyle/>
        <a:p>
          <a:r>
            <a:rPr lang="en-US" sz="1200" b="1" dirty="0"/>
            <a:t>Abstracts</a:t>
          </a:r>
        </a:p>
        <a:p>
          <a:r>
            <a:rPr lang="en-US" sz="1200" b="1" dirty="0"/>
            <a:t>126</a:t>
          </a:r>
        </a:p>
      </dgm:t>
    </dgm:pt>
    <dgm:pt modelId="{561BE885-669F-4A09-B3DF-087939A83A7F}" cxnId="{08E451C6-ACDC-435B-9BAC-F915DF815851}" type="parTrans">
      <dgm:prSet/>
      <dgm:spPr/>
      <dgm:t>
        <a:bodyPr/>
        <a:lstStyle/>
        <a:p>
          <a:endParaRPr lang="en-US" sz="1400" b="1"/>
        </a:p>
      </dgm:t>
    </dgm:pt>
    <dgm:pt modelId="{48E18D96-4835-4386-BA10-39D2ACB2CB48}" cxnId="{08E451C6-ACDC-435B-9BAC-F915DF815851}" type="sibTrans">
      <dgm:prSet/>
      <dgm:spPr/>
      <dgm:t>
        <a:bodyPr/>
        <a:lstStyle/>
        <a:p>
          <a:endParaRPr lang="en-US" sz="1400" b="1"/>
        </a:p>
      </dgm:t>
    </dgm:pt>
    <dgm:pt modelId="{C3A0314F-FA4F-40A7-9C32-2B900A59AAA8}">
      <dgm:prSet custT="1"/>
      <dgm:spPr>
        <a:solidFill>
          <a:srgbClr val="E9FFCB"/>
        </a:solidFill>
        <a:ln>
          <a:noFill/>
        </a:ln>
        <a:effectLst/>
        <a:scene3d>
          <a:camera prst="orthographicFront">
            <a:rot lat="0" lon="0" rev="0"/>
          </a:camera>
          <a:lightRig rig="contrasting" dir="t">
            <a:rot lat="0" lon="0" rev="7800000"/>
          </a:lightRig>
        </a:scene3d>
        <a:sp3d>
          <a:bevelT w="139700" h="139700"/>
        </a:sp3d>
      </dgm:spPr>
      <dgm:t>
        <a:bodyPr/>
        <a:lstStyle/>
        <a:p>
          <a:r>
            <a:rPr lang="en-US" sz="1200" b="1" dirty="0"/>
            <a:t>All fields</a:t>
          </a:r>
        </a:p>
        <a:p>
          <a:r>
            <a:rPr lang="en-US" sz="1200" b="1" dirty="0"/>
            <a:t>538</a:t>
          </a:r>
        </a:p>
      </dgm:t>
    </dgm:pt>
    <dgm:pt modelId="{C05B01B2-D67C-4750-B526-A3EE1408819E}" cxnId="{EB2DA3CB-DEE9-45BC-83D4-65574AA0A433}" type="parTrans">
      <dgm:prSet/>
      <dgm:spPr/>
      <dgm:t>
        <a:bodyPr/>
        <a:lstStyle/>
        <a:p>
          <a:endParaRPr lang="en-US" sz="1400" b="1"/>
        </a:p>
      </dgm:t>
    </dgm:pt>
    <dgm:pt modelId="{BDB9CFC0-2D1D-429C-9405-1E98DCEE80AC}" cxnId="{EB2DA3CB-DEE9-45BC-83D4-65574AA0A433}" type="sibTrans">
      <dgm:prSet/>
      <dgm:spPr/>
      <dgm:t>
        <a:bodyPr/>
        <a:lstStyle/>
        <a:p>
          <a:endParaRPr lang="en-US" sz="1400" b="1"/>
        </a:p>
      </dgm:t>
    </dgm:pt>
    <dgm:pt modelId="{7FEA97F8-37B6-4F64-B1F9-20A29A5E53EB}" type="pres">
      <dgm:prSet presAssocID="{098FDFEE-FD86-4F9F-AE2F-3880390C213C}" presName="Name0" presStyleCnt="0">
        <dgm:presLayoutVars>
          <dgm:dir/>
          <dgm:animLvl val="lvl"/>
          <dgm:resizeHandles val="exact"/>
        </dgm:presLayoutVars>
      </dgm:prSet>
      <dgm:spPr/>
    </dgm:pt>
    <dgm:pt modelId="{72D70048-2C90-4595-AB06-9FC210F3C04D}" type="pres">
      <dgm:prSet presAssocID="{32E956A5-8CC8-4755-984C-792BD9FEB5DE}" presName="Name8" presStyleCnt="0"/>
      <dgm:spPr/>
    </dgm:pt>
    <dgm:pt modelId="{1F2B7194-C303-41A8-97A1-E88E78258EBC}" type="pres">
      <dgm:prSet presAssocID="{32E956A5-8CC8-4755-984C-792BD9FEB5DE}" presName="level" presStyleLbl="node1" presStyleIdx="0" presStyleCnt="4">
        <dgm:presLayoutVars>
          <dgm:chMax val="1"/>
          <dgm:bulletEnabled val="1"/>
        </dgm:presLayoutVars>
      </dgm:prSet>
      <dgm:spPr/>
    </dgm:pt>
    <dgm:pt modelId="{F84CD348-C968-4DE7-8D22-B2C6B0D12C32}" type="pres">
      <dgm:prSet presAssocID="{32E956A5-8CC8-4755-984C-792BD9FEB5DE}" presName="levelTx" presStyleLbl="revTx" presStyleIdx="0" presStyleCnt="0">
        <dgm:presLayoutVars>
          <dgm:chMax val="1"/>
          <dgm:bulletEnabled val="1"/>
        </dgm:presLayoutVars>
      </dgm:prSet>
      <dgm:spPr/>
    </dgm:pt>
    <dgm:pt modelId="{52A112F1-C849-47F2-B0DB-44EAAD60E71D}" type="pres">
      <dgm:prSet presAssocID="{925DC652-6270-4351-8C80-9A042F50D4A6}" presName="Name8" presStyleCnt="0"/>
      <dgm:spPr/>
    </dgm:pt>
    <dgm:pt modelId="{451262B7-3CBA-478F-8960-ADFBD33429E0}" type="pres">
      <dgm:prSet presAssocID="{925DC652-6270-4351-8C80-9A042F50D4A6}" presName="level" presStyleLbl="node1" presStyleIdx="1" presStyleCnt="4">
        <dgm:presLayoutVars>
          <dgm:chMax val="1"/>
          <dgm:bulletEnabled val="1"/>
        </dgm:presLayoutVars>
      </dgm:prSet>
      <dgm:spPr/>
    </dgm:pt>
    <dgm:pt modelId="{08DC871B-4888-46F5-A9D2-09483180904D}" type="pres">
      <dgm:prSet presAssocID="{925DC652-6270-4351-8C80-9A042F50D4A6}" presName="levelTx" presStyleLbl="revTx" presStyleIdx="0" presStyleCnt="0">
        <dgm:presLayoutVars>
          <dgm:chMax val="1"/>
          <dgm:bulletEnabled val="1"/>
        </dgm:presLayoutVars>
      </dgm:prSet>
      <dgm:spPr/>
    </dgm:pt>
    <dgm:pt modelId="{8E407F3A-0475-4A13-BBF5-E5C0D30DF44B}" type="pres">
      <dgm:prSet presAssocID="{1B49F4B4-AAF7-403B-B1F6-5C02C1BEA202}" presName="Name8" presStyleCnt="0"/>
      <dgm:spPr/>
    </dgm:pt>
    <dgm:pt modelId="{318EE17B-28E4-44F3-A67D-8A60BC37D114}" type="pres">
      <dgm:prSet presAssocID="{1B49F4B4-AAF7-403B-B1F6-5C02C1BEA202}" presName="level" presStyleLbl="node1" presStyleIdx="2" presStyleCnt="4">
        <dgm:presLayoutVars>
          <dgm:chMax val="1"/>
          <dgm:bulletEnabled val="1"/>
        </dgm:presLayoutVars>
      </dgm:prSet>
      <dgm:spPr/>
    </dgm:pt>
    <dgm:pt modelId="{A487D537-8876-4F08-B929-25499000407C}" type="pres">
      <dgm:prSet presAssocID="{1B49F4B4-AAF7-403B-B1F6-5C02C1BEA202}" presName="levelTx" presStyleLbl="revTx" presStyleIdx="0" presStyleCnt="0">
        <dgm:presLayoutVars>
          <dgm:chMax val="1"/>
          <dgm:bulletEnabled val="1"/>
        </dgm:presLayoutVars>
      </dgm:prSet>
      <dgm:spPr/>
    </dgm:pt>
    <dgm:pt modelId="{9867234A-2F43-419C-9F6C-A83C61014329}" type="pres">
      <dgm:prSet presAssocID="{C3A0314F-FA4F-40A7-9C32-2B900A59AAA8}" presName="Name8" presStyleCnt="0"/>
      <dgm:spPr/>
    </dgm:pt>
    <dgm:pt modelId="{81A177E3-673A-4445-BCB2-92D165D0A2AA}" type="pres">
      <dgm:prSet presAssocID="{C3A0314F-FA4F-40A7-9C32-2B900A59AAA8}" presName="level" presStyleLbl="node1" presStyleIdx="3" presStyleCnt="4">
        <dgm:presLayoutVars>
          <dgm:chMax val="1"/>
          <dgm:bulletEnabled val="1"/>
        </dgm:presLayoutVars>
      </dgm:prSet>
      <dgm:spPr/>
    </dgm:pt>
    <dgm:pt modelId="{1BB46AB2-C77A-4ACF-A05D-6BE31089A8A1}" type="pres">
      <dgm:prSet presAssocID="{C3A0314F-FA4F-40A7-9C32-2B900A59AAA8}" presName="levelTx" presStyleLbl="revTx" presStyleIdx="0" presStyleCnt="0">
        <dgm:presLayoutVars>
          <dgm:chMax val="1"/>
          <dgm:bulletEnabled val="1"/>
        </dgm:presLayoutVars>
      </dgm:prSet>
      <dgm:spPr/>
    </dgm:pt>
  </dgm:ptLst>
  <dgm:cxnLst>
    <dgm:cxn modelId="{F232A31A-E296-4712-917B-27C1B56ACC40}" type="presOf" srcId="{32E956A5-8CC8-4755-984C-792BD9FEB5DE}" destId="{1F2B7194-C303-41A8-97A1-E88E78258EBC}" srcOrd="0" destOrd="0" presId="urn:microsoft.com/office/officeart/2005/8/layout/pyramid1"/>
    <dgm:cxn modelId="{C031062B-659B-475D-9856-3F5D805A4143}" type="presOf" srcId="{1B49F4B4-AAF7-403B-B1F6-5C02C1BEA202}" destId="{A487D537-8876-4F08-B929-25499000407C}" srcOrd="1" destOrd="0" presId="urn:microsoft.com/office/officeart/2005/8/layout/pyramid1"/>
    <dgm:cxn modelId="{39F71D55-645C-458A-8394-02BA1BC0AB71}" type="presOf" srcId="{C3A0314F-FA4F-40A7-9C32-2B900A59AAA8}" destId="{1BB46AB2-C77A-4ACF-A05D-6BE31089A8A1}" srcOrd="1" destOrd="0" presId="urn:microsoft.com/office/officeart/2005/8/layout/pyramid1"/>
    <dgm:cxn modelId="{63328393-1F61-406B-AF01-96EB435C5096}" type="presOf" srcId="{C3A0314F-FA4F-40A7-9C32-2B900A59AAA8}" destId="{81A177E3-673A-4445-BCB2-92D165D0A2AA}" srcOrd="0" destOrd="0" presId="urn:microsoft.com/office/officeart/2005/8/layout/pyramid1"/>
    <dgm:cxn modelId="{A33D5099-BCF0-43DF-9DD1-770CF01B6678}" type="presOf" srcId="{925DC652-6270-4351-8C80-9A042F50D4A6}" destId="{451262B7-3CBA-478F-8960-ADFBD33429E0}" srcOrd="0" destOrd="0" presId="urn:microsoft.com/office/officeart/2005/8/layout/pyramid1"/>
    <dgm:cxn modelId="{488D759F-0DA7-49F6-BC8E-3D22E7F202B5}" type="presOf" srcId="{925DC652-6270-4351-8C80-9A042F50D4A6}" destId="{08DC871B-4888-46F5-A9D2-09483180904D}" srcOrd="1" destOrd="0" presId="urn:microsoft.com/office/officeart/2005/8/layout/pyramid1"/>
    <dgm:cxn modelId="{1D3971AB-3971-460D-BB6F-F8ADCD22487C}" srcId="{098FDFEE-FD86-4F9F-AE2F-3880390C213C}" destId="{925DC652-6270-4351-8C80-9A042F50D4A6}" srcOrd="1" destOrd="0" parTransId="{2897FA74-4351-44E3-88D7-B13B202DC47C}" sibTransId="{55EDF972-1022-4300-B934-2B13240AD2AA}"/>
    <dgm:cxn modelId="{484AE3B8-5492-46FA-BF33-D0F097E50024}" type="presOf" srcId="{098FDFEE-FD86-4F9F-AE2F-3880390C213C}" destId="{7FEA97F8-37B6-4F64-B1F9-20A29A5E53EB}" srcOrd="0" destOrd="0" presId="urn:microsoft.com/office/officeart/2005/8/layout/pyramid1"/>
    <dgm:cxn modelId="{CB3857BD-0193-4DA3-97CF-31ECD3431A72}" srcId="{098FDFEE-FD86-4F9F-AE2F-3880390C213C}" destId="{32E956A5-8CC8-4755-984C-792BD9FEB5DE}" srcOrd="0" destOrd="0" parTransId="{35CFA3A7-E37D-42CF-93BB-822B13992E7D}" sibTransId="{EDA8D6BE-BFB7-4FCC-A459-E94F570A77E9}"/>
    <dgm:cxn modelId="{08E451C6-ACDC-435B-9BAC-F915DF815851}" srcId="{098FDFEE-FD86-4F9F-AE2F-3880390C213C}" destId="{1B49F4B4-AAF7-403B-B1F6-5C02C1BEA202}" srcOrd="2" destOrd="0" parTransId="{561BE885-669F-4A09-B3DF-087939A83A7F}" sibTransId="{48E18D96-4835-4386-BA10-39D2ACB2CB48}"/>
    <dgm:cxn modelId="{EB2DA3CB-DEE9-45BC-83D4-65574AA0A433}" srcId="{098FDFEE-FD86-4F9F-AE2F-3880390C213C}" destId="{C3A0314F-FA4F-40A7-9C32-2B900A59AAA8}" srcOrd="3" destOrd="0" parTransId="{C05B01B2-D67C-4750-B526-A3EE1408819E}" sibTransId="{BDB9CFC0-2D1D-429C-9405-1E98DCEE80AC}"/>
    <dgm:cxn modelId="{AA0975D6-97B5-4878-80BB-DC19D83AEB51}" type="presOf" srcId="{32E956A5-8CC8-4755-984C-792BD9FEB5DE}" destId="{F84CD348-C968-4DE7-8D22-B2C6B0D12C32}" srcOrd="1" destOrd="0" presId="urn:microsoft.com/office/officeart/2005/8/layout/pyramid1"/>
    <dgm:cxn modelId="{5560A7E0-8EFD-499E-B31A-A3B59EFC3CC8}" type="presOf" srcId="{1B49F4B4-AAF7-403B-B1F6-5C02C1BEA202}" destId="{318EE17B-28E4-44F3-A67D-8A60BC37D114}" srcOrd="0" destOrd="0" presId="urn:microsoft.com/office/officeart/2005/8/layout/pyramid1"/>
    <dgm:cxn modelId="{9B688AB3-592B-4572-86D0-AF44D866E59C}" type="presParOf" srcId="{7FEA97F8-37B6-4F64-B1F9-20A29A5E53EB}" destId="{72D70048-2C90-4595-AB06-9FC210F3C04D}" srcOrd="0" destOrd="0" presId="urn:microsoft.com/office/officeart/2005/8/layout/pyramid1"/>
    <dgm:cxn modelId="{471D4F26-96CB-46F2-B68A-7D2F42930488}" type="presParOf" srcId="{72D70048-2C90-4595-AB06-9FC210F3C04D}" destId="{1F2B7194-C303-41A8-97A1-E88E78258EBC}" srcOrd="0" destOrd="0" presId="urn:microsoft.com/office/officeart/2005/8/layout/pyramid1"/>
    <dgm:cxn modelId="{884C6F53-2944-4D34-9FD5-77B0129BB1DE}" type="presParOf" srcId="{72D70048-2C90-4595-AB06-9FC210F3C04D}" destId="{F84CD348-C968-4DE7-8D22-B2C6B0D12C32}" srcOrd="1" destOrd="0" presId="urn:microsoft.com/office/officeart/2005/8/layout/pyramid1"/>
    <dgm:cxn modelId="{90B7560B-0922-480B-86B3-8CDC7A91A9E7}" type="presParOf" srcId="{7FEA97F8-37B6-4F64-B1F9-20A29A5E53EB}" destId="{52A112F1-C849-47F2-B0DB-44EAAD60E71D}" srcOrd="1" destOrd="0" presId="urn:microsoft.com/office/officeart/2005/8/layout/pyramid1"/>
    <dgm:cxn modelId="{AB9C5E72-0B68-47CB-B633-B513C95F512E}" type="presParOf" srcId="{52A112F1-C849-47F2-B0DB-44EAAD60E71D}" destId="{451262B7-3CBA-478F-8960-ADFBD33429E0}" srcOrd="0" destOrd="0" presId="urn:microsoft.com/office/officeart/2005/8/layout/pyramid1"/>
    <dgm:cxn modelId="{5122C780-B042-4F4E-BE57-88FF6E020308}" type="presParOf" srcId="{52A112F1-C849-47F2-B0DB-44EAAD60E71D}" destId="{08DC871B-4888-46F5-A9D2-09483180904D}" srcOrd="1" destOrd="0" presId="urn:microsoft.com/office/officeart/2005/8/layout/pyramid1"/>
    <dgm:cxn modelId="{A3EDB9D3-503C-4799-940F-F878EAC48444}" type="presParOf" srcId="{7FEA97F8-37B6-4F64-B1F9-20A29A5E53EB}" destId="{8E407F3A-0475-4A13-BBF5-E5C0D30DF44B}" srcOrd="2" destOrd="0" presId="urn:microsoft.com/office/officeart/2005/8/layout/pyramid1"/>
    <dgm:cxn modelId="{96D3F06D-51C5-45C4-BC3A-2122EF68E58F}" type="presParOf" srcId="{8E407F3A-0475-4A13-BBF5-E5C0D30DF44B}" destId="{318EE17B-28E4-44F3-A67D-8A60BC37D114}" srcOrd="0" destOrd="0" presId="urn:microsoft.com/office/officeart/2005/8/layout/pyramid1"/>
    <dgm:cxn modelId="{3E1FD221-5D7E-4E8A-9301-7DC0FB747D5B}" type="presParOf" srcId="{8E407F3A-0475-4A13-BBF5-E5C0D30DF44B}" destId="{A487D537-8876-4F08-B929-25499000407C}" srcOrd="1" destOrd="0" presId="urn:microsoft.com/office/officeart/2005/8/layout/pyramid1"/>
    <dgm:cxn modelId="{B293BD6E-EF11-4A2A-BEE2-437C2783EA68}" type="presParOf" srcId="{7FEA97F8-37B6-4F64-B1F9-20A29A5E53EB}" destId="{9867234A-2F43-419C-9F6C-A83C61014329}" srcOrd="3" destOrd="0" presId="urn:microsoft.com/office/officeart/2005/8/layout/pyramid1"/>
    <dgm:cxn modelId="{0A8A385E-BC38-43CC-B9D5-538D8DA58636}" type="presParOf" srcId="{9867234A-2F43-419C-9F6C-A83C61014329}" destId="{81A177E3-673A-4445-BCB2-92D165D0A2AA}" srcOrd="0" destOrd="0" presId="urn:microsoft.com/office/officeart/2005/8/layout/pyramid1"/>
    <dgm:cxn modelId="{099F96CF-F115-4476-92BB-DD303E38B6FB}" type="presParOf" srcId="{9867234A-2F43-419C-9F6C-A83C61014329}" destId="{1BB46AB2-C77A-4ACF-A05D-6BE31089A8A1}" srcOrd="1" destOrd="0" presId="urn:microsoft.com/office/officeart/2005/8/layout/pyramid1"/>
  </dgm:cxnLst>
  <dgm:bg>
    <a:effectLst>
      <a:glow rad="101600">
        <a:schemeClr val="accent1">
          <a:satMod val="175000"/>
          <a:alpha val="40000"/>
        </a:schemeClr>
      </a:glow>
    </a:effect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2A0F98A-0ADB-4669-A921-9060F8F06A8A}" type="doc">
      <dgm:prSet loTypeId="urn:microsoft.com/office/officeart/2005/8/layout/vProcess5" loCatId="process" qsTypeId="urn:microsoft.com/office/officeart/2005/8/quickstyle/simple1" qsCatId="simple" csTypeId="urn:microsoft.com/office/officeart/2005/8/colors/accent6_5" csCatId="accent6" phldr="1"/>
      <dgm:spPr/>
      <dgm:t>
        <a:bodyPr/>
        <a:lstStyle/>
        <a:p>
          <a:endParaRPr lang="zh-CN" altLang="en-US"/>
        </a:p>
      </dgm:t>
    </dgm:pt>
    <dgm:pt modelId="{2A1D52EC-B3E4-40E3-88EA-979B00D50942}">
      <dgm:prSet phldrT="[文本]"/>
      <dgm:spPr/>
      <dgm:t>
        <a:bodyPr/>
        <a:lstStyle/>
        <a:p>
          <a:r>
            <a:rPr lang="en-US" i="1" dirty="0"/>
            <a:t>Submitted to Journal</a:t>
          </a:r>
          <a:r>
            <a:rPr lang="en-US" b="0" i="0" dirty="0"/>
            <a:t> </a:t>
          </a:r>
          <a:endParaRPr lang="zh-CN" altLang="en-US" dirty="0"/>
        </a:p>
      </dgm:t>
    </dgm:pt>
    <dgm:pt modelId="{2E5FB5B0-91A5-45EA-A153-5BDC22434B6F}" cxnId="{704F962A-E4B4-4B71-B839-623CF04E96E6}" type="parTrans">
      <dgm:prSet/>
      <dgm:spPr/>
      <dgm:t>
        <a:bodyPr/>
        <a:lstStyle/>
        <a:p>
          <a:endParaRPr lang="zh-CN" altLang="en-US"/>
        </a:p>
      </dgm:t>
    </dgm:pt>
    <dgm:pt modelId="{FB4BB82B-5750-411F-9152-285C94525445}" cxnId="{704F962A-E4B4-4B71-B839-623CF04E96E6}" type="sibTrans">
      <dgm:prSet/>
      <dgm:spPr/>
      <dgm:t>
        <a:bodyPr/>
        <a:lstStyle/>
        <a:p>
          <a:endParaRPr lang="zh-CN" altLang="en-US"/>
        </a:p>
      </dgm:t>
    </dgm:pt>
    <dgm:pt modelId="{15D2638E-C59C-4F3E-BC19-D822A3AD62EC}">
      <dgm:prSet phldrT="[文本]"/>
      <dgm:spPr/>
      <dgm:t>
        <a:bodyPr/>
        <a:lstStyle/>
        <a:p>
          <a:r>
            <a:rPr lang="en-US" i="1" dirty="0"/>
            <a:t>Editor Invited</a:t>
          </a:r>
          <a:endParaRPr lang="zh-CN" altLang="en-US" dirty="0"/>
        </a:p>
      </dgm:t>
    </dgm:pt>
    <dgm:pt modelId="{04693DA3-6BC6-49B7-90DA-39469C005922}" cxnId="{96BCA456-4270-4ABC-B3B7-317DB07FFCE1}" type="parTrans">
      <dgm:prSet/>
      <dgm:spPr/>
      <dgm:t>
        <a:bodyPr/>
        <a:lstStyle/>
        <a:p>
          <a:endParaRPr lang="zh-CN" altLang="en-US"/>
        </a:p>
      </dgm:t>
    </dgm:pt>
    <dgm:pt modelId="{B246EE7E-EB9F-4729-A54C-6BE2AD6E7F3E}" cxnId="{96BCA456-4270-4ABC-B3B7-317DB07FFCE1}" type="sibTrans">
      <dgm:prSet/>
      <dgm:spPr/>
      <dgm:t>
        <a:bodyPr/>
        <a:lstStyle/>
        <a:p>
          <a:endParaRPr lang="zh-CN" altLang="en-US"/>
        </a:p>
      </dgm:t>
    </dgm:pt>
    <dgm:pt modelId="{1F0ADB7A-E38B-49FD-8C26-08021DFF342C}">
      <dgm:prSet phldrT="[文本]"/>
      <dgm:spPr/>
      <dgm:t>
        <a:bodyPr/>
        <a:lstStyle/>
        <a:p>
          <a:r>
            <a:rPr lang="en-US" i="1" dirty="0"/>
            <a:t>With Editor</a:t>
          </a:r>
          <a:endParaRPr lang="zh-CN" altLang="en-US" dirty="0"/>
        </a:p>
      </dgm:t>
    </dgm:pt>
    <dgm:pt modelId="{75F4A495-73A2-49E1-B178-D24CDAB7BD57}" cxnId="{46F995FA-0A73-461B-9E52-E2F13375052F}" type="parTrans">
      <dgm:prSet/>
      <dgm:spPr/>
      <dgm:t>
        <a:bodyPr/>
        <a:lstStyle/>
        <a:p>
          <a:endParaRPr lang="zh-CN" altLang="en-US"/>
        </a:p>
      </dgm:t>
    </dgm:pt>
    <dgm:pt modelId="{76473509-421E-4BFE-B049-76367D8F6943}" cxnId="{46F995FA-0A73-461B-9E52-E2F13375052F}" type="sibTrans">
      <dgm:prSet/>
      <dgm:spPr/>
      <dgm:t>
        <a:bodyPr/>
        <a:lstStyle/>
        <a:p>
          <a:endParaRPr lang="zh-CN" altLang="en-US"/>
        </a:p>
      </dgm:t>
    </dgm:pt>
    <dgm:pt modelId="{80BEB4C0-C01E-455B-9B12-3F9625A59FBF}">
      <dgm:prSet/>
      <dgm:spPr/>
      <dgm:t>
        <a:bodyPr/>
        <a:lstStyle/>
        <a:p>
          <a:r>
            <a:rPr lang="en-US" i="1" dirty="0"/>
            <a:t>Under Review </a:t>
          </a:r>
          <a:endParaRPr lang="zh-CN" altLang="en-US" i="1" dirty="0"/>
        </a:p>
      </dgm:t>
    </dgm:pt>
    <dgm:pt modelId="{D63A4D75-B356-425F-BEF0-4E030A95F5BC}" cxnId="{4077DE45-6975-4508-8A65-6BC875B753BC}" type="parTrans">
      <dgm:prSet/>
      <dgm:spPr/>
      <dgm:t>
        <a:bodyPr/>
        <a:lstStyle/>
        <a:p>
          <a:endParaRPr lang="zh-CN" altLang="en-US"/>
        </a:p>
      </dgm:t>
    </dgm:pt>
    <dgm:pt modelId="{C9F8A2B5-C2CF-44BA-A16F-EFFBBB0B6339}" cxnId="{4077DE45-6975-4508-8A65-6BC875B753BC}" type="sibTrans">
      <dgm:prSet/>
      <dgm:spPr/>
      <dgm:t>
        <a:bodyPr/>
        <a:lstStyle/>
        <a:p>
          <a:endParaRPr lang="zh-CN" altLang="en-US"/>
        </a:p>
      </dgm:t>
    </dgm:pt>
    <dgm:pt modelId="{062D7B67-E13D-4DD6-86FA-9ABFAB1BAC50}">
      <dgm:prSet phldrT="[文本]"/>
      <dgm:spPr/>
      <dgm:t>
        <a:bodyPr/>
        <a:lstStyle/>
        <a:p>
          <a:r>
            <a:rPr lang="en-US" i="1"/>
            <a:t>Required Reviews Complete</a:t>
          </a:r>
          <a:endParaRPr lang="zh-CN" altLang="en-US" i="1" dirty="0"/>
        </a:p>
      </dgm:t>
    </dgm:pt>
    <dgm:pt modelId="{3169CE3B-AE32-4E3E-BC51-C24BDA7DF578}" cxnId="{E1AA67FA-7632-4EF0-953D-2C7D3967F2F5}" type="parTrans">
      <dgm:prSet/>
      <dgm:spPr/>
      <dgm:t>
        <a:bodyPr/>
        <a:lstStyle/>
        <a:p>
          <a:endParaRPr lang="zh-CN" altLang="en-US"/>
        </a:p>
      </dgm:t>
    </dgm:pt>
    <dgm:pt modelId="{14358EEA-3FDE-4BD6-9AC1-4D84F65C1E83}" cxnId="{E1AA67FA-7632-4EF0-953D-2C7D3967F2F5}" type="sibTrans">
      <dgm:prSet/>
      <dgm:spPr/>
      <dgm:t>
        <a:bodyPr/>
        <a:lstStyle/>
        <a:p>
          <a:endParaRPr lang="zh-CN" altLang="en-US"/>
        </a:p>
      </dgm:t>
    </dgm:pt>
    <dgm:pt modelId="{77EEB76F-77AA-4616-B654-898B71FD2C6B}" type="pres">
      <dgm:prSet presAssocID="{E2A0F98A-0ADB-4669-A921-9060F8F06A8A}" presName="outerComposite" presStyleCnt="0">
        <dgm:presLayoutVars>
          <dgm:chMax val="5"/>
          <dgm:dir/>
          <dgm:resizeHandles val="exact"/>
        </dgm:presLayoutVars>
      </dgm:prSet>
      <dgm:spPr/>
      <dgm:t>
        <a:bodyPr/>
        <a:lstStyle/>
        <a:p>
          <a:endParaRPr lang="en-US"/>
        </a:p>
      </dgm:t>
    </dgm:pt>
    <dgm:pt modelId="{43539C10-0DF1-493D-9FD5-6D5DF399A273}" type="pres">
      <dgm:prSet presAssocID="{E2A0F98A-0ADB-4669-A921-9060F8F06A8A}" presName="dummyMaxCanvas" presStyleCnt="0">
        <dgm:presLayoutVars/>
      </dgm:prSet>
      <dgm:spPr/>
    </dgm:pt>
    <dgm:pt modelId="{E009DC6E-5830-4E78-BA38-77D943F758A1}" type="pres">
      <dgm:prSet presAssocID="{E2A0F98A-0ADB-4669-A921-9060F8F06A8A}" presName="FiveNodes_1" presStyleLbl="node1" presStyleIdx="0" presStyleCnt="5">
        <dgm:presLayoutVars>
          <dgm:bulletEnabled val="1"/>
        </dgm:presLayoutVars>
      </dgm:prSet>
      <dgm:spPr/>
      <dgm:t>
        <a:bodyPr/>
        <a:lstStyle/>
        <a:p>
          <a:endParaRPr lang="en-US"/>
        </a:p>
      </dgm:t>
    </dgm:pt>
    <dgm:pt modelId="{037D2D1A-1EA5-4832-A1EC-B1B255A5CA50}" type="pres">
      <dgm:prSet presAssocID="{E2A0F98A-0ADB-4669-A921-9060F8F06A8A}" presName="FiveNodes_2" presStyleLbl="node1" presStyleIdx="1" presStyleCnt="5">
        <dgm:presLayoutVars>
          <dgm:bulletEnabled val="1"/>
        </dgm:presLayoutVars>
      </dgm:prSet>
      <dgm:spPr/>
      <dgm:t>
        <a:bodyPr/>
        <a:lstStyle/>
        <a:p>
          <a:endParaRPr lang="en-US"/>
        </a:p>
      </dgm:t>
    </dgm:pt>
    <dgm:pt modelId="{BA781BAD-54BD-4622-94C6-7112601BB36F}" type="pres">
      <dgm:prSet presAssocID="{E2A0F98A-0ADB-4669-A921-9060F8F06A8A}" presName="FiveNodes_3" presStyleLbl="node1" presStyleIdx="2" presStyleCnt="5">
        <dgm:presLayoutVars>
          <dgm:bulletEnabled val="1"/>
        </dgm:presLayoutVars>
      </dgm:prSet>
      <dgm:spPr/>
      <dgm:t>
        <a:bodyPr/>
        <a:lstStyle/>
        <a:p>
          <a:endParaRPr lang="en-US"/>
        </a:p>
      </dgm:t>
    </dgm:pt>
    <dgm:pt modelId="{7B0E5CD9-FF45-44FD-AF22-1B35C5DF7986}" type="pres">
      <dgm:prSet presAssocID="{E2A0F98A-0ADB-4669-A921-9060F8F06A8A}" presName="FiveNodes_4" presStyleLbl="node1" presStyleIdx="3" presStyleCnt="5">
        <dgm:presLayoutVars>
          <dgm:bulletEnabled val="1"/>
        </dgm:presLayoutVars>
      </dgm:prSet>
      <dgm:spPr/>
      <dgm:t>
        <a:bodyPr/>
        <a:lstStyle/>
        <a:p>
          <a:endParaRPr lang="en-US"/>
        </a:p>
      </dgm:t>
    </dgm:pt>
    <dgm:pt modelId="{7EB46F54-8D14-4167-90AD-7C199AA2791F}" type="pres">
      <dgm:prSet presAssocID="{E2A0F98A-0ADB-4669-A921-9060F8F06A8A}" presName="FiveNodes_5" presStyleLbl="node1" presStyleIdx="4" presStyleCnt="5">
        <dgm:presLayoutVars>
          <dgm:bulletEnabled val="1"/>
        </dgm:presLayoutVars>
      </dgm:prSet>
      <dgm:spPr/>
      <dgm:t>
        <a:bodyPr/>
        <a:lstStyle/>
        <a:p>
          <a:endParaRPr lang="en-US"/>
        </a:p>
      </dgm:t>
    </dgm:pt>
    <dgm:pt modelId="{310E433F-F169-47D6-ACBF-0DC07195C1C2}" type="pres">
      <dgm:prSet presAssocID="{E2A0F98A-0ADB-4669-A921-9060F8F06A8A}" presName="FiveConn_1-2" presStyleLbl="fgAccFollowNode1" presStyleIdx="0" presStyleCnt="4">
        <dgm:presLayoutVars>
          <dgm:bulletEnabled val="1"/>
        </dgm:presLayoutVars>
      </dgm:prSet>
      <dgm:spPr/>
      <dgm:t>
        <a:bodyPr/>
        <a:lstStyle/>
        <a:p>
          <a:endParaRPr lang="en-US"/>
        </a:p>
      </dgm:t>
    </dgm:pt>
    <dgm:pt modelId="{43FF4A5D-CD63-4970-9953-D0DD76EBDB76}" type="pres">
      <dgm:prSet presAssocID="{E2A0F98A-0ADB-4669-A921-9060F8F06A8A}" presName="FiveConn_2-3" presStyleLbl="fgAccFollowNode1" presStyleIdx="1" presStyleCnt="4">
        <dgm:presLayoutVars>
          <dgm:bulletEnabled val="1"/>
        </dgm:presLayoutVars>
      </dgm:prSet>
      <dgm:spPr/>
      <dgm:t>
        <a:bodyPr/>
        <a:lstStyle/>
        <a:p>
          <a:endParaRPr lang="en-US"/>
        </a:p>
      </dgm:t>
    </dgm:pt>
    <dgm:pt modelId="{73BE32B3-EF42-46E7-A7A5-DB23B0103F87}" type="pres">
      <dgm:prSet presAssocID="{E2A0F98A-0ADB-4669-A921-9060F8F06A8A}" presName="FiveConn_3-4" presStyleLbl="fgAccFollowNode1" presStyleIdx="2" presStyleCnt="4">
        <dgm:presLayoutVars>
          <dgm:bulletEnabled val="1"/>
        </dgm:presLayoutVars>
      </dgm:prSet>
      <dgm:spPr/>
      <dgm:t>
        <a:bodyPr/>
        <a:lstStyle/>
        <a:p>
          <a:endParaRPr lang="en-US"/>
        </a:p>
      </dgm:t>
    </dgm:pt>
    <dgm:pt modelId="{BB284D46-B58F-42E5-BC31-72EB629D215C}" type="pres">
      <dgm:prSet presAssocID="{E2A0F98A-0ADB-4669-A921-9060F8F06A8A}" presName="FiveConn_4-5" presStyleLbl="fgAccFollowNode1" presStyleIdx="3" presStyleCnt="4">
        <dgm:presLayoutVars>
          <dgm:bulletEnabled val="1"/>
        </dgm:presLayoutVars>
      </dgm:prSet>
      <dgm:spPr/>
      <dgm:t>
        <a:bodyPr/>
        <a:lstStyle/>
        <a:p>
          <a:endParaRPr lang="en-US"/>
        </a:p>
      </dgm:t>
    </dgm:pt>
    <dgm:pt modelId="{3266E00A-2621-4B3E-9267-9B85CF63E971}" type="pres">
      <dgm:prSet presAssocID="{E2A0F98A-0ADB-4669-A921-9060F8F06A8A}" presName="FiveNodes_1_text" presStyleLbl="node1" presStyleIdx="4" presStyleCnt="5">
        <dgm:presLayoutVars>
          <dgm:bulletEnabled val="1"/>
        </dgm:presLayoutVars>
      </dgm:prSet>
      <dgm:spPr/>
      <dgm:t>
        <a:bodyPr/>
        <a:lstStyle/>
        <a:p>
          <a:endParaRPr lang="en-US"/>
        </a:p>
      </dgm:t>
    </dgm:pt>
    <dgm:pt modelId="{ED595566-CCD3-4111-99D5-107FAA5CDC64}" type="pres">
      <dgm:prSet presAssocID="{E2A0F98A-0ADB-4669-A921-9060F8F06A8A}" presName="FiveNodes_2_text" presStyleLbl="node1" presStyleIdx="4" presStyleCnt="5">
        <dgm:presLayoutVars>
          <dgm:bulletEnabled val="1"/>
        </dgm:presLayoutVars>
      </dgm:prSet>
      <dgm:spPr/>
      <dgm:t>
        <a:bodyPr/>
        <a:lstStyle/>
        <a:p>
          <a:endParaRPr lang="en-US"/>
        </a:p>
      </dgm:t>
    </dgm:pt>
    <dgm:pt modelId="{4FC37AAF-A7D6-4058-8C14-1F56195C2907}" type="pres">
      <dgm:prSet presAssocID="{E2A0F98A-0ADB-4669-A921-9060F8F06A8A}" presName="FiveNodes_3_text" presStyleLbl="node1" presStyleIdx="4" presStyleCnt="5">
        <dgm:presLayoutVars>
          <dgm:bulletEnabled val="1"/>
        </dgm:presLayoutVars>
      </dgm:prSet>
      <dgm:spPr/>
      <dgm:t>
        <a:bodyPr/>
        <a:lstStyle/>
        <a:p>
          <a:endParaRPr lang="en-US"/>
        </a:p>
      </dgm:t>
    </dgm:pt>
    <dgm:pt modelId="{BC9EEF3D-EEB2-4EBD-BB24-9F9E022E8333}" type="pres">
      <dgm:prSet presAssocID="{E2A0F98A-0ADB-4669-A921-9060F8F06A8A}" presName="FiveNodes_4_text" presStyleLbl="node1" presStyleIdx="4" presStyleCnt="5">
        <dgm:presLayoutVars>
          <dgm:bulletEnabled val="1"/>
        </dgm:presLayoutVars>
      </dgm:prSet>
      <dgm:spPr/>
      <dgm:t>
        <a:bodyPr/>
        <a:lstStyle/>
        <a:p>
          <a:endParaRPr lang="en-US"/>
        </a:p>
      </dgm:t>
    </dgm:pt>
    <dgm:pt modelId="{295FD796-E2E7-49A3-B8AF-24D2D25F14FB}" type="pres">
      <dgm:prSet presAssocID="{E2A0F98A-0ADB-4669-A921-9060F8F06A8A}" presName="FiveNodes_5_text" presStyleLbl="node1" presStyleIdx="4" presStyleCnt="5">
        <dgm:presLayoutVars>
          <dgm:bulletEnabled val="1"/>
        </dgm:presLayoutVars>
      </dgm:prSet>
      <dgm:spPr/>
      <dgm:t>
        <a:bodyPr/>
        <a:lstStyle/>
        <a:p>
          <a:endParaRPr lang="en-US"/>
        </a:p>
      </dgm:t>
    </dgm:pt>
  </dgm:ptLst>
  <dgm:cxnLst>
    <dgm:cxn modelId="{46F995FA-0A73-461B-9E52-E2F13375052F}" srcId="{E2A0F98A-0ADB-4669-A921-9060F8F06A8A}" destId="{1F0ADB7A-E38B-49FD-8C26-08021DFF342C}" srcOrd="2" destOrd="0" parTransId="{75F4A495-73A2-49E1-B178-D24CDAB7BD57}" sibTransId="{76473509-421E-4BFE-B049-76367D8F6943}"/>
    <dgm:cxn modelId="{15EF793C-1C00-413C-872B-C8071B0D8CDE}" type="presOf" srcId="{062D7B67-E13D-4DD6-86FA-9ABFAB1BAC50}" destId="{295FD796-E2E7-49A3-B8AF-24D2D25F14FB}" srcOrd="1" destOrd="0" presId="urn:microsoft.com/office/officeart/2005/8/layout/vProcess5"/>
    <dgm:cxn modelId="{5664EB22-0B39-408D-AB5D-E46463395797}" type="presOf" srcId="{1F0ADB7A-E38B-49FD-8C26-08021DFF342C}" destId="{4FC37AAF-A7D6-4058-8C14-1F56195C2907}" srcOrd="1" destOrd="0" presId="urn:microsoft.com/office/officeart/2005/8/layout/vProcess5"/>
    <dgm:cxn modelId="{2B9A088A-0F4E-43FF-B661-5764149E84DD}" type="presOf" srcId="{15D2638E-C59C-4F3E-BC19-D822A3AD62EC}" destId="{037D2D1A-1EA5-4832-A1EC-B1B255A5CA50}" srcOrd="0" destOrd="0" presId="urn:microsoft.com/office/officeart/2005/8/layout/vProcess5"/>
    <dgm:cxn modelId="{92D1B7E9-34D1-46B4-A4EC-C889CA60DD75}" type="presOf" srcId="{2A1D52EC-B3E4-40E3-88EA-979B00D50942}" destId="{3266E00A-2621-4B3E-9267-9B85CF63E971}" srcOrd="1" destOrd="0" presId="urn:microsoft.com/office/officeart/2005/8/layout/vProcess5"/>
    <dgm:cxn modelId="{952E03D0-CEF8-4CEF-A3B9-0A2C477C49A9}" type="presOf" srcId="{80BEB4C0-C01E-455B-9B12-3F9625A59FBF}" destId="{7B0E5CD9-FF45-44FD-AF22-1B35C5DF7986}" srcOrd="0" destOrd="0" presId="urn:microsoft.com/office/officeart/2005/8/layout/vProcess5"/>
    <dgm:cxn modelId="{C04C0E70-98A4-4521-9A4C-F9C18B8F8A1A}" type="presOf" srcId="{2A1D52EC-B3E4-40E3-88EA-979B00D50942}" destId="{E009DC6E-5830-4E78-BA38-77D943F758A1}" srcOrd="0" destOrd="0" presId="urn:microsoft.com/office/officeart/2005/8/layout/vProcess5"/>
    <dgm:cxn modelId="{9B501FE3-0D75-401F-8380-7082A5319A24}" type="presOf" srcId="{E2A0F98A-0ADB-4669-A921-9060F8F06A8A}" destId="{77EEB76F-77AA-4616-B654-898B71FD2C6B}" srcOrd="0" destOrd="0" presId="urn:microsoft.com/office/officeart/2005/8/layout/vProcess5"/>
    <dgm:cxn modelId="{4077DE45-6975-4508-8A65-6BC875B753BC}" srcId="{E2A0F98A-0ADB-4669-A921-9060F8F06A8A}" destId="{80BEB4C0-C01E-455B-9B12-3F9625A59FBF}" srcOrd="3" destOrd="0" parTransId="{D63A4D75-B356-425F-BEF0-4E030A95F5BC}" sibTransId="{C9F8A2B5-C2CF-44BA-A16F-EFFBBB0B6339}"/>
    <dgm:cxn modelId="{704F962A-E4B4-4B71-B839-623CF04E96E6}" srcId="{E2A0F98A-0ADB-4669-A921-9060F8F06A8A}" destId="{2A1D52EC-B3E4-40E3-88EA-979B00D50942}" srcOrd="0" destOrd="0" parTransId="{2E5FB5B0-91A5-45EA-A153-5BDC22434B6F}" sibTransId="{FB4BB82B-5750-411F-9152-285C94525445}"/>
    <dgm:cxn modelId="{1B692EFF-7976-473F-A75E-1448BBCF1047}" type="presOf" srcId="{FB4BB82B-5750-411F-9152-285C94525445}" destId="{310E433F-F169-47D6-ACBF-0DC07195C1C2}" srcOrd="0" destOrd="0" presId="urn:microsoft.com/office/officeart/2005/8/layout/vProcess5"/>
    <dgm:cxn modelId="{EFC10564-9050-4DCE-81B8-967125FE8454}" type="presOf" srcId="{B246EE7E-EB9F-4729-A54C-6BE2AD6E7F3E}" destId="{43FF4A5D-CD63-4970-9953-D0DD76EBDB76}" srcOrd="0" destOrd="0" presId="urn:microsoft.com/office/officeart/2005/8/layout/vProcess5"/>
    <dgm:cxn modelId="{66942193-66F7-4317-8061-7EC62002B431}" type="presOf" srcId="{1F0ADB7A-E38B-49FD-8C26-08021DFF342C}" destId="{BA781BAD-54BD-4622-94C6-7112601BB36F}" srcOrd="0" destOrd="0" presId="urn:microsoft.com/office/officeart/2005/8/layout/vProcess5"/>
    <dgm:cxn modelId="{8E6925B3-164D-4DD3-9734-76FF4C9C4D57}" type="presOf" srcId="{062D7B67-E13D-4DD6-86FA-9ABFAB1BAC50}" destId="{7EB46F54-8D14-4167-90AD-7C199AA2791F}" srcOrd="0" destOrd="0" presId="urn:microsoft.com/office/officeart/2005/8/layout/vProcess5"/>
    <dgm:cxn modelId="{7C1237A2-7F23-46F6-BD39-572C5CA066C6}" type="presOf" srcId="{80BEB4C0-C01E-455B-9B12-3F9625A59FBF}" destId="{BC9EEF3D-EEB2-4EBD-BB24-9F9E022E8333}" srcOrd="1" destOrd="0" presId="urn:microsoft.com/office/officeart/2005/8/layout/vProcess5"/>
    <dgm:cxn modelId="{79F7D58F-9B88-4BBE-94FD-63CB9F25182B}" type="presOf" srcId="{C9F8A2B5-C2CF-44BA-A16F-EFFBBB0B6339}" destId="{BB284D46-B58F-42E5-BC31-72EB629D215C}" srcOrd="0" destOrd="0" presId="urn:microsoft.com/office/officeart/2005/8/layout/vProcess5"/>
    <dgm:cxn modelId="{96BCA456-4270-4ABC-B3B7-317DB07FFCE1}" srcId="{E2A0F98A-0ADB-4669-A921-9060F8F06A8A}" destId="{15D2638E-C59C-4F3E-BC19-D822A3AD62EC}" srcOrd="1" destOrd="0" parTransId="{04693DA3-6BC6-49B7-90DA-39469C005922}" sibTransId="{B246EE7E-EB9F-4729-A54C-6BE2AD6E7F3E}"/>
    <dgm:cxn modelId="{6594185A-A22B-40A8-A302-898C97D5CD97}" type="presOf" srcId="{15D2638E-C59C-4F3E-BC19-D822A3AD62EC}" destId="{ED595566-CCD3-4111-99D5-107FAA5CDC64}" srcOrd="1" destOrd="0" presId="urn:microsoft.com/office/officeart/2005/8/layout/vProcess5"/>
    <dgm:cxn modelId="{E1AA67FA-7632-4EF0-953D-2C7D3967F2F5}" srcId="{E2A0F98A-0ADB-4669-A921-9060F8F06A8A}" destId="{062D7B67-E13D-4DD6-86FA-9ABFAB1BAC50}" srcOrd="4" destOrd="0" parTransId="{3169CE3B-AE32-4E3E-BC51-C24BDA7DF578}" sibTransId="{14358EEA-3FDE-4BD6-9AC1-4D84F65C1E83}"/>
    <dgm:cxn modelId="{5407EA4F-2FB0-4605-BFC5-762910DCD69A}" type="presOf" srcId="{76473509-421E-4BFE-B049-76367D8F6943}" destId="{73BE32B3-EF42-46E7-A7A5-DB23B0103F87}" srcOrd="0" destOrd="0" presId="urn:microsoft.com/office/officeart/2005/8/layout/vProcess5"/>
    <dgm:cxn modelId="{2AB19873-E4A3-424B-8FE1-1B66A32D22A1}" type="presParOf" srcId="{77EEB76F-77AA-4616-B654-898B71FD2C6B}" destId="{43539C10-0DF1-493D-9FD5-6D5DF399A273}" srcOrd="0" destOrd="0" presId="urn:microsoft.com/office/officeart/2005/8/layout/vProcess5"/>
    <dgm:cxn modelId="{290B1948-5862-4346-A03A-A7B7EBD097BB}" type="presParOf" srcId="{77EEB76F-77AA-4616-B654-898B71FD2C6B}" destId="{E009DC6E-5830-4E78-BA38-77D943F758A1}" srcOrd="1" destOrd="0" presId="urn:microsoft.com/office/officeart/2005/8/layout/vProcess5"/>
    <dgm:cxn modelId="{1CB6BC82-9F04-4F9A-AECF-D33783BDFAEC}" type="presParOf" srcId="{77EEB76F-77AA-4616-B654-898B71FD2C6B}" destId="{037D2D1A-1EA5-4832-A1EC-B1B255A5CA50}" srcOrd="2" destOrd="0" presId="urn:microsoft.com/office/officeart/2005/8/layout/vProcess5"/>
    <dgm:cxn modelId="{0DE80CA8-B79B-40BB-BB67-196E5CD0325F}" type="presParOf" srcId="{77EEB76F-77AA-4616-B654-898B71FD2C6B}" destId="{BA781BAD-54BD-4622-94C6-7112601BB36F}" srcOrd="3" destOrd="0" presId="urn:microsoft.com/office/officeart/2005/8/layout/vProcess5"/>
    <dgm:cxn modelId="{326FC935-9EE7-42EC-8B54-DE628E3E228D}" type="presParOf" srcId="{77EEB76F-77AA-4616-B654-898B71FD2C6B}" destId="{7B0E5CD9-FF45-44FD-AF22-1B35C5DF7986}" srcOrd="4" destOrd="0" presId="urn:microsoft.com/office/officeart/2005/8/layout/vProcess5"/>
    <dgm:cxn modelId="{441DA630-2E74-41CB-9347-1B6BD9BB5C77}" type="presParOf" srcId="{77EEB76F-77AA-4616-B654-898B71FD2C6B}" destId="{7EB46F54-8D14-4167-90AD-7C199AA2791F}" srcOrd="5" destOrd="0" presId="urn:microsoft.com/office/officeart/2005/8/layout/vProcess5"/>
    <dgm:cxn modelId="{ECD24906-0C6C-4FA6-83D6-1E37D946CDA5}" type="presParOf" srcId="{77EEB76F-77AA-4616-B654-898B71FD2C6B}" destId="{310E433F-F169-47D6-ACBF-0DC07195C1C2}" srcOrd="6" destOrd="0" presId="urn:microsoft.com/office/officeart/2005/8/layout/vProcess5"/>
    <dgm:cxn modelId="{3F5FFA3A-3883-48D9-BEDF-566CD84BDAEE}" type="presParOf" srcId="{77EEB76F-77AA-4616-B654-898B71FD2C6B}" destId="{43FF4A5D-CD63-4970-9953-D0DD76EBDB76}" srcOrd="7" destOrd="0" presId="urn:microsoft.com/office/officeart/2005/8/layout/vProcess5"/>
    <dgm:cxn modelId="{DE75D943-63AD-4F1B-A8E5-AF75B404F101}" type="presParOf" srcId="{77EEB76F-77AA-4616-B654-898B71FD2C6B}" destId="{73BE32B3-EF42-46E7-A7A5-DB23B0103F87}" srcOrd="8" destOrd="0" presId="urn:microsoft.com/office/officeart/2005/8/layout/vProcess5"/>
    <dgm:cxn modelId="{87B9E17A-C304-41E5-AA53-12EE0FC447E5}" type="presParOf" srcId="{77EEB76F-77AA-4616-B654-898B71FD2C6B}" destId="{BB284D46-B58F-42E5-BC31-72EB629D215C}" srcOrd="9" destOrd="0" presId="urn:microsoft.com/office/officeart/2005/8/layout/vProcess5"/>
    <dgm:cxn modelId="{F151A1B7-2230-4A33-B0AD-EEB9FD8C313B}" type="presParOf" srcId="{77EEB76F-77AA-4616-B654-898B71FD2C6B}" destId="{3266E00A-2621-4B3E-9267-9B85CF63E971}" srcOrd="10" destOrd="0" presId="urn:microsoft.com/office/officeart/2005/8/layout/vProcess5"/>
    <dgm:cxn modelId="{3D6BBDB7-90D6-4D34-8431-D7016591071C}" type="presParOf" srcId="{77EEB76F-77AA-4616-B654-898B71FD2C6B}" destId="{ED595566-CCD3-4111-99D5-107FAA5CDC64}" srcOrd="11" destOrd="0" presId="urn:microsoft.com/office/officeart/2005/8/layout/vProcess5"/>
    <dgm:cxn modelId="{C40F4528-7441-4BBD-BB6B-2305EB11E113}" type="presParOf" srcId="{77EEB76F-77AA-4616-B654-898B71FD2C6B}" destId="{4FC37AAF-A7D6-4058-8C14-1F56195C2907}" srcOrd="12" destOrd="0" presId="urn:microsoft.com/office/officeart/2005/8/layout/vProcess5"/>
    <dgm:cxn modelId="{3A194D34-E153-4F3B-BC87-5733A9FBBD8B}" type="presParOf" srcId="{77EEB76F-77AA-4616-B654-898B71FD2C6B}" destId="{BC9EEF3D-EEB2-4EBD-BB24-9F9E022E8333}" srcOrd="13" destOrd="0" presId="urn:microsoft.com/office/officeart/2005/8/layout/vProcess5"/>
    <dgm:cxn modelId="{748D3D37-E8BA-4806-89AF-A8D36BFB14F6}" type="presParOf" srcId="{77EEB76F-77AA-4616-B654-898B71FD2C6B}" destId="{295FD796-E2E7-49A3-B8AF-24D2D25F14FB}" srcOrd="14" destOrd="0" presId="urn:microsoft.com/office/officeart/2005/8/layout/vProcess5"/>
  </dgm:cxnLst>
  <dgm:bg/>
  <dgm:whole/>
  <dgm:extLst>
    <a:ext uri="http://schemas.microsoft.com/office/drawing/2008/diagram">
      <dsp:dataModelExt xmlns:dsp="http://schemas.microsoft.com/office/drawing/2008/diagram" relId="rId5"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2A0F98A-0ADB-4669-A921-9060F8F06A8A}" type="doc">
      <dgm:prSet loTypeId="urn:microsoft.com/office/officeart/2005/8/layout/vProcess5" loCatId="process" qsTypeId="urn:microsoft.com/office/officeart/2005/8/quickstyle/simple1" qsCatId="simple" csTypeId="urn:microsoft.com/office/officeart/2005/8/colors/accent6_5" csCatId="accent6" phldr="1"/>
      <dgm:spPr/>
      <dgm:t>
        <a:bodyPr/>
        <a:lstStyle/>
        <a:p>
          <a:endParaRPr lang="zh-CN" altLang="en-US"/>
        </a:p>
      </dgm:t>
    </dgm:pt>
    <dgm:pt modelId="{15AA08FF-A713-4505-A8F7-583BB923040A}">
      <dgm:prSet/>
      <dgm:spPr/>
      <dgm:t>
        <a:bodyPr/>
        <a:lstStyle/>
        <a:p>
          <a:r>
            <a:rPr lang="en-US" i="1" dirty="0"/>
            <a:t>Revision Submitted to Journal</a:t>
          </a:r>
          <a:endParaRPr lang="zh-CN" altLang="en-US" i="1" dirty="0"/>
        </a:p>
      </dgm:t>
    </dgm:pt>
    <dgm:pt modelId="{400FE53C-BBFE-4A92-BFCF-2E68BF9B4EDA}" cxnId="{80B3FF4E-E238-4064-B0E9-802903E0BEF5}" type="parTrans">
      <dgm:prSet/>
      <dgm:spPr/>
      <dgm:t>
        <a:bodyPr/>
        <a:lstStyle/>
        <a:p>
          <a:endParaRPr lang="zh-CN" altLang="en-US"/>
        </a:p>
      </dgm:t>
    </dgm:pt>
    <dgm:pt modelId="{B900AE64-53B9-48CF-A06A-FD4099B1DFE2}" cxnId="{80B3FF4E-E238-4064-B0E9-802903E0BEF5}" type="sibTrans">
      <dgm:prSet/>
      <dgm:spPr/>
      <dgm:t>
        <a:bodyPr/>
        <a:lstStyle/>
        <a:p>
          <a:endParaRPr lang="zh-CN" altLang="en-US"/>
        </a:p>
      </dgm:t>
    </dgm:pt>
    <dgm:pt modelId="{4A34F87F-207A-45F6-BFA7-F3D21CD103AE}">
      <dgm:prSet phldrT="[文本]"/>
      <dgm:spPr/>
      <dgm:t>
        <a:bodyPr/>
        <a:lstStyle/>
        <a:p>
          <a:r>
            <a:rPr lang="en-US" altLang="zh-CN" i="1" dirty="0"/>
            <a:t>Reject</a:t>
          </a:r>
          <a:endParaRPr lang="zh-CN" altLang="en-US" dirty="0"/>
        </a:p>
      </dgm:t>
    </dgm:pt>
    <dgm:pt modelId="{667E1223-4B54-4247-9ED6-8F7414838C2E}" cxnId="{6EC6FE2E-8E34-4EFB-9C57-AF322C6E2018}" type="parTrans">
      <dgm:prSet/>
      <dgm:spPr/>
      <dgm:t>
        <a:bodyPr/>
        <a:lstStyle/>
        <a:p>
          <a:endParaRPr lang="zh-CN" altLang="en-US"/>
        </a:p>
      </dgm:t>
    </dgm:pt>
    <dgm:pt modelId="{95B9CA07-B36B-4B32-AA23-340160CD3D52}" cxnId="{6EC6FE2E-8E34-4EFB-9C57-AF322C6E2018}" type="sibTrans">
      <dgm:prSet/>
      <dgm:spPr/>
      <dgm:t>
        <a:bodyPr/>
        <a:lstStyle/>
        <a:p>
          <a:endParaRPr lang="zh-CN" altLang="en-US"/>
        </a:p>
      </dgm:t>
    </dgm:pt>
    <dgm:pt modelId="{84CDCC32-C332-4D9A-9447-967572233F00}">
      <dgm:prSet/>
      <dgm:spPr/>
      <dgm:t>
        <a:bodyPr/>
        <a:lstStyle/>
        <a:p>
          <a:r>
            <a:rPr lang="en-US" i="1" dirty="0"/>
            <a:t>Accept</a:t>
          </a:r>
          <a:endParaRPr lang="zh-CN" altLang="en-US" dirty="0"/>
        </a:p>
      </dgm:t>
    </dgm:pt>
    <dgm:pt modelId="{1DAF7F63-4F6D-4C0C-9720-B4E3C7C2CFE6}" cxnId="{404C5957-6F27-408B-91E9-2F365CEB9295}" type="parTrans">
      <dgm:prSet/>
      <dgm:spPr/>
      <dgm:t>
        <a:bodyPr/>
        <a:lstStyle/>
        <a:p>
          <a:endParaRPr lang="zh-CN" altLang="en-US"/>
        </a:p>
      </dgm:t>
    </dgm:pt>
    <dgm:pt modelId="{4C1C75E2-2F7D-4216-B4A4-AD738B1C927E}" cxnId="{404C5957-6F27-408B-91E9-2F365CEB9295}" type="sibTrans">
      <dgm:prSet/>
      <dgm:spPr/>
      <dgm:t>
        <a:bodyPr/>
        <a:lstStyle/>
        <a:p>
          <a:endParaRPr lang="zh-CN" altLang="en-US"/>
        </a:p>
      </dgm:t>
    </dgm:pt>
    <dgm:pt modelId="{CA89011A-A6CD-4BB6-9944-A812289247DC}">
      <dgm:prSet/>
      <dgm:spPr/>
      <dgm:t>
        <a:bodyPr/>
        <a:lstStyle/>
        <a:p>
          <a:r>
            <a:rPr lang="en-US" i="1" dirty="0"/>
            <a:t>Decision in Process</a:t>
          </a:r>
          <a:endParaRPr lang="zh-CN" altLang="en-US" dirty="0"/>
        </a:p>
      </dgm:t>
    </dgm:pt>
    <dgm:pt modelId="{B707E127-C88F-487B-A570-4BEE0F96D857}" cxnId="{65F1B25E-817E-4D70-A3D0-6F59C0B22974}" type="parTrans">
      <dgm:prSet/>
      <dgm:spPr/>
      <dgm:t>
        <a:bodyPr/>
        <a:lstStyle/>
        <a:p>
          <a:endParaRPr lang="zh-CN" altLang="en-US"/>
        </a:p>
      </dgm:t>
    </dgm:pt>
    <dgm:pt modelId="{2E600EEE-71BB-4D32-8E24-A6D37AF736F5}" cxnId="{65F1B25E-817E-4D70-A3D0-6F59C0B22974}" type="sibTrans">
      <dgm:prSet/>
      <dgm:spPr/>
      <dgm:t>
        <a:bodyPr/>
        <a:lstStyle/>
        <a:p>
          <a:endParaRPr lang="zh-CN" altLang="en-US"/>
        </a:p>
      </dgm:t>
    </dgm:pt>
    <dgm:pt modelId="{15D2638E-C59C-4F3E-BC19-D822A3AD62EC}">
      <dgm:prSet phldrT="[文本]"/>
      <dgm:spPr/>
      <dgm:t>
        <a:bodyPr/>
        <a:lstStyle/>
        <a:p>
          <a:r>
            <a:rPr lang="en-US" i="1" dirty="0"/>
            <a:t>Minor revision/Major revision</a:t>
          </a:r>
          <a:endParaRPr lang="zh-CN" altLang="en-US" dirty="0"/>
        </a:p>
      </dgm:t>
    </dgm:pt>
    <dgm:pt modelId="{B246EE7E-EB9F-4729-A54C-6BE2AD6E7F3E}" cxnId="{96BCA456-4270-4ABC-B3B7-317DB07FFCE1}" type="sibTrans">
      <dgm:prSet/>
      <dgm:spPr/>
      <dgm:t>
        <a:bodyPr/>
        <a:lstStyle/>
        <a:p>
          <a:endParaRPr lang="zh-CN" altLang="en-US"/>
        </a:p>
      </dgm:t>
    </dgm:pt>
    <dgm:pt modelId="{04693DA3-6BC6-49B7-90DA-39469C005922}" cxnId="{96BCA456-4270-4ABC-B3B7-317DB07FFCE1}" type="parTrans">
      <dgm:prSet/>
      <dgm:spPr/>
      <dgm:t>
        <a:bodyPr/>
        <a:lstStyle/>
        <a:p>
          <a:endParaRPr lang="zh-CN" altLang="en-US"/>
        </a:p>
      </dgm:t>
    </dgm:pt>
    <dgm:pt modelId="{77EEB76F-77AA-4616-B654-898B71FD2C6B}" type="pres">
      <dgm:prSet presAssocID="{E2A0F98A-0ADB-4669-A921-9060F8F06A8A}" presName="outerComposite" presStyleCnt="0">
        <dgm:presLayoutVars>
          <dgm:chMax val="5"/>
          <dgm:dir/>
          <dgm:resizeHandles val="exact"/>
        </dgm:presLayoutVars>
      </dgm:prSet>
      <dgm:spPr/>
      <dgm:t>
        <a:bodyPr/>
        <a:lstStyle/>
        <a:p>
          <a:endParaRPr lang="en-US"/>
        </a:p>
      </dgm:t>
    </dgm:pt>
    <dgm:pt modelId="{43539C10-0DF1-493D-9FD5-6D5DF399A273}" type="pres">
      <dgm:prSet presAssocID="{E2A0F98A-0ADB-4669-A921-9060F8F06A8A}" presName="dummyMaxCanvas" presStyleCnt="0">
        <dgm:presLayoutVars/>
      </dgm:prSet>
      <dgm:spPr/>
    </dgm:pt>
    <dgm:pt modelId="{E009DC6E-5830-4E78-BA38-77D943F758A1}" type="pres">
      <dgm:prSet presAssocID="{E2A0F98A-0ADB-4669-A921-9060F8F06A8A}" presName="FiveNodes_1" presStyleLbl="node1" presStyleIdx="0" presStyleCnt="5">
        <dgm:presLayoutVars>
          <dgm:bulletEnabled val="1"/>
        </dgm:presLayoutVars>
      </dgm:prSet>
      <dgm:spPr/>
      <dgm:t>
        <a:bodyPr/>
        <a:lstStyle/>
        <a:p>
          <a:endParaRPr lang="en-US"/>
        </a:p>
      </dgm:t>
    </dgm:pt>
    <dgm:pt modelId="{037D2D1A-1EA5-4832-A1EC-B1B255A5CA50}" type="pres">
      <dgm:prSet presAssocID="{E2A0F98A-0ADB-4669-A921-9060F8F06A8A}" presName="FiveNodes_2" presStyleLbl="node1" presStyleIdx="1" presStyleCnt="5">
        <dgm:presLayoutVars>
          <dgm:bulletEnabled val="1"/>
        </dgm:presLayoutVars>
      </dgm:prSet>
      <dgm:spPr/>
      <dgm:t>
        <a:bodyPr/>
        <a:lstStyle/>
        <a:p>
          <a:endParaRPr lang="en-US"/>
        </a:p>
      </dgm:t>
    </dgm:pt>
    <dgm:pt modelId="{BA781BAD-54BD-4622-94C6-7112601BB36F}" type="pres">
      <dgm:prSet presAssocID="{E2A0F98A-0ADB-4669-A921-9060F8F06A8A}" presName="FiveNodes_3" presStyleLbl="node1" presStyleIdx="2" presStyleCnt="5">
        <dgm:presLayoutVars>
          <dgm:bulletEnabled val="1"/>
        </dgm:presLayoutVars>
      </dgm:prSet>
      <dgm:spPr/>
      <dgm:t>
        <a:bodyPr/>
        <a:lstStyle/>
        <a:p>
          <a:endParaRPr lang="en-US"/>
        </a:p>
      </dgm:t>
    </dgm:pt>
    <dgm:pt modelId="{7B0E5CD9-FF45-44FD-AF22-1B35C5DF7986}" type="pres">
      <dgm:prSet presAssocID="{E2A0F98A-0ADB-4669-A921-9060F8F06A8A}" presName="FiveNodes_4" presStyleLbl="node1" presStyleIdx="3" presStyleCnt="5">
        <dgm:presLayoutVars>
          <dgm:bulletEnabled val="1"/>
        </dgm:presLayoutVars>
      </dgm:prSet>
      <dgm:spPr/>
      <dgm:t>
        <a:bodyPr/>
        <a:lstStyle/>
        <a:p>
          <a:endParaRPr lang="en-US"/>
        </a:p>
      </dgm:t>
    </dgm:pt>
    <dgm:pt modelId="{7EB46F54-8D14-4167-90AD-7C199AA2791F}" type="pres">
      <dgm:prSet presAssocID="{E2A0F98A-0ADB-4669-A921-9060F8F06A8A}" presName="FiveNodes_5" presStyleLbl="node1" presStyleIdx="4" presStyleCnt="5">
        <dgm:presLayoutVars>
          <dgm:bulletEnabled val="1"/>
        </dgm:presLayoutVars>
      </dgm:prSet>
      <dgm:spPr/>
      <dgm:t>
        <a:bodyPr/>
        <a:lstStyle/>
        <a:p>
          <a:endParaRPr lang="en-US"/>
        </a:p>
      </dgm:t>
    </dgm:pt>
    <dgm:pt modelId="{310E433F-F169-47D6-ACBF-0DC07195C1C2}" type="pres">
      <dgm:prSet presAssocID="{E2A0F98A-0ADB-4669-A921-9060F8F06A8A}" presName="FiveConn_1-2" presStyleLbl="fgAccFollowNode1" presStyleIdx="0" presStyleCnt="4">
        <dgm:presLayoutVars>
          <dgm:bulletEnabled val="1"/>
        </dgm:presLayoutVars>
      </dgm:prSet>
      <dgm:spPr/>
      <dgm:t>
        <a:bodyPr/>
        <a:lstStyle/>
        <a:p>
          <a:endParaRPr lang="en-US"/>
        </a:p>
      </dgm:t>
    </dgm:pt>
    <dgm:pt modelId="{43FF4A5D-CD63-4970-9953-D0DD76EBDB76}" type="pres">
      <dgm:prSet presAssocID="{E2A0F98A-0ADB-4669-A921-9060F8F06A8A}" presName="FiveConn_2-3" presStyleLbl="fgAccFollowNode1" presStyleIdx="1" presStyleCnt="4">
        <dgm:presLayoutVars>
          <dgm:bulletEnabled val="1"/>
        </dgm:presLayoutVars>
      </dgm:prSet>
      <dgm:spPr/>
      <dgm:t>
        <a:bodyPr/>
        <a:lstStyle/>
        <a:p>
          <a:endParaRPr lang="en-US"/>
        </a:p>
      </dgm:t>
    </dgm:pt>
    <dgm:pt modelId="{73BE32B3-EF42-46E7-A7A5-DB23B0103F87}" type="pres">
      <dgm:prSet presAssocID="{E2A0F98A-0ADB-4669-A921-9060F8F06A8A}" presName="FiveConn_3-4" presStyleLbl="fgAccFollowNode1" presStyleIdx="2" presStyleCnt="4">
        <dgm:presLayoutVars>
          <dgm:bulletEnabled val="1"/>
        </dgm:presLayoutVars>
      </dgm:prSet>
      <dgm:spPr/>
      <dgm:t>
        <a:bodyPr/>
        <a:lstStyle/>
        <a:p>
          <a:endParaRPr lang="en-US"/>
        </a:p>
      </dgm:t>
    </dgm:pt>
    <dgm:pt modelId="{BB284D46-B58F-42E5-BC31-72EB629D215C}" type="pres">
      <dgm:prSet presAssocID="{E2A0F98A-0ADB-4669-A921-9060F8F06A8A}" presName="FiveConn_4-5" presStyleLbl="fgAccFollowNode1" presStyleIdx="3" presStyleCnt="4" custScaleY="118815">
        <dgm:presLayoutVars>
          <dgm:bulletEnabled val="1"/>
        </dgm:presLayoutVars>
      </dgm:prSet>
      <dgm:spPr>
        <a:prstGeom prst="upDownArrow">
          <a:avLst/>
        </a:prstGeom>
      </dgm:spPr>
      <dgm:t>
        <a:bodyPr/>
        <a:lstStyle/>
        <a:p>
          <a:endParaRPr lang="en-US"/>
        </a:p>
      </dgm:t>
    </dgm:pt>
    <dgm:pt modelId="{3266E00A-2621-4B3E-9267-9B85CF63E971}" type="pres">
      <dgm:prSet presAssocID="{E2A0F98A-0ADB-4669-A921-9060F8F06A8A}" presName="FiveNodes_1_text" presStyleLbl="node1" presStyleIdx="4" presStyleCnt="5">
        <dgm:presLayoutVars>
          <dgm:bulletEnabled val="1"/>
        </dgm:presLayoutVars>
      </dgm:prSet>
      <dgm:spPr/>
      <dgm:t>
        <a:bodyPr/>
        <a:lstStyle/>
        <a:p>
          <a:endParaRPr lang="en-US"/>
        </a:p>
      </dgm:t>
    </dgm:pt>
    <dgm:pt modelId="{ED595566-CCD3-4111-99D5-107FAA5CDC64}" type="pres">
      <dgm:prSet presAssocID="{E2A0F98A-0ADB-4669-A921-9060F8F06A8A}" presName="FiveNodes_2_text" presStyleLbl="node1" presStyleIdx="4" presStyleCnt="5">
        <dgm:presLayoutVars>
          <dgm:bulletEnabled val="1"/>
        </dgm:presLayoutVars>
      </dgm:prSet>
      <dgm:spPr/>
      <dgm:t>
        <a:bodyPr/>
        <a:lstStyle/>
        <a:p>
          <a:endParaRPr lang="en-US"/>
        </a:p>
      </dgm:t>
    </dgm:pt>
    <dgm:pt modelId="{4FC37AAF-A7D6-4058-8C14-1F56195C2907}" type="pres">
      <dgm:prSet presAssocID="{E2A0F98A-0ADB-4669-A921-9060F8F06A8A}" presName="FiveNodes_3_text" presStyleLbl="node1" presStyleIdx="4" presStyleCnt="5">
        <dgm:presLayoutVars>
          <dgm:bulletEnabled val="1"/>
        </dgm:presLayoutVars>
      </dgm:prSet>
      <dgm:spPr/>
      <dgm:t>
        <a:bodyPr/>
        <a:lstStyle/>
        <a:p>
          <a:endParaRPr lang="en-US"/>
        </a:p>
      </dgm:t>
    </dgm:pt>
    <dgm:pt modelId="{BC9EEF3D-EEB2-4EBD-BB24-9F9E022E8333}" type="pres">
      <dgm:prSet presAssocID="{E2A0F98A-0ADB-4669-A921-9060F8F06A8A}" presName="FiveNodes_4_text" presStyleLbl="node1" presStyleIdx="4" presStyleCnt="5">
        <dgm:presLayoutVars>
          <dgm:bulletEnabled val="1"/>
        </dgm:presLayoutVars>
      </dgm:prSet>
      <dgm:spPr/>
      <dgm:t>
        <a:bodyPr/>
        <a:lstStyle/>
        <a:p>
          <a:endParaRPr lang="en-US"/>
        </a:p>
      </dgm:t>
    </dgm:pt>
    <dgm:pt modelId="{295FD796-E2E7-49A3-B8AF-24D2D25F14FB}" type="pres">
      <dgm:prSet presAssocID="{E2A0F98A-0ADB-4669-A921-9060F8F06A8A}" presName="FiveNodes_5_text" presStyleLbl="node1" presStyleIdx="4" presStyleCnt="5">
        <dgm:presLayoutVars>
          <dgm:bulletEnabled val="1"/>
        </dgm:presLayoutVars>
      </dgm:prSet>
      <dgm:spPr/>
      <dgm:t>
        <a:bodyPr/>
        <a:lstStyle/>
        <a:p>
          <a:endParaRPr lang="en-US"/>
        </a:p>
      </dgm:t>
    </dgm:pt>
  </dgm:ptLst>
  <dgm:cxnLst>
    <dgm:cxn modelId="{C5B82A21-48A4-4502-ABB6-79A804645F0F}" type="presOf" srcId="{15D2638E-C59C-4F3E-BC19-D822A3AD62EC}" destId="{ED595566-CCD3-4111-99D5-107FAA5CDC64}" srcOrd="1" destOrd="0" presId="urn:microsoft.com/office/officeart/2005/8/layout/vProcess5"/>
    <dgm:cxn modelId="{E46FA54F-1CDF-4418-A77E-4EBB325FA325}" type="presOf" srcId="{2E600EEE-71BB-4D32-8E24-A6D37AF736F5}" destId="{310E433F-F169-47D6-ACBF-0DC07195C1C2}" srcOrd="0" destOrd="0" presId="urn:microsoft.com/office/officeart/2005/8/layout/vProcess5"/>
    <dgm:cxn modelId="{80B3FF4E-E238-4064-B0E9-802903E0BEF5}" srcId="{E2A0F98A-0ADB-4669-A921-9060F8F06A8A}" destId="{15AA08FF-A713-4505-A8F7-583BB923040A}" srcOrd="2" destOrd="0" parTransId="{400FE53C-BBFE-4A92-BFCF-2E68BF9B4EDA}" sibTransId="{B900AE64-53B9-48CF-A06A-FD4099B1DFE2}"/>
    <dgm:cxn modelId="{9EB2F073-839C-4525-B51A-F3865A1A407B}" type="presOf" srcId="{84CDCC32-C332-4D9A-9447-967572233F00}" destId="{BC9EEF3D-EEB2-4EBD-BB24-9F9E022E8333}" srcOrd="1" destOrd="0" presId="urn:microsoft.com/office/officeart/2005/8/layout/vProcess5"/>
    <dgm:cxn modelId="{27D6F46B-4A38-4C0C-AFA7-47A7960BC782}" type="presOf" srcId="{15AA08FF-A713-4505-A8F7-583BB923040A}" destId="{BA781BAD-54BD-4622-94C6-7112601BB36F}" srcOrd="0" destOrd="0" presId="urn:microsoft.com/office/officeart/2005/8/layout/vProcess5"/>
    <dgm:cxn modelId="{6B651330-4294-482B-BCC0-BE2F0026A94D}" type="presOf" srcId="{15D2638E-C59C-4F3E-BC19-D822A3AD62EC}" destId="{037D2D1A-1EA5-4832-A1EC-B1B255A5CA50}" srcOrd="0" destOrd="0" presId="urn:microsoft.com/office/officeart/2005/8/layout/vProcess5"/>
    <dgm:cxn modelId="{7B4B9FBA-039B-4B70-B2BB-19C20FC44795}" type="presOf" srcId="{84CDCC32-C332-4D9A-9447-967572233F00}" destId="{7B0E5CD9-FF45-44FD-AF22-1B35C5DF7986}" srcOrd="0" destOrd="0" presId="urn:microsoft.com/office/officeart/2005/8/layout/vProcess5"/>
    <dgm:cxn modelId="{6EC6FE2E-8E34-4EFB-9C57-AF322C6E2018}" srcId="{E2A0F98A-0ADB-4669-A921-9060F8F06A8A}" destId="{4A34F87F-207A-45F6-BFA7-F3D21CD103AE}" srcOrd="4" destOrd="0" parTransId="{667E1223-4B54-4247-9ED6-8F7414838C2E}" sibTransId="{95B9CA07-B36B-4B32-AA23-340160CD3D52}"/>
    <dgm:cxn modelId="{6DD52A0D-0C44-4C52-AFA0-CE61987B459A}" type="presOf" srcId="{CA89011A-A6CD-4BB6-9944-A812289247DC}" destId="{3266E00A-2621-4B3E-9267-9B85CF63E971}" srcOrd="1" destOrd="0" presId="urn:microsoft.com/office/officeart/2005/8/layout/vProcess5"/>
    <dgm:cxn modelId="{404C5957-6F27-408B-91E9-2F365CEB9295}" srcId="{E2A0F98A-0ADB-4669-A921-9060F8F06A8A}" destId="{84CDCC32-C332-4D9A-9447-967572233F00}" srcOrd="3" destOrd="0" parTransId="{1DAF7F63-4F6D-4C0C-9720-B4E3C7C2CFE6}" sibTransId="{4C1C75E2-2F7D-4216-B4A4-AD738B1C927E}"/>
    <dgm:cxn modelId="{A6215B5D-2FBD-42ED-A180-6AE0ED3EA5FB}" type="presOf" srcId="{B900AE64-53B9-48CF-A06A-FD4099B1DFE2}" destId="{73BE32B3-EF42-46E7-A7A5-DB23B0103F87}" srcOrd="0" destOrd="0" presId="urn:microsoft.com/office/officeart/2005/8/layout/vProcess5"/>
    <dgm:cxn modelId="{39EA497F-E505-4F6A-B5DE-025C4A0502E3}" type="presOf" srcId="{CA89011A-A6CD-4BB6-9944-A812289247DC}" destId="{E009DC6E-5830-4E78-BA38-77D943F758A1}" srcOrd="0" destOrd="0" presId="urn:microsoft.com/office/officeart/2005/8/layout/vProcess5"/>
    <dgm:cxn modelId="{19ED6DC9-9DE5-4C82-9CD9-4A1BF4AEF10B}" type="presOf" srcId="{E2A0F98A-0ADB-4669-A921-9060F8F06A8A}" destId="{77EEB76F-77AA-4616-B654-898B71FD2C6B}" srcOrd="0" destOrd="0" presId="urn:microsoft.com/office/officeart/2005/8/layout/vProcess5"/>
    <dgm:cxn modelId="{65F1B25E-817E-4D70-A3D0-6F59C0B22974}" srcId="{E2A0F98A-0ADB-4669-A921-9060F8F06A8A}" destId="{CA89011A-A6CD-4BB6-9944-A812289247DC}" srcOrd="0" destOrd="0" parTransId="{B707E127-C88F-487B-A570-4BEE0F96D857}" sibTransId="{2E600EEE-71BB-4D32-8E24-A6D37AF736F5}"/>
    <dgm:cxn modelId="{AC5FB4CC-C4DC-4E49-9068-C8CC514D69F9}" type="presOf" srcId="{4A34F87F-207A-45F6-BFA7-F3D21CD103AE}" destId="{7EB46F54-8D14-4167-90AD-7C199AA2791F}" srcOrd="0" destOrd="0" presId="urn:microsoft.com/office/officeart/2005/8/layout/vProcess5"/>
    <dgm:cxn modelId="{8D94DE8B-089D-4EC0-972A-BEF182273F64}" type="presOf" srcId="{B246EE7E-EB9F-4729-A54C-6BE2AD6E7F3E}" destId="{43FF4A5D-CD63-4970-9953-D0DD76EBDB76}" srcOrd="0" destOrd="0" presId="urn:microsoft.com/office/officeart/2005/8/layout/vProcess5"/>
    <dgm:cxn modelId="{19D0A2AD-676F-41F9-85D7-C2713467B7BF}" type="presOf" srcId="{4A34F87F-207A-45F6-BFA7-F3D21CD103AE}" destId="{295FD796-E2E7-49A3-B8AF-24D2D25F14FB}" srcOrd="1" destOrd="0" presId="urn:microsoft.com/office/officeart/2005/8/layout/vProcess5"/>
    <dgm:cxn modelId="{BF2ECAA0-6ACC-4F9B-AF2A-B504B4027D73}" type="presOf" srcId="{4C1C75E2-2F7D-4216-B4A4-AD738B1C927E}" destId="{BB284D46-B58F-42E5-BC31-72EB629D215C}" srcOrd="0" destOrd="0" presId="urn:microsoft.com/office/officeart/2005/8/layout/vProcess5"/>
    <dgm:cxn modelId="{51474A6D-CAFB-43C8-820E-21F54932CFED}" type="presOf" srcId="{15AA08FF-A713-4505-A8F7-583BB923040A}" destId="{4FC37AAF-A7D6-4058-8C14-1F56195C2907}" srcOrd="1" destOrd="0" presId="urn:microsoft.com/office/officeart/2005/8/layout/vProcess5"/>
    <dgm:cxn modelId="{96BCA456-4270-4ABC-B3B7-317DB07FFCE1}" srcId="{E2A0F98A-0ADB-4669-A921-9060F8F06A8A}" destId="{15D2638E-C59C-4F3E-BC19-D822A3AD62EC}" srcOrd="1" destOrd="0" parTransId="{04693DA3-6BC6-49B7-90DA-39469C005922}" sibTransId="{B246EE7E-EB9F-4729-A54C-6BE2AD6E7F3E}"/>
    <dgm:cxn modelId="{B85C3F67-4946-4F17-9F51-16058DC4EAAD}" type="presParOf" srcId="{77EEB76F-77AA-4616-B654-898B71FD2C6B}" destId="{43539C10-0DF1-493D-9FD5-6D5DF399A273}" srcOrd="0" destOrd="0" presId="urn:microsoft.com/office/officeart/2005/8/layout/vProcess5"/>
    <dgm:cxn modelId="{6BF0A9E2-4810-45D3-8D20-459590237259}" type="presParOf" srcId="{77EEB76F-77AA-4616-B654-898B71FD2C6B}" destId="{E009DC6E-5830-4E78-BA38-77D943F758A1}" srcOrd="1" destOrd="0" presId="urn:microsoft.com/office/officeart/2005/8/layout/vProcess5"/>
    <dgm:cxn modelId="{6B79C5C3-4B78-48CC-B67B-FEE5C57BC4C6}" type="presParOf" srcId="{77EEB76F-77AA-4616-B654-898B71FD2C6B}" destId="{037D2D1A-1EA5-4832-A1EC-B1B255A5CA50}" srcOrd="2" destOrd="0" presId="urn:microsoft.com/office/officeart/2005/8/layout/vProcess5"/>
    <dgm:cxn modelId="{BE1BD6C5-4B62-4255-B115-F3FD851F45BA}" type="presParOf" srcId="{77EEB76F-77AA-4616-B654-898B71FD2C6B}" destId="{BA781BAD-54BD-4622-94C6-7112601BB36F}" srcOrd="3" destOrd="0" presId="urn:microsoft.com/office/officeart/2005/8/layout/vProcess5"/>
    <dgm:cxn modelId="{8F1DE610-14FA-4ACD-B24B-9C11D1931531}" type="presParOf" srcId="{77EEB76F-77AA-4616-B654-898B71FD2C6B}" destId="{7B0E5CD9-FF45-44FD-AF22-1B35C5DF7986}" srcOrd="4" destOrd="0" presId="urn:microsoft.com/office/officeart/2005/8/layout/vProcess5"/>
    <dgm:cxn modelId="{40C36341-A353-47DE-BC45-3EF3921556BD}" type="presParOf" srcId="{77EEB76F-77AA-4616-B654-898B71FD2C6B}" destId="{7EB46F54-8D14-4167-90AD-7C199AA2791F}" srcOrd="5" destOrd="0" presId="urn:microsoft.com/office/officeart/2005/8/layout/vProcess5"/>
    <dgm:cxn modelId="{1518D18C-CFC0-4123-80E8-FE54920273AE}" type="presParOf" srcId="{77EEB76F-77AA-4616-B654-898B71FD2C6B}" destId="{310E433F-F169-47D6-ACBF-0DC07195C1C2}" srcOrd="6" destOrd="0" presId="urn:microsoft.com/office/officeart/2005/8/layout/vProcess5"/>
    <dgm:cxn modelId="{C9D62DCB-F80A-4ED8-A225-B08807D7CFD3}" type="presParOf" srcId="{77EEB76F-77AA-4616-B654-898B71FD2C6B}" destId="{43FF4A5D-CD63-4970-9953-D0DD76EBDB76}" srcOrd="7" destOrd="0" presId="urn:microsoft.com/office/officeart/2005/8/layout/vProcess5"/>
    <dgm:cxn modelId="{F2D75F5D-36EB-4A77-8802-62DB7CEAC7BC}" type="presParOf" srcId="{77EEB76F-77AA-4616-B654-898B71FD2C6B}" destId="{73BE32B3-EF42-46E7-A7A5-DB23B0103F87}" srcOrd="8" destOrd="0" presId="urn:microsoft.com/office/officeart/2005/8/layout/vProcess5"/>
    <dgm:cxn modelId="{E622B6CA-FDEB-4840-9C48-06B94013BEEC}" type="presParOf" srcId="{77EEB76F-77AA-4616-B654-898B71FD2C6B}" destId="{BB284D46-B58F-42E5-BC31-72EB629D215C}" srcOrd="9" destOrd="0" presId="urn:microsoft.com/office/officeart/2005/8/layout/vProcess5"/>
    <dgm:cxn modelId="{2FB4D349-AFEF-4CCE-A014-C31FBCF904A4}" type="presParOf" srcId="{77EEB76F-77AA-4616-B654-898B71FD2C6B}" destId="{3266E00A-2621-4B3E-9267-9B85CF63E971}" srcOrd="10" destOrd="0" presId="urn:microsoft.com/office/officeart/2005/8/layout/vProcess5"/>
    <dgm:cxn modelId="{6225E1C7-45D3-4DC7-B0FF-F50F85806248}" type="presParOf" srcId="{77EEB76F-77AA-4616-B654-898B71FD2C6B}" destId="{ED595566-CCD3-4111-99D5-107FAA5CDC64}" srcOrd="11" destOrd="0" presId="urn:microsoft.com/office/officeart/2005/8/layout/vProcess5"/>
    <dgm:cxn modelId="{9263E010-EECB-4B85-9F30-7E6A8DE18308}" type="presParOf" srcId="{77EEB76F-77AA-4616-B654-898B71FD2C6B}" destId="{4FC37AAF-A7D6-4058-8C14-1F56195C2907}" srcOrd="12" destOrd="0" presId="urn:microsoft.com/office/officeart/2005/8/layout/vProcess5"/>
    <dgm:cxn modelId="{DE72648D-2BE4-4179-A910-E2DDE59D8607}" type="presParOf" srcId="{77EEB76F-77AA-4616-B654-898B71FD2C6B}" destId="{BC9EEF3D-EEB2-4EBD-BB24-9F9E022E8333}" srcOrd="13" destOrd="0" presId="urn:microsoft.com/office/officeart/2005/8/layout/vProcess5"/>
    <dgm:cxn modelId="{3D11255B-F539-49C8-BF50-8A8806223184}" type="presParOf" srcId="{77EEB76F-77AA-4616-B654-898B71FD2C6B}" destId="{295FD796-E2E7-49A3-B8AF-24D2D25F14FB}" srcOrd="14" destOrd="0" presId="urn:microsoft.com/office/officeart/2005/8/layout/vProcess5"/>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B10881-8772-4C4A-9D26-FB45433F3758}">
      <dsp:nvSpPr>
        <dsp:cNvPr id="0" name=""/>
        <dsp:cNvSpPr/>
      </dsp:nvSpPr>
      <dsp:spPr>
        <a:xfrm>
          <a:off x="1597964" y="0"/>
          <a:ext cx="798982" cy="780697"/>
        </a:xfrm>
        <a:prstGeom prst="trapezoid">
          <a:avLst>
            <a:gd name="adj" fmla="val 51171"/>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zh-CN" altLang="en-US" sz="1500" kern="1200" dirty="0"/>
            <a:t>导师指定</a:t>
          </a:r>
          <a:endParaRPr lang="en-US" sz="1500" kern="1200" dirty="0"/>
        </a:p>
      </dsp:txBody>
      <dsp:txXfrm>
        <a:off x="1597964" y="0"/>
        <a:ext cx="798982" cy="780697"/>
      </dsp:txXfrm>
    </dsp:sp>
    <dsp:sp modelId="{91912A26-A188-45BD-8589-1315A912D41D}">
      <dsp:nvSpPr>
        <dsp:cNvPr id="0" name=""/>
        <dsp:cNvSpPr/>
      </dsp:nvSpPr>
      <dsp:spPr>
        <a:xfrm>
          <a:off x="1198473" y="780697"/>
          <a:ext cx="1597964" cy="780697"/>
        </a:xfrm>
        <a:prstGeom prst="trapezoid">
          <a:avLst>
            <a:gd name="adj" fmla="val 51171"/>
          </a:avLst>
        </a:prstGeom>
        <a:solidFill>
          <a:srgbClr val="C00000"/>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zh-CN" altLang="en-US" sz="1500" kern="1200" dirty="0">
              <a:solidFill>
                <a:schemeClr val="bg1"/>
              </a:solidFill>
            </a:rPr>
            <a:t>专业工具</a:t>
          </a:r>
          <a:endParaRPr lang="en-US" sz="1500" kern="1200" dirty="0">
            <a:solidFill>
              <a:schemeClr val="bg1"/>
            </a:solidFill>
          </a:endParaRPr>
        </a:p>
      </dsp:txBody>
      <dsp:txXfrm>
        <a:off x="1478117" y="780697"/>
        <a:ext cx="1038676" cy="780697"/>
      </dsp:txXfrm>
    </dsp:sp>
    <dsp:sp modelId="{3642159B-B1A5-4BAD-89D6-524890742D5B}">
      <dsp:nvSpPr>
        <dsp:cNvPr id="0" name=""/>
        <dsp:cNvSpPr/>
      </dsp:nvSpPr>
      <dsp:spPr>
        <a:xfrm>
          <a:off x="798982" y="1561394"/>
          <a:ext cx="2396946" cy="780697"/>
        </a:xfrm>
        <a:prstGeom prst="trapezoid">
          <a:avLst>
            <a:gd name="adj" fmla="val 51171"/>
          </a:avLst>
        </a:prstGeom>
        <a:solidFill>
          <a:srgbClr val="006666"/>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zh-CN" altLang="en-US" sz="1500" kern="1200" dirty="0">
              <a:solidFill>
                <a:schemeClr val="bg1"/>
              </a:solidFill>
            </a:rPr>
            <a:t>文献被引情况</a:t>
          </a:r>
          <a:endParaRPr lang="en-US" sz="1500" kern="1200" dirty="0">
            <a:solidFill>
              <a:schemeClr val="bg1"/>
            </a:solidFill>
          </a:endParaRPr>
        </a:p>
      </dsp:txBody>
      <dsp:txXfrm>
        <a:off x="1218447" y="1561394"/>
        <a:ext cx="1558015" cy="780697"/>
      </dsp:txXfrm>
    </dsp:sp>
    <dsp:sp modelId="{C6F6526A-DD8D-4921-A674-6F841450E5BA}">
      <dsp:nvSpPr>
        <dsp:cNvPr id="0" name=""/>
        <dsp:cNvSpPr/>
      </dsp:nvSpPr>
      <dsp:spPr>
        <a:xfrm>
          <a:off x="399491" y="2342091"/>
          <a:ext cx="3195928" cy="780697"/>
        </a:xfrm>
        <a:prstGeom prst="trapezoid">
          <a:avLst>
            <a:gd name="adj" fmla="val 51171"/>
          </a:avLst>
        </a:prstGeom>
        <a:solidFill>
          <a:schemeClr val="accent1">
            <a:lumMod val="7500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zh-CN" altLang="en-US" sz="1500" kern="1200" dirty="0">
              <a:solidFill>
                <a:schemeClr val="bg1"/>
              </a:solidFill>
            </a:rPr>
            <a:t>题名文摘</a:t>
          </a:r>
          <a:endParaRPr lang="en-US" sz="1500" kern="1200" dirty="0">
            <a:solidFill>
              <a:schemeClr val="bg1"/>
            </a:solidFill>
          </a:endParaRPr>
        </a:p>
      </dsp:txBody>
      <dsp:txXfrm>
        <a:off x="958778" y="2342091"/>
        <a:ext cx="2077353" cy="780697"/>
      </dsp:txXfrm>
    </dsp:sp>
    <dsp:sp modelId="{8556EB57-CE2A-4D1C-A7F6-78264D3C1D67}">
      <dsp:nvSpPr>
        <dsp:cNvPr id="0" name=""/>
        <dsp:cNvSpPr/>
      </dsp:nvSpPr>
      <dsp:spPr>
        <a:xfrm>
          <a:off x="0" y="3122788"/>
          <a:ext cx="3994911" cy="780697"/>
        </a:xfrm>
        <a:prstGeom prst="trapezoid">
          <a:avLst>
            <a:gd name="adj" fmla="val 51171"/>
          </a:avLst>
        </a:prstGeom>
        <a:solidFill>
          <a:srgbClr val="92D050"/>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zh-CN" altLang="en-US" sz="1500" kern="1200" dirty="0"/>
            <a:t>文献全文</a:t>
          </a:r>
          <a:endParaRPr lang="en-US" sz="1500" kern="1200" dirty="0"/>
        </a:p>
      </dsp:txBody>
      <dsp:txXfrm>
        <a:off x="699109" y="3122788"/>
        <a:ext cx="2596692" cy="78069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2B7194-C303-41A8-97A1-E88E78258EBC}">
      <dsp:nvSpPr>
        <dsp:cNvPr id="0" name=""/>
        <dsp:cNvSpPr/>
      </dsp:nvSpPr>
      <dsp:spPr>
        <a:xfrm>
          <a:off x="1107123" y="0"/>
          <a:ext cx="738081" cy="691964"/>
        </a:xfrm>
        <a:prstGeom prst="trapezoid">
          <a:avLst>
            <a:gd name="adj" fmla="val 53332"/>
          </a:avLst>
        </a:prstGeom>
        <a:solidFill>
          <a:schemeClr val="accent6"/>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Keywords</a:t>
          </a:r>
        </a:p>
        <a:p>
          <a:pPr marL="0" lvl="0" indent="0" algn="ctr" defTabSz="444500">
            <a:lnSpc>
              <a:spcPct val="90000"/>
            </a:lnSpc>
            <a:spcBef>
              <a:spcPct val="0"/>
            </a:spcBef>
            <a:spcAft>
              <a:spcPct val="35000"/>
            </a:spcAft>
            <a:buNone/>
          </a:pPr>
          <a:r>
            <a:rPr lang="en-US" sz="1000" b="1" kern="1200" dirty="0"/>
            <a:t>1025</a:t>
          </a:r>
          <a:endParaRPr lang="en-US" sz="2000" b="1" kern="1200" dirty="0"/>
        </a:p>
      </dsp:txBody>
      <dsp:txXfrm>
        <a:off x="1107123" y="0"/>
        <a:ext cx="738081" cy="691964"/>
      </dsp:txXfrm>
    </dsp:sp>
    <dsp:sp modelId="{451262B7-3CBA-478F-8960-ADFBD33429E0}">
      <dsp:nvSpPr>
        <dsp:cNvPr id="0" name=""/>
        <dsp:cNvSpPr/>
      </dsp:nvSpPr>
      <dsp:spPr>
        <a:xfrm>
          <a:off x="738082" y="691964"/>
          <a:ext cx="1476163" cy="691964"/>
        </a:xfrm>
        <a:prstGeom prst="trapezoid">
          <a:avLst>
            <a:gd name="adj" fmla="val 53332"/>
          </a:avLst>
        </a:prstGeom>
        <a:solidFill>
          <a:schemeClr val="accent6">
            <a:lumMod val="60000"/>
            <a:lumOff val="40000"/>
          </a:schemeClr>
        </a:solidFill>
        <a:ln w="25400" cap="flat" cmpd="sng" algn="ctr">
          <a:noFill/>
          <a:prstDash val="solid"/>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Titles</a:t>
          </a:r>
        </a:p>
        <a:p>
          <a:pPr marL="0" lvl="0" indent="0" algn="ctr" defTabSz="533400">
            <a:lnSpc>
              <a:spcPct val="90000"/>
            </a:lnSpc>
            <a:spcBef>
              <a:spcPct val="0"/>
            </a:spcBef>
            <a:spcAft>
              <a:spcPct val="35000"/>
            </a:spcAft>
            <a:buNone/>
          </a:pPr>
          <a:r>
            <a:rPr lang="en-US" sz="1200" b="1" kern="1200" dirty="0"/>
            <a:t>1936</a:t>
          </a:r>
        </a:p>
      </dsp:txBody>
      <dsp:txXfrm>
        <a:off x="996410" y="691964"/>
        <a:ext cx="959506" cy="691964"/>
      </dsp:txXfrm>
    </dsp:sp>
    <dsp:sp modelId="{318EE17B-28E4-44F3-A67D-8A60BC37D114}">
      <dsp:nvSpPr>
        <dsp:cNvPr id="0" name=""/>
        <dsp:cNvSpPr/>
      </dsp:nvSpPr>
      <dsp:spPr>
        <a:xfrm>
          <a:off x="369041" y="1383928"/>
          <a:ext cx="2214245" cy="691964"/>
        </a:xfrm>
        <a:prstGeom prst="trapezoid">
          <a:avLst>
            <a:gd name="adj" fmla="val 53332"/>
          </a:avLst>
        </a:prstGeom>
        <a:solidFill>
          <a:schemeClr val="accent6">
            <a:lumMod val="40000"/>
            <a:lumOff val="60000"/>
          </a:schemeClr>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Abstracts</a:t>
          </a:r>
        </a:p>
        <a:p>
          <a:pPr marL="0" lvl="0" indent="0" algn="ctr" defTabSz="533400">
            <a:lnSpc>
              <a:spcPct val="90000"/>
            </a:lnSpc>
            <a:spcBef>
              <a:spcPct val="0"/>
            </a:spcBef>
            <a:spcAft>
              <a:spcPct val="35000"/>
            </a:spcAft>
            <a:buNone/>
          </a:pPr>
          <a:r>
            <a:rPr lang="en-US" sz="1200" b="1" kern="1200" dirty="0"/>
            <a:t>2,617</a:t>
          </a:r>
        </a:p>
      </dsp:txBody>
      <dsp:txXfrm>
        <a:off x="756534" y="1383928"/>
        <a:ext cx="1439259" cy="691964"/>
      </dsp:txXfrm>
    </dsp:sp>
    <dsp:sp modelId="{81A177E3-673A-4445-BCB2-92D165D0A2AA}">
      <dsp:nvSpPr>
        <dsp:cNvPr id="0" name=""/>
        <dsp:cNvSpPr/>
      </dsp:nvSpPr>
      <dsp:spPr>
        <a:xfrm>
          <a:off x="0" y="2075892"/>
          <a:ext cx="2952327" cy="691964"/>
        </a:xfrm>
        <a:prstGeom prst="trapezoid">
          <a:avLst>
            <a:gd name="adj" fmla="val 53332"/>
          </a:avLst>
        </a:prstGeom>
        <a:solidFill>
          <a:schemeClr val="accent6">
            <a:lumMod val="20000"/>
            <a:lumOff val="80000"/>
          </a:schemeClr>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All fields</a:t>
          </a:r>
        </a:p>
        <a:p>
          <a:pPr marL="0" lvl="0" indent="0" algn="ctr" defTabSz="533400">
            <a:lnSpc>
              <a:spcPct val="90000"/>
            </a:lnSpc>
            <a:spcBef>
              <a:spcPct val="0"/>
            </a:spcBef>
            <a:spcAft>
              <a:spcPct val="35000"/>
            </a:spcAft>
            <a:buNone/>
          </a:pPr>
          <a:r>
            <a:rPr lang="en-US" sz="1200" b="1" kern="1200" dirty="0"/>
            <a:t>14,513</a:t>
          </a:r>
        </a:p>
      </dsp:txBody>
      <dsp:txXfrm>
        <a:off x="516657" y="2075892"/>
        <a:ext cx="1919013" cy="6919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2B7194-C303-41A8-97A1-E88E78258EBC}">
      <dsp:nvSpPr>
        <dsp:cNvPr id="0" name=""/>
        <dsp:cNvSpPr/>
      </dsp:nvSpPr>
      <dsp:spPr>
        <a:xfrm>
          <a:off x="1134126" y="0"/>
          <a:ext cx="756084" cy="673961"/>
        </a:xfrm>
        <a:prstGeom prst="trapezoid">
          <a:avLst>
            <a:gd name="adj" fmla="val 56092"/>
          </a:avLst>
        </a:prstGeom>
        <a:solidFill>
          <a:srgbClr val="10A810"/>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444500">
            <a:lnSpc>
              <a:spcPct val="90000"/>
            </a:lnSpc>
            <a:spcBef>
              <a:spcPct val="0"/>
            </a:spcBef>
            <a:spcAft>
              <a:spcPct val="35000"/>
            </a:spcAft>
            <a:buNone/>
          </a:pPr>
          <a:r>
            <a:rPr lang="en-US" sz="1000" b="1" kern="1200" dirty="0"/>
            <a:t>Keywords</a:t>
          </a:r>
        </a:p>
        <a:p>
          <a:pPr marL="0" lvl="0" indent="0" algn="ctr" defTabSz="444500">
            <a:lnSpc>
              <a:spcPct val="90000"/>
            </a:lnSpc>
            <a:spcBef>
              <a:spcPct val="0"/>
            </a:spcBef>
            <a:spcAft>
              <a:spcPct val="35000"/>
            </a:spcAft>
            <a:buNone/>
          </a:pPr>
          <a:r>
            <a:rPr lang="en-US" sz="1000" b="1" kern="1200" dirty="0"/>
            <a:t>70</a:t>
          </a:r>
          <a:endParaRPr lang="en-US" sz="2000" b="1" kern="1200" dirty="0"/>
        </a:p>
      </dsp:txBody>
      <dsp:txXfrm>
        <a:off x="1134126" y="0"/>
        <a:ext cx="756084" cy="673961"/>
      </dsp:txXfrm>
    </dsp:sp>
    <dsp:sp modelId="{451262B7-3CBA-478F-8960-ADFBD33429E0}">
      <dsp:nvSpPr>
        <dsp:cNvPr id="0" name=""/>
        <dsp:cNvSpPr/>
      </dsp:nvSpPr>
      <dsp:spPr>
        <a:xfrm>
          <a:off x="756084" y="673962"/>
          <a:ext cx="1512168" cy="673961"/>
        </a:xfrm>
        <a:prstGeom prst="trapezoid">
          <a:avLst>
            <a:gd name="adj" fmla="val 56092"/>
          </a:avLst>
        </a:prstGeom>
        <a:solidFill>
          <a:srgbClr val="7BE3A5"/>
        </a:solidFill>
        <a:ln w="25400" cap="flat" cmpd="sng" algn="ctr">
          <a:noFill/>
          <a:prstDash val="solid"/>
        </a:ln>
        <a:effectLst>
          <a:outerShdw blurRad="190500" dist="228600" dir="2700000" algn="ctr" rotWithShape="0">
            <a:srgbClr val="000000">
              <a:alpha val="30000"/>
            </a:srgbClr>
          </a:outerShdw>
        </a:effectLst>
        <a:scene3d>
          <a:camera prst="orthographicFront">
            <a:rot lat="0" lon="0" rev="0"/>
          </a:camera>
          <a:lightRig rig="glow" dir="t">
            <a:rot lat="0" lon="0" rev="4800000"/>
          </a:lightRig>
        </a:scene3d>
        <a:sp3d prstMaterial="matte">
          <a:bevelT w="127000" h="635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Titles</a:t>
          </a:r>
        </a:p>
        <a:p>
          <a:pPr marL="0" lvl="0" indent="0" algn="ctr" defTabSz="533400">
            <a:lnSpc>
              <a:spcPct val="90000"/>
            </a:lnSpc>
            <a:spcBef>
              <a:spcPct val="0"/>
            </a:spcBef>
            <a:spcAft>
              <a:spcPct val="35000"/>
            </a:spcAft>
            <a:buNone/>
          </a:pPr>
          <a:r>
            <a:rPr lang="en-US" sz="1200" b="1" kern="1200" dirty="0"/>
            <a:t>131</a:t>
          </a:r>
        </a:p>
      </dsp:txBody>
      <dsp:txXfrm>
        <a:off x="1020713" y="673962"/>
        <a:ext cx="982909" cy="673961"/>
      </dsp:txXfrm>
    </dsp:sp>
    <dsp:sp modelId="{318EE17B-28E4-44F3-A67D-8A60BC37D114}">
      <dsp:nvSpPr>
        <dsp:cNvPr id="0" name=""/>
        <dsp:cNvSpPr/>
      </dsp:nvSpPr>
      <dsp:spPr>
        <a:xfrm>
          <a:off x="378042" y="1347924"/>
          <a:ext cx="2268252" cy="673961"/>
        </a:xfrm>
        <a:prstGeom prst="trapezoid">
          <a:avLst>
            <a:gd name="adj" fmla="val 56092"/>
          </a:avLst>
        </a:prstGeom>
        <a:solidFill>
          <a:srgbClr val="D6FEC6"/>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Abstracts</a:t>
          </a:r>
        </a:p>
        <a:p>
          <a:pPr marL="0" lvl="0" indent="0" algn="ctr" defTabSz="533400">
            <a:lnSpc>
              <a:spcPct val="90000"/>
            </a:lnSpc>
            <a:spcBef>
              <a:spcPct val="0"/>
            </a:spcBef>
            <a:spcAft>
              <a:spcPct val="35000"/>
            </a:spcAft>
            <a:buNone/>
          </a:pPr>
          <a:r>
            <a:rPr lang="en-US" sz="1200" b="1" kern="1200" dirty="0"/>
            <a:t>126</a:t>
          </a:r>
        </a:p>
      </dsp:txBody>
      <dsp:txXfrm>
        <a:off x="774986" y="1347924"/>
        <a:ext cx="1474363" cy="673961"/>
      </dsp:txXfrm>
    </dsp:sp>
    <dsp:sp modelId="{81A177E3-673A-4445-BCB2-92D165D0A2AA}">
      <dsp:nvSpPr>
        <dsp:cNvPr id="0" name=""/>
        <dsp:cNvSpPr/>
      </dsp:nvSpPr>
      <dsp:spPr>
        <a:xfrm>
          <a:off x="0" y="2021885"/>
          <a:ext cx="3024336" cy="673961"/>
        </a:xfrm>
        <a:prstGeom prst="trapezoid">
          <a:avLst>
            <a:gd name="adj" fmla="val 56092"/>
          </a:avLst>
        </a:prstGeom>
        <a:solidFill>
          <a:srgbClr val="E9FFCB"/>
        </a:solidFill>
        <a:ln w="25400" cap="flat" cmpd="sng" algn="ctr">
          <a:noFill/>
          <a:prstDash val="solid"/>
        </a:ln>
        <a:effectLst/>
        <a:scene3d>
          <a:camera prst="orthographicFront">
            <a:rot lat="0" lon="0" rev="0"/>
          </a:camera>
          <a:lightRig rig="contrasting" dir="t">
            <a:rot lat="0" lon="0" rev="7800000"/>
          </a:lightRig>
        </a:scene3d>
        <a:sp3d>
          <a:bevelT w="139700" h="139700"/>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t>All fields</a:t>
          </a:r>
        </a:p>
        <a:p>
          <a:pPr marL="0" lvl="0" indent="0" algn="ctr" defTabSz="533400">
            <a:lnSpc>
              <a:spcPct val="90000"/>
            </a:lnSpc>
            <a:spcBef>
              <a:spcPct val="0"/>
            </a:spcBef>
            <a:spcAft>
              <a:spcPct val="35000"/>
            </a:spcAft>
            <a:buNone/>
          </a:pPr>
          <a:r>
            <a:rPr lang="en-US" sz="1200" b="1" kern="1200" dirty="0"/>
            <a:t>538</a:t>
          </a:r>
        </a:p>
      </dsp:txBody>
      <dsp:txXfrm>
        <a:off x="529258" y="2021885"/>
        <a:ext cx="1965818" cy="67396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09DC6E-5830-4E78-BA38-77D943F758A1}">
      <dsp:nvSpPr>
        <dsp:cNvPr id="0" name=""/>
        <dsp:cNvSpPr/>
      </dsp:nvSpPr>
      <dsp:spPr>
        <a:xfrm>
          <a:off x="0" y="0"/>
          <a:ext cx="4447676" cy="459791"/>
        </a:xfrm>
        <a:prstGeom prst="roundRect">
          <a:avLst>
            <a:gd name="adj" fmla="val 10000"/>
          </a:avLst>
        </a:prstGeom>
        <a:solidFill>
          <a:schemeClr val="accent6">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i="1" kern="1200" dirty="0"/>
            <a:t>Submitted to Journal</a:t>
          </a:r>
          <a:r>
            <a:rPr lang="en-US" sz="2000" b="0" i="0" kern="1200" dirty="0"/>
            <a:t> </a:t>
          </a:r>
          <a:endParaRPr lang="zh-CN" altLang="en-US" sz="2000" kern="1200" dirty="0"/>
        </a:p>
      </dsp:txBody>
      <dsp:txXfrm>
        <a:off x="13467" y="13467"/>
        <a:ext cx="3897729" cy="432857"/>
      </dsp:txXfrm>
    </dsp:sp>
    <dsp:sp modelId="{037D2D1A-1EA5-4832-A1EC-B1B255A5CA50}">
      <dsp:nvSpPr>
        <dsp:cNvPr id="0" name=""/>
        <dsp:cNvSpPr/>
      </dsp:nvSpPr>
      <dsp:spPr>
        <a:xfrm>
          <a:off x="332131" y="523651"/>
          <a:ext cx="4447676" cy="459791"/>
        </a:xfrm>
        <a:prstGeom prst="roundRect">
          <a:avLst>
            <a:gd name="adj" fmla="val 10000"/>
          </a:avLst>
        </a:prstGeom>
        <a:solidFill>
          <a:schemeClr val="accent6">
            <a:alpha val="90000"/>
            <a:hueOff val="0"/>
            <a:satOff val="0"/>
            <a:lumOff val="0"/>
            <a:alphaOff val="-1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i="1" kern="1200" dirty="0"/>
            <a:t>Editor Invited</a:t>
          </a:r>
          <a:endParaRPr lang="zh-CN" altLang="en-US" sz="2000" kern="1200" dirty="0"/>
        </a:p>
      </dsp:txBody>
      <dsp:txXfrm>
        <a:off x="345598" y="537118"/>
        <a:ext cx="3789746" cy="432857"/>
      </dsp:txXfrm>
    </dsp:sp>
    <dsp:sp modelId="{BA781BAD-54BD-4622-94C6-7112601BB36F}">
      <dsp:nvSpPr>
        <dsp:cNvPr id="0" name=""/>
        <dsp:cNvSpPr/>
      </dsp:nvSpPr>
      <dsp:spPr>
        <a:xfrm>
          <a:off x="664263" y="1047302"/>
          <a:ext cx="4447676" cy="459791"/>
        </a:xfrm>
        <a:prstGeom prst="roundRect">
          <a:avLst>
            <a:gd name="adj" fmla="val 10000"/>
          </a:avLst>
        </a:prstGeom>
        <a:solidFill>
          <a:schemeClr val="accent6">
            <a:alpha val="90000"/>
            <a:hueOff val="0"/>
            <a:satOff val="0"/>
            <a:lumOff val="0"/>
            <a:alphaOff val="-2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i="1" kern="1200" dirty="0"/>
            <a:t>With Editor</a:t>
          </a:r>
          <a:endParaRPr lang="zh-CN" altLang="en-US" sz="2000" kern="1200" dirty="0"/>
        </a:p>
      </dsp:txBody>
      <dsp:txXfrm>
        <a:off x="677730" y="1060769"/>
        <a:ext cx="3789746" cy="432857"/>
      </dsp:txXfrm>
    </dsp:sp>
    <dsp:sp modelId="{7B0E5CD9-FF45-44FD-AF22-1B35C5DF7986}">
      <dsp:nvSpPr>
        <dsp:cNvPr id="0" name=""/>
        <dsp:cNvSpPr/>
      </dsp:nvSpPr>
      <dsp:spPr>
        <a:xfrm>
          <a:off x="996395" y="1570953"/>
          <a:ext cx="4447676" cy="459791"/>
        </a:xfrm>
        <a:prstGeom prst="roundRect">
          <a:avLst>
            <a:gd name="adj" fmla="val 10000"/>
          </a:avLst>
        </a:prstGeom>
        <a:solidFill>
          <a:schemeClr val="accent6">
            <a:alpha val="90000"/>
            <a:hueOff val="0"/>
            <a:satOff val="0"/>
            <a:lumOff val="0"/>
            <a:alphaOff val="-3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i="1" kern="1200" dirty="0"/>
            <a:t>Under Review </a:t>
          </a:r>
          <a:endParaRPr lang="zh-CN" altLang="en-US" sz="2000" i="1" kern="1200" dirty="0"/>
        </a:p>
      </dsp:txBody>
      <dsp:txXfrm>
        <a:off x="1009862" y="1584420"/>
        <a:ext cx="3789746" cy="432857"/>
      </dsp:txXfrm>
    </dsp:sp>
    <dsp:sp modelId="{7EB46F54-8D14-4167-90AD-7C199AA2791F}">
      <dsp:nvSpPr>
        <dsp:cNvPr id="0" name=""/>
        <dsp:cNvSpPr/>
      </dsp:nvSpPr>
      <dsp:spPr>
        <a:xfrm>
          <a:off x="1328526" y="2094604"/>
          <a:ext cx="4447676" cy="459791"/>
        </a:xfrm>
        <a:prstGeom prst="roundRect">
          <a:avLst>
            <a:gd name="adj" fmla="val 10000"/>
          </a:avLst>
        </a:prstGeom>
        <a:solidFill>
          <a:schemeClr val="accent6">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i="1" kern="1200"/>
            <a:t>Required Reviews Complete</a:t>
          </a:r>
          <a:endParaRPr lang="zh-CN" altLang="en-US" sz="2000" i="1" kern="1200" dirty="0"/>
        </a:p>
      </dsp:txBody>
      <dsp:txXfrm>
        <a:off x="1341993" y="2108071"/>
        <a:ext cx="3789746" cy="432857"/>
      </dsp:txXfrm>
    </dsp:sp>
    <dsp:sp modelId="{310E433F-F169-47D6-ACBF-0DC07195C1C2}">
      <dsp:nvSpPr>
        <dsp:cNvPr id="0" name=""/>
        <dsp:cNvSpPr/>
      </dsp:nvSpPr>
      <dsp:spPr>
        <a:xfrm>
          <a:off x="4148811" y="335903"/>
          <a:ext cx="298864" cy="298864"/>
        </a:xfrm>
        <a:prstGeom prst="downArrow">
          <a:avLst>
            <a:gd name="adj1" fmla="val 55000"/>
            <a:gd name="adj2" fmla="val 45000"/>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endParaRPr lang="zh-CN" altLang="en-US" sz="1400" kern="1200"/>
        </a:p>
      </dsp:txBody>
      <dsp:txXfrm>
        <a:off x="4216055" y="335903"/>
        <a:ext cx="164376" cy="224895"/>
      </dsp:txXfrm>
    </dsp:sp>
    <dsp:sp modelId="{43FF4A5D-CD63-4970-9953-D0DD76EBDB76}">
      <dsp:nvSpPr>
        <dsp:cNvPr id="0" name=""/>
        <dsp:cNvSpPr/>
      </dsp:nvSpPr>
      <dsp:spPr>
        <a:xfrm>
          <a:off x="4480943" y="859554"/>
          <a:ext cx="298864" cy="298864"/>
        </a:xfrm>
        <a:prstGeom prst="downArrow">
          <a:avLst>
            <a:gd name="adj1" fmla="val 55000"/>
            <a:gd name="adj2" fmla="val 45000"/>
          </a:avLst>
        </a:prstGeom>
        <a:solidFill>
          <a:schemeClr val="accent6">
            <a:alpha val="90000"/>
            <a:tint val="40000"/>
            <a:hueOff val="0"/>
            <a:satOff val="0"/>
            <a:lumOff val="0"/>
            <a:alphaOff val="-13333"/>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endParaRPr lang="zh-CN" altLang="en-US" sz="1400" kern="1200"/>
        </a:p>
      </dsp:txBody>
      <dsp:txXfrm>
        <a:off x="4548187" y="859554"/>
        <a:ext cx="164376" cy="224895"/>
      </dsp:txXfrm>
    </dsp:sp>
    <dsp:sp modelId="{73BE32B3-EF42-46E7-A7A5-DB23B0103F87}">
      <dsp:nvSpPr>
        <dsp:cNvPr id="0" name=""/>
        <dsp:cNvSpPr/>
      </dsp:nvSpPr>
      <dsp:spPr>
        <a:xfrm>
          <a:off x="4813075" y="1375542"/>
          <a:ext cx="298864" cy="298864"/>
        </a:xfrm>
        <a:prstGeom prst="downArrow">
          <a:avLst>
            <a:gd name="adj1" fmla="val 55000"/>
            <a:gd name="adj2" fmla="val 45000"/>
          </a:avLst>
        </a:prstGeom>
        <a:solidFill>
          <a:schemeClr val="accent6">
            <a:alpha val="90000"/>
            <a:tint val="40000"/>
            <a:hueOff val="0"/>
            <a:satOff val="0"/>
            <a:lumOff val="0"/>
            <a:alphaOff val="-26667"/>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endParaRPr lang="zh-CN" altLang="en-US" sz="1400" kern="1200"/>
        </a:p>
      </dsp:txBody>
      <dsp:txXfrm>
        <a:off x="4880319" y="1375542"/>
        <a:ext cx="164376" cy="224895"/>
      </dsp:txXfrm>
    </dsp:sp>
    <dsp:sp modelId="{BB284D46-B58F-42E5-BC31-72EB629D215C}">
      <dsp:nvSpPr>
        <dsp:cNvPr id="0" name=""/>
        <dsp:cNvSpPr/>
      </dsp:nvSpPr>
      <dsp:spPr>
        <a:xfrm>
          <a:off x="5145206" y="1904302"/>
          <a:ext cx="298864" cy="298864"/>
        </a:xfrm>
        <a:prstGeom prst="downArrow">
          <a:avLst>
            <a:gd name="adj1" fmla="val 55000"/>
            <a:gd name="adj2" fmla="val 45000"/>
          </a:avLst>
        </a:prstGeom>
        <a:solidFill>
          <a:schemeClr val="accent6">
            <a:alpha val="90000"/>
            <a:tint val="40000"/>
            <a:hueOff val="0"/>
            <a:satOff val="0"/>
            <a:lumOff val="0"/>
            <a:alphaOff val="-4000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endParaRPr lang="zh-CN" altLang="en-US" sz="1400" kern="1200"/>
        </a:p>
      </dsp:txBody>
      <dsp:txXfrm>
        <a:off x="5212450" y="1904302"/>
        <a:ext cx="164376" cy="22489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009DC6E-5830-4E78-BA38-77D943F758A1}">
      <dsp:nvSpPr>
        <dsp:cNvPr id="0" name=""/>
        <dsp:cNvSpPr/>
      </dsp:nvSpPr>
      <dsp:spPr>
        <a:xfrm>
          <a:off x="0" y="0"/>
          <a:ext cx="4387506" cy="444493"/>
        </a:xfrm>
        <a:prstGeom prst="roundRect">
          <a:avLst>
            <a:gd name="adj" fmla="val 10000"/>
          </a:avLst>
        </a:prstGeom>
        <a:solidFill>
          <a:schemeClr val="accent6">
            <a:alpha val="9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i="1" kern="1200" dirty="0"/>
            <a:t>Decision in Process</a:t>
          </a:r>
          <a:endParaRPr lang="zh-CN" altLang="en-US" sz="2000" kern="1200" dirty="0"/>
        </a:p>
      </dsp:txBody>
      <dsp:txXfrm>
        <a:off x="13019" y="13019"/>
        <a:ext cx="3855857" cy="418455"/>
      </dsp:txXfrm>
    </dsp:sp>
    <dsp:sp modelId="{037D2D1A-1EA5-4832-A1EC-B1B255A5CA50}">
      <dsp:nvSpPr>
        <dsp:cNvPr id="0" name=""/>
        <dsp:cNvSpPr/>
      </dsp:nvSpPr>
      <dsp:spPr>
        <a:xfrm>
          <a:off x="327638" y="506228"/>
          <a:ext cx="4387506" cy="444493"/>
        </a:xfrm>
        <a:prstGeom prst="roundRect">
          <a:avLst>
            <a:gd name="adj" fmla="val 10000"/>
          </a:avLst>
        </a:prstGeom>
        <a:solidFill>
          <a:schemeClr val="accent6">
            <a:alpha val="90000"/>
            <a:hueOff val="0"/>
            <a:satOff val="0"/>
            <a:lumOff val="0"/>
            <a:alphaOff val="-1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i="1" kern="1200" dirty="0"/>
            <a:t>Minor revision/Major revision</a:t>
          </a:r>
          <a:endParaRPr lang="zh-CN" altLang="en-US" sz="2000" kern="1200" dirty="0"/>
        </a:p>
      </dsp:txBody>
      <dsp:txXfrm>
        <a:off x="340657" y="519247"/>
        <a:ext cx="3744909" cy="418455"/>
      </dsp:txXfrm>
    </dsp:sp>
    <dsp:sp modelId="{BA781BAD-54BD-4622-94C6-7112601BB36F}">
      <dsp:nvSpPr>
        <dsp:cNvPr id="0" name=""/>
        <dsp:cNvSpPr/>
      </dsp:nvSpPr>
      <dsp:spPr>
        <a:xfrm>
          <a:off x="655277" y="1012457"/>
          <a:ext cx="4387506" cy="444493"/>
        </a:xfrm>
        <a:prstGeom prst="roundRect">
          <a:avLst>
            <a:gd name="adj" fmla="val 10000"/>
          </a:avLst>
        </a:prstGeom>
        <a:solidFill>
          <a:schemeClr val="accent6">
            <a:alpha val="90000"/>
            <a:hueOff val="0"/>
            <a:satOff val="0"/>
            <a:lumOff val="0"/>
            <a:alphaOff val="-2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i="1" kern="1200" dirty="0"/>
            <a:t>Revision Submitted to Journal</a:t>
          </a:r>
          <a:endParaRPr lang="zh-CN" altLang="en-US" sz="2000" i="1" kern="1200" dirty="0"/>
        </a:p>
      </dsp:txBody>
      <dsp:txXfrm>
        <a:off x="668296" y="1025476"/>
        <a:ext cx="3744909" cy="418455"/>
      </dsp:txXfrm>
    </dsp:sp>
    <dsp:sp modelId="{7B0E5CD9-FF45-44FD-AF22-1B35C5DF7986}">
      <dsp:nvSpPr>
        <dsp:cNvPr id="0" name=""/>
        <dsp:cNvSpPr/>
      </dsp:nvSpPr>
      <dsp:spPr>
        <a:xfrm>
          <a:off x="982915" y="1518685"/>
          <a:ext cx="4387506" cy="444493"/>
        </a:xfrm>
        <a:prstGeom prst="roundRect">
          <a:avLst>
            <a:gd name="adj" fmla="val 10000"/>
          </a:avLst>
        </a:prstGeom>
        <a:solidFill>
          <a:schemeClr val="accent6">
            <a:alpha val="90000"/>
            <a:hueOff val="0"/>
            <a:satOff val="0"/>
            <a:lumOff val="0"/>
            <a:alphaOff val="-3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sz="2000" i="1" kern="1200" dirty="0"/>
            <a:t>Accept</a:t>
          </a:r>
          <a:endParaRPr lang="zh-CN" altLang="en-US" sz="2000" kern="1200" dirty="0"/>
        </a:p>
      </dsp:txBody>
      <dsp:txXfrm>
        <a:off x="995934" y="1531704"/>
        <a:ext cx="3744909" cy="418455"/>
      </dsp:txXfrm>
    </dsp:sp>
    <dsp:sp modelId="{7EB46F54-8D14-4167-90AD-7C199AA2791F}">
      <dsp:nvSpPr>
        <dsp:cNvPr id="0" name=""/>
        <dsp:cNvSpPr/>
      </dsp:nvSpPr>
      <dsp:spPr>
        <a:xfrm>
          <a:off x="1310554" y="2024914"/>
          <a:ext cx="4387506" cy="444493"/>
        </a:xfrm>
        <a:prstGeom prst="roundRect">
          <a:avLst>
            <a:gd name="adj" fmla="val 10000"/>
          </a:avLst>
        </a:prstGeom>
        <a:solidFill>
          <a:schemeClr val="accent6">
            <a:alpha val="90000"/>
            <a:hueOff val="0"/>
            <a:satOff val="0"/>
            <a:lumOff val="0"/>
            <a:alpha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l" defTabSz="889000">
            <a:lnSpc>
              <a:spcPct val="90000"/>
            </a:lnSpc>
            <a:spcBef>
              <a:spcPct val="0"/>
            </a:spcBef>
            <a:spcAft>
              <a:spcPct val="35000"/>
            </a:spcAft>
          </a:pPr>
          <a:r>
            <a:rPr lang="en-US" altLang="zh-CN" sz="2000" i="1" kern="1200" dirty="0"/>
            <a:t>Reject</a:t>
          </a:r>
          <a:endParaRPr lang="zh-CN" altLang="en-US" sz="2000" kern="1200" dirty="0"/>
        </a:p>
      </dsp:txBody>
      <dsp:txXfrm>
        <a:off x="1323573" y="2037933"/>
        <a:ext cx="3744909" cy="418455"/>
      </dsp:txXfrm>
    </dsp:sp>
    <dsp:sp modelId="{310E433F-F169-47D6-ACBF-0DC07195C1C2}">
      <dsp:nvSpPr>
        <dsp:cNvPr id="0" name=""/>
        <dsp:cNvSpPr/>
      </dsp:nvSpPr>
      <dsp:spPr>
        <a:xfrm>
          <a:off x="4098586" y="324727"/>
          <a:ext cx="288920" cy="288920"/>
        </a:xfrm>
        <a:prstGeom prst="downArrow">
          <a:avLst>
            <a:gd name="adj1" fmla="val 55000"/>
            <a:gd name="adj2" fmla="val 45000"/>
          </a:avLst>
        </a:prstGeom>
        <a:solidFill>
          <a:schemeClr val="accent6">
            <a:alpha val="90000"/>
            <a:tint val="40000"/>
            <a:hueOff val="0"/>
            <a:satOff val="0"/>
            <a:lumOff val="0"/>
            <a:alphaOff val="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endParaRPr lang="zh-CN" altLang="en-US" sz="1300" kern="1200"/>
        </a:p>
      </dsp:txBody>
      <dsp:txXfrm>
        <a:off x="4163593" y="324727"/>
        <a:ext cx="158906" cy="217412"/>
      </dsp:txXfrm>
    </dsp:sp>
    <dsp:sp modelId="{43FF4A5D-CD63-4970-9953-D0DD76EBDB76}">
      <dsp:nvSpPr>
        <dsp:cNvPr id="0" name=""/>
        <dsp:cNvSpPr/>
      </dsp:nvSpPr>
      <dsp:spPr>
        <a:xfrm>
          <a:off x="4426224" y="830955"/>
          <a:ext cx="288920" cy="288920"/>
        </a:xfrm>
        <a:prstGeom prst="downArrow">
          <a:avLst>
            <a:gd name="adj1" fmla="val 55000"/>
            <a:gd name="adj2" fmla="val 45000"/>
          </a:avLst>
        </a:prstGeom>
        <a:solidFill>
          <a:schemeClr val="accent6">
            <a:alpha val="90000"/>
            <a:tint val="40000"/>
            <a:hueOff val="0"/>
            <a:satOff val="0"/>
            <a:lumOff val="0"/>
            <a:alphaOff val="-13333"/>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endParaRPr lang="zh-CN" altLang="en-US" sz="1300" kern="1200"/>
        </a:p>
      </dsp:txBody>
      <dsp:txXfrm>
        <a:off x="4491231" y="830955"/>
        <a:ext cx="158906" cy="217412"/>
      </dsp:txXfrm>
    </dsp:sp>
    <dsp:sp modelId="{73BE32B3-EF42-46E7-A7A5-DB23B0103F87}">
      <dsp:nvSpPr>
        <dsp:cNvPr id="0" name=""/>
        <dsp:cNvSpPr/>
      </dsp:nvSpPr>
      <dsp:spPr>
        <a:xfrm>
          <a:off x="4753863" y="1329776"/>
          <a:ext cx="288920" cy="288920"/>
        </a:xfrm>
        <a:prstGeom prst="downArrow">
          <a:avLst>
            <a:gd name="adj1" fmla="val 55000"/>
            <a:gd name="adj2" fmla="val 45000"/>
          </a:avLst>
        </a:prstGeom>
        <a:solidFill>
          <a:schemeClr val="accent6">
            <a:alpha val="90000"/>
            <a:tint val="40000"/>
            <a:hueOff val="0"/>
            <a:satOff val="0"/>
            <a:lumOff val="0"/>
            <a:alphaOff val="-26667"/>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endParaRPr lang="zh-CN" altLang="en-US" sz="1300" kern="1200"/>
        </a:p>
      </dsp:txBody>
      <dsp:txXfrm>
        <a:off x="4818870" y="1329776"/>
        <a:ext cx="158906" cy="217412"/>
      </dsp:txXfrm>
    </dsp:sp>
    <dsp:sp modelId="{BB284D46-B58F-42E5-BC31-72EB629D215C}">
      <dsp:nvSpPr>
        <dsp:cNvPr id="0" name=""/>
        <dsp:cNvSpPr/>
      </dsp:nvSpPr>
      <dsp:spPr>
        <a:xfrm>
          <a:off x="5081501" y="1813763"/>
          <a:ext cx="288920" cy="343281"/>
        </a:xfrm>
        <a:prstGeom prst="upDownArrow">
          <a:avLst/>
        </a:prstGeom>
        <a:solidFill>
          <a:schemeClr val="accent6">
            <a:alpha val="90000"/>
            <a:tint val="40000"/>
            <a:hueOff val="0"/>
            <a:satOff val="0"/>
            <a:lumOff val="0"/>
            <a:alphaOff val="-40000"/>
          </a:schemeClr>
        </a:solidFill>
        <a:ln w="25400" cap="flat" cmpd="sng" algn="ctr">
          <a:solidFill>
            <a:schemeClr val="accent6">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endParaRPr lang="zh-CN" altLang="en-US" sz="1200" kern="1200"/>
        </a:p>
      </dsp:txBody>
      <dsp:txXfrm>
        <a:off x="5153731" y="1885993"/>
        <a:ext cx="144460" cy="198821"/>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pyraLvlNode" val="level"/>
          <dgm:param type="pyraAcctTxNode" val="acctTx"/>
          <dgm:param type="pyraAcctBkgdNode" val="acctBkgd"/>
          <dgm:param type="linDir" val="fromB"/>
          <dgm:param type="txDir" val="fromT"/>
          <dgm:param type="pyraAcctPos" val="aft"/>
          <dgm:param type="pyraAcctTxMar" val="step"/>
        </dgm:alg>
      </dgm:if>
      <dgm:else name="Name3">
        <dgm:alg type="pyra">
          <dgm:param type="pyraLvlNode" val="level"/>
          <dgm:param type="pyraAcctTxNode" val="acctTx"/>
          <dgm:param type="pyraAcctBkgdNode" val="acctBkgd"/>
          <dgm:param type="linDir" val="fromB"/>
          <dgm:param type="txDir" val="fromT"/>
          <dgm:param type="pyraAcctPos" val="bef"/>
          <dgm:param type="pyraAcctTxMar" val="step"/>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pyraLvlNode" val="level"/>
          <dgm:param type="pyraAcctTxNode" val="acctTx"/>
          <dgm:param type="pyraAcctBkgdNode" val="acctBkgd"/>
          <dgm:param type="linDir" val="fromB"/>
          <dgm:param type="txDir" val="fromT"/>
          <dgm:param type="pyraAcctPos" val="aft"/>
          <dgm:param type="pyraAcctTxMar" val="step"/>
        </dgm:alg>
      </dgm:if>
      <dgm:else name="Name3">
        <dgm:alg type="pyra">
          <dgm:param type="pyraLvlNode" val="level"/>
          <dgm:param type="pyraAcctTxNode" val="acctTx"/>
          <dgm:param type="pyraAcctBkgdNode" val="acctBkgd"/>
          <dgm:param type="linDir" val="fromB"/>
          <dgm:param type="txDir" val="fromT"/>
          <dgm:param type="pyraAcctPos" val="bef"/>
          <dgm:param type="pyraAcctTxMar" val="step"/>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pyraLvlNode" val="level"/>
          <dgm:param type="pyraAcctTxNode" val="acctTx"/>
          <dgm:param type="pyraAcctBkgdNode" val="acctBkgd"/>
          <dgm:param type="linDir" val="fromB"/>
          <dgm:param type="txDir" val="fromT"/>
          <dgm:param type="pyraAcctPos" val="aft"/>
          <dgm:param type="pyraAcctTxMar" val="step"/>
        </dgm:alg>
      </dgm:if>
      <dgm:else name="Name3">
        <dgm:alg type="pyra">
          <dgm:param type="pyraLvlNode" val="level"/>
          <dgm:param type="pyraAcctTxNode" val="acctTx"/>
          <dgm:param type="pyraAcctBkgdNode" val="acctBkgd"/>
          <dgm:param type="linDir" val="fromB"/>
          <dgm:param type="txDir" val="fromT"/>
          <dgm:param type="pyraAcctPos" val="bef"/>
          <dgm:param type="pyraAcctTxMar" val="step"/>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5.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txPr/>
    <dgm:style>
      <a:lnRef idx="2">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1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657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848645" y="0"/>
            <a:ext cx="2944283" cy="496570"/>
          </a:xfrm>
          <a:prstGeom prst="rect">
            <a:avLst/>
          </a:prstGeom>
        </p:spPr>
        <p:txBody>
          <a:bodyPr vert="horz" lIns="93177" tIns="46589" rIns="93177" bIns="46589" rtlCol="0"/>
          <a:lstStyle>
            <a:lvl1pPr algn="r">
              <a:defRPr sz="1200"/>
            </a:lvl1pPr>
          </a:lstStyle>
          <a:p>
            <a:fld id="{68792803-2B55-4255-B49F-36758047C6CD}" type="datetimeFigureOut">
              <a:rPr lang="en-US" smtClean="0"/>
            </a:fld>
            <a:endParaRPr lang="en-US" dirty="0"/>
          </a:p>
        </p:txBody>
      </p:sp>
      <p:sp>
        <p:nvSpPr>
          <p:cNvPr id="4" name="Slide Image Placeholder 3"/>
          <p:cNvSpPr>
            <a:spLocks noGrp="1" noRot="1" noChangeAspect="1"/>
          </p:cNvSpPr>
          <p:nvPr>
            <p:ph type="sldImg" idx="2"/>
          </p:nvPr>
        </p:nvSpPr>
        <p:spPr>
          <a:xfrm>
            <a:off x="914400" y="744538"/>
            <a:ext cx="4965700" cy="3724275"/>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679450" y="4717415"/>
            <a:ext cx="5435600" cy="4469130"/>
          </a:xfrm>
          <a:prstGeom prst="rect">
            <a:avLst/>
          </a:prstGeom>
        </p:spPr>
        <p:txBody>
          <a:bodyPr vert="horz" lIns="93177" tIns="46589" rIns="93177" bIns="46589" rtlCol="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Footer Placeholder 5"/>
          <p:cNvSpPr>
            <a:spLocks noGrp="1"/>
          </p:cNvSpPr>
          <p:nvPr>
            <p:ph type="ftr" sz="quarter" idx="4"/>
          </p:nvPr>
        </p:nvSpPr>
        <p:spPr>
          <a:xfrm>
            <a:off x="0" y="9433107"/>
            <a:ext cx="2944283" cy="49657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48645" y="9433107"/>
            <a:ext cx="2944283" cy="496570"/>
          </a:xfrm>
          <a:prstGeom prst="rect">
            <a:avLst/>
          </a:prstGeom>
        </p:spPr>
        <p:txBody>
          <a:bodyPr vert="horz" lIns="93177" tIns="46589" rIns="93177" bIns="46589" rtlCol="0" anchor="b"/>
          <a:lstStyle>
            <a:lvl1pPr algn="r">
              <a:defRPr sz="1200"/>
            </a:lvl1pPr>
          </a:lstStyle>
          <a:p>
            <a:fld id="{8BBA3215-12F3-4705-BC1C-BA4F0BBF337B}" type="slidenum">
              <a:rPr lang="en-US" smtClean="0"/>
            </a:fld>
            <a:endParaRPr lang="en-US" dirty="0"/>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1.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7.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8.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9.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0.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1.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2.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3.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4.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6.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8.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0.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1.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3.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4.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5.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6.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1.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2.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3.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4.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5.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6.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7.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8.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Publisher neutral</a:t>
            </a:r>
            <a:endParaRPr lang="en-US" dirty="0"/>
          </a:p>
        </p:txBody>
      </p:sp>
      <p:sp>
        <p:nvSpPr>
          <p:cNvPr id="4" name="Slide Number Placeholder 3"/>
          <p:cNvSpPr>
            <a:spLocks noGrp="1"/>
          </p:cNvSpPr>
          <p:nvPr>
            <p:ph type="sldNum" sz="quarter" idx="10"/>
          </p:nvPr>
        </p:nvSpPr>
        <p:spPr/>
        <p:txBody>
          <a:bodyPr/>
          <a:lstStyle/>
          <a:p>
            <a:fld id="{953AC270-AC5F-3C4A-8BE2-E88211726A7D}" type="slidenum">
              <a:rPr lang="en-US" smtClean="0"/>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a:t>
            </a:r>
            <a:r>
              <a:rPr lang="en-GB" baseline="0" dirty="0"/>
              <a:t> can also think about what is going on here in terms of a product hierarchy starting with broad foundations at the bottom represented by Reference Modules or Major Reference Works (MRWs) that presents a comprehensive introduction to established knowledge relating to a subject and an ideal entry point for someone unfamiliar with a topic that quickly need to get up to speed and that provides useful links to further reading.</a:t>
            </a:r>
            <a:endParaRPr lang="en-GB" baseline="0" dirty="0"/>
          </a:p>
          <a:p>
            <a:r>
              <a:rPr lang="en-GB" baseline="0" dirty="0"/>
              <a:t>Moving up the pyramid hierarchy the content becomes gradually more specific and focussed until you get to journals articles that are usually very narrow in focus and provide more detail about more recent findings or theories – often journal represent a number of ‘cutting edge theories’ and approaches on the same subject and can also be seen as ‘work in progress’ or not yet universally established knowledge but essential for new scientific discovery.</a:t>
            </a:r>
            <a:endParaRPr lang="en-GB" dirty="0"/>
          </a:p>
        </p:txBody>
      </p:sp>
      <p:sp>
        <p:nvSpPr>
          <p:cNvPr id="4" name="Slide Number Placeholder 3"/>
          <p:cNvSpPr>
            <a:spLocks noGrp="1"/>
          </p:cNvSpPr>
          <p:nvPr>
            <p:ph type="sldNum" sz="quarter" idx="10"/>
          </p:nvPr>
        </p:nvSpPr>
        <p:spPr/>
        <p:txBody>
          <a:bodyPr/>
          <a:lstStyle/>
          <a:p>
            <a:fld id="{F981F8ED-CEC2-4A76-85B5-D62B57BD95D5}" type="slidenum">
              <a:rPr lang="en-US" smtClean="0"/>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dirty="0"/>
              <a:t>When</a:t>
            </a:r>
            <a:r>
              <a:rPr lang="en-US" baseline="0" dirty="0"/>
              <a:t> we take a global view and review all publications from all publishers between 2010 and 2014: certain figures are worth calling out. While Elsevier only accounts for 21% of all global scientific publications, we have a higher percentage of both references and citations. With an average of 24 citations per paper (25% of all global citations); and with Elsevier accounting for 27% of all cited references between 2010-2014, this provides a valuable testimony to the relevance and impact of our content. </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More than &gt; 60% of visits to</a:t>
            </a:r>
            <a:r>
              <a:rPr lang="en-GB" baseline="0" dirty="0"/>
              <a:t> this page results in no action</a:t>
            </a:r>
            <a:endParaRPr lang="en-GB" baseline="0" dirty="0"/>
          </a:p>
          <a:p>
            <a:r>
              <a:rPr lang="en-GB" baseline="0" dirty="0"/>
              <a:t>Users find it so complicated that a majority just give up doing any search</a:t>
            </a:r>
            <a:endParaRPr lang="en-GB" baseline="0" dirty="0"/>
          </a:p>
          <a:p>
            <a:endParaRPr lang="en-GB" baseline="0" dirty="0"/>
          </a:p>
          <a:p>
            <a:r>
              <a:rPr lang="en-GB" baseline="0" dirty="0"/>
              <a:t>High cognitive load. Cluttered UI</a:t>
            </a:r>
            <a:endParaRPr lang="en-GB" baseline="0" dirty="0"/>
          </a:p>
        </p:txBody>
      </p:sp>
      <p:sp>
        <p:nvSpPr>
          <p:cNvPr id="4" name="Slide Number Placeholder 3"/>
          <p:cNvSpPr>
            <a:spLocks noGrp="1"/>
          </p:cNvSpPr>
          <p:nvPr>
            <p:ph type="sldNum" sz="quarter" idx="10"/>
          </p:nvPr>
        </p:nvSpPr>
        <p:spPr/>
        <p:txBody>
          <a:bodyPr/>
          <a:lstStyle/>
          <a:p>
            <a:fld id="{953AC270-AC5F-3C4A-8BE2-E88211726A7D}" type="slidenum">
              <a:rPr lang="en-US" smtClean="0"/>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53AC270-AC5F-3C4A-8BE2-E88211726A7D}" type="slidenum">
              <a:rPr lang="en-US" smtClean="0"/>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rticle recommender is based on a powerful</a:t>
            </a:r>
            <a:r>
              <a:rPr lang="en-US" baseline="0" dirty="0"/>
              <a:t> algorithm that guides the content discovery process – picking up on researcher’s reading patterns, and recommending appropriate content.</a:t>
            </a:r>
            <a:endParaRPr lang="en-US" baseline="0" dirty="0"/>
          </a:p>
          <a:p>
            <a:endParaRPr lang="en-US" baseline="0" dirty="0"/>
          </a:p>
          <a:p>
            <a:pPr marL="0" indent="0">
              <a:buFontTx/>
              <a:buNone/>
            </a:pPr>
            <a:r>
              <a:rPr lang="en-US" dirty="0"/>
              <a:t>The</a:t>
            </a:r>
            <a:r>
              <a:rPr lang="en-US" baseline="0" dirty="0"/>
              <a:t> </a:t>
            </a:r>
            <a:r>
              <a:rPr lang="en-US" dirty="0"/>
              <a:t>recommender is based on combination of: </a:t>
            </a:r>
            <a:endParaRPr lang="en-US" dirty="0"/>
          </a:p>
          <a:p>
            <a:pPr>
              <a:buFontTx/>
              <a:buChar char="-"/>
            </a:pPr>
            <a:r>
              <a:rPr lang="en-US" dirty="0"/>
              <a:t>Primary: </a:t>
            </a:r>
            <a:r>
              <a:rPr lang="en-US" dirty="0" err="1"/>
              <a:t>ScienceDirect</a:t>
            </a:r>
            <a:r>
              <a:rPr lang="en-US" dirty="0"/>
              <a:t> user behavior</a:t>
            </a:r>
            <a:endParaRPr lang="en-US" dirty="0"/>
          </a:p>
          <a:p>
            <a:pPr>
              <a:buFontTx/>
              <a:buChar char="-"/>
            </a:pPr>
            <a:r>
              <a:rPr lang="en-US" dirty="0"/>
              <a:t>Secondary: Scopus journal citations</a:t>
            </a:r>
            <a:endParaRPr lang="en-US" dirty="0"/>
          </a:p>
          <a:p>
            <a:pPr marL="0" indent="0">
              <a:buNone/>
            </a:pPr>
            <a:endParaRPr lang="en-US" i="1" dirty="0"/>
          </a:p>
          <a:p>
            <a:pPr marL="0" indent="0">
              <a:buNone/>
            </a:pPr>
            <a:r>
              <a:rPr lang="en-US" i="1" dirty="0"/>
              <a:t>“Others who have read this article mostly read the following…”</a:t>
            </a:r>
            <a:endParaRPr lang="en-US" i="1" dirty="0"/>
          </a:p>
          <a:p>
            <a:pPr marL="0" indent="0">
              <a:buNone/>
            </a:pPr>
            <a:endParaRPr lang="en-US" i="1" dirty="0"/>
          </a:p>
          <a:p>
            <a:pPr marL="0" indent="0">
              <a:buNone/>
            </a:pPr>
            <a:r>
              <a:rPr lang="en-US" dirty="0"/>
              <a:t>Result: clicks to recommended articles go up by as much as 50% to 70%</a:t>
            </a:r>
            <a:endParaRPr lang="en-US" dirty="0"/>
          </a:p>
        </p:txBody>
      </p:sp>
      <p:sp>
        <p:nvSpPr>
          <p:cNvPr id="4" name="Slide Number Placeholder 3"/>
          <p:cNvSpPr>
            <a:spLocks noGrp="1"/>
          </p:cNvSpPr>
          <p:nvPr>
            <p:ph type="sldNum" sz="quarter" idx="10"/>
          </p:nvPr>
        </p:nvSpPr>
        <p:spPr/>
        <p:txBody>
          <a:bodyPr/>
          <a:lstStyle/>
          <a:p>
            <a:fld id="{0B5F498A-6B26-4993-86E8-6BEF4E6B8A90}" type="slidenum">
              <a:rPr lang="en-US" smtClean="0">
                <a:solidFill>
                  <a:prstClr val="black"/>
                </a:solidFill>
                <a:latin typeface="Calibri" panose="020F0502020204030204"/>
              </a:rPr>
            </a:fld>
            <a:endParaRPr lang="en-US">
              <a:solidFill>
                <a:prstClr val="black"/>
              </a:solidFill>
              <a:latin typeface="Calibri" panose="020F0502020204030204"/>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en the SD homepage,</a:t>
            </a:r>
            <a:r>
              <a:rPr lang="en-US" baseline="0" dirty="0"/>
              <a:t> click on the right up button, the activate remote access button would appear. </a:t>
            </a:r>
            <a:endParaRPr lang="en-US" baseline="0" dirty="0"/>
          </a:p>
          <a:p>
            <a:r>
              <a:rPr lang="en-US" baseline="0" dirty="0"/>
              <a:t>Click the activate remote access button.</a:t>
            </a:r>
            <a:endParaRPr lang="en-US" dirty="0"/>
          </a:p>
        </p:txBody>
      </p:sp>
      <p:sp>
        <p:nvSpPr>
          <p:cNvPr id="4" name="Slide Number Placeholder 3"/>
          <p:cNvSpPr>
            <a:spLocks noGrp="1"/>
          </p:cNvSpPr>
          <p:nvPr>
            <p:ph type="sldNum" sz="quarter" idx="10"/>
          </p:nvPr>
        </p:nvSpPr>
        <p:spPr/>
        <p:txBody>
          <a:bodyPr/>
          <a:lstStyle/>
          <a:p>
            <a:fld id="{6C51B4E8-8C54-46B7-BDF2-C3F824A50093}" type="slidenum">
              <a:rPr lang="en-US" smtClean="0">
                <a:solidFill>
                  <a:prstClr val="black"/>
                </a:solidFill>
              </a:rPr>
            </a:fld>
            <a:endParaRPr lang="en-US">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a:buChar char="•"/>
            </a:pPr>
            <a:r>
              <a:rPr lang="en-US" dirty="0"/>
              <a:t>Based on our collection of user behavior data and</a:t>
            </a:r>
            <a:r>
              <a:rPr lang="en-US" baseline="0" dirty="0"/>
              <a:t> detailed user research </a:t>
            </a:r>
            <a:r>
              <a:rPr lang="en-US" dirty="0"/>
              <a:t>, we know that a researcher’s workflow has become more complex than ever.</a:t>
            </a:r>
            <a:endParaRPr lang="en-US" dirty="0"/>
          </a:p>
          <a:p>
            <a:endParaRPr lang="en-US" dirty="0"/>
          </a:p>
          <a:p>
            <a:pPr marL="171450" indent="-171450">
              <a:buFont typeface="Arial" panose="020B0604020202020204"/>
              <a:buChar char="•"/>
            </a:pPr>
            <a:r>
              <a:rPr lang="en-US" dirty="0"/>
              <a:t>Not only has it become more interdisciplinary, but the user now covers a wider range of content during each research session</a:t>
            </a:r>
            <a:endParaRPr lang="en-US" dirty="0"/>
          </a:p>
          <a:p>
            <a:pPr marL="171450" indent="-171450">
              <a:buFont typeface="Arial" panose="020B0604020202020204"/>
              <a:buChar char="•"/>
            </a:pPr>
            <a:endParaRPr lang="en-US" dirty="0"/>
          </a:p>
          <a:p>
            <a:pPr marL="171450" indent="-171450">
              <a:buFont typeface="Arial" panose="020B0604020202020204"/>
              <a:buChar char="•"/>
            </a:pPr>
            <a:r>
              <a:rPr lang="en-US" dirty="0"/>
              <a:t>We also found that finding the most relevant content</a:t>
            </a:r>
            <a:r>
              <a:rPr lang="en-US" baseline="0" dirty="0"/>
              <a:t> is becoming more difficult </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C5A66900-D62A-C444-B68E-C5CC1A713EF6}" type="slidenum">
              <a:rPr lang="en-US" smtClean="0"/>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 typeface="Arial" panose="020B0604020202020204"/>
              <a:buNone/>
              <a:defRPr/>
            </a:pPr>
            <a:r>
              <a:rPr lang="en-US" dirty="0"/>
              <a:t>Interdisciplinary</a:t>
            </a:r>
            <a:r>
              <a:rPr lang="en-US" baseline="0" dirty="0"/>
              <a:t> or multi-disciplinary research is a growing trend and challenge for our users – and </a:t>
            </a:r>
            <a:r>
              <a:rPr lang="en-GB" sz="900" dirty="0"/>
              <a:t>Researchers have a pressing need to get up-to-speed quickly in new fields and disciplines  </a:t>
            </a:r>
            <a:endParaRPr lang="en-GB" sz="900" dirty="0"/>
          </a:p>
          <a:p>
            <a:pPr marL="0" marR="0" lvl="0" indent="0" algn="l" defTabSz="457200" rtl="0" eaLnBrk="1" fontAlgn="auto" latinLnBrk="0" hangingPunct="1">
              <a:lnSpc>
                <a:spcPct val="100000"/>
              </a:lnSpc>
              <a:spcBef>
                <a:spcPts val="0"/>
              </a:spcBef>
              <a:spcAft>
                <a:spcPts val="0"/>
              </a:spcAft>
              <a:buClrTx/>
              <a:buSzTx/>
              <a:buFont typeface="Arial" panose="020B0604020202020204"/>
              <a:buNone/>
              <a:defRPr/>
            </a:pPr>
            <a:r>
              <a:rPr lang="en-GB" sz="900" baseline="0" dirty="0"/>
              <a:t>Some facts:</a:t>
            </a:r>
            <a:endParaRPr lang="en-US" baseline="0" dirty="0"/>
          </a:p>
          <a:p>
            <a:pPr marL="0" indent="0">
              <a:buFont typeface="Arial" panose="020B0604020202020204"/>
              <a:buNone/>
            </a:pPr>
            <a:endParaRPr lang="en-US" dirty="0"/>
          </a:p>
          <a:p>
            <a:pPr marL="171450" indent="-171450">
              <a:buFont typeface="Arial" panose="020B0604020202020204"/>
              <a:buChar char="•"/>
            </a:pPr>
            <a:r>
              <a:rPr lang="en-US" dirty="0"/>
              <a:t>Globally, 46% of researchers are looking outside their immediate field more than once a work</a:t>
            </a:r>
            <a:endParaRPr lang="en-US" dirty="0"/>
          </a:p>
          <a:p>
            <a:pPr marL="628650" lvl="1" indent="-171450">
              <a:buFont typeface="Arial" panose="020B0604020202020204"/>
              <a:buChar char="•"/>
            </a:pPr>
            <a:r>
              <a:rPr lang="en-US" dirty="0"/>
              <a:t>20% of researchers are doing this several times a week</a:t>
            </a:r>
            <a:endParaRPr lang="en-US" dirty="0"/>
          </a:p>
          <a:p>
            <a:pPr marL="171450" indent="-171450">
              <a:buFont typeface="Arial" panose="020B0604020202020204"/>
              <a:buChar char="•"/>
            </a:pPr>
            <a:r>
              <a:rPr lang="en-US" dirty="0"/>
              <a:t>Each year, 46% of researchers look to work with collaborators outside their discipline</a:t>
            </a:r>
            <a:endParaRPr lang="en-US" dirty="0"/>
          </a:p>
          <a:p>
            <a:pPr marL="171450" indent="-171450">
              <a:buFont typeface="Arial" panose="020B0604020202020204"/>
              <a:buChar char="•"/>
            </a:pPr>
            <a:r>
              <a:rPr lang="en-US" dirty="0"/>
              <a:t>Interdisciplinary work involves new subjects, unexpected processes and dense jargon, forcing researchers onto unfamiliar terrain</a:t>
            </a:r>
            <a:endParaRPr lang="en-US" dirty="0"/>
          </a:p>
          <a:p>
            <a:endParaRPr lang="en-US" dirty="0"/>
          </a:p>
        </p:txBody>
      </p:sp>
      <p:sp>
        <p:nvSpPr>
          <p:cNvPr id="4" name="Slide Number Placeholder 3"/>
          <p:cNvSpPr>
            <a:spLocks noGrp="1"/>
          </p:cNvSpPr>
          <p:nvPr>
            <p:ph type="sldNum" sz="quarter" idx="10"/>
          </p:nvPr>
        </p:nvSpPr>
        <p:spPr/>
        <p:txBody>
          <a:bodyPr/>
          <a:lstStyle/>
          <a:p>
            <a:fld id="{C5A66900-D62A-C444-B68E-C5CC1A713EF6}" type="slidenum">
              <a:rPr lang="en-US" smtClean="0"/>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dirty="0"/>
              <a:t>Engineering Village is an online search </a:t>
            </a:r>
            <a:r>
              <a:rPr lang="en-US" b="1" u="sng" dirty="0"/>
              <a:t>platform</a:t>
            </a:r>
            <a:r>
              <a:rPr lang="en-US" dirty="0"/>
              <a:t> designed to meet the </a:t>
            </a:r>
            <a:r>
              <a:rPr lang="en-US" b="1" u="sng" dirty="0"/>
              <a:t>information needs of engineering researchers</a:t>
            </a:r>
            <a:r>
              <a:rPr lang="en-US" dirty="0"/>
              <a:t> through: </a:t>
            </a:r>
            <a:endParaRPr lang="en-US" dirty="0"/>
          </a:p>
          <a:p>
            <a:pPr marL="224155" indent="-224155">
              <a:buFont typeface="+mj-lt"/>
              <a:buAutoNum type="arabicPeriod"/>
              <a:defRPr/>
            </a:pPr>
            <a:r>
              <a:rPr lang="en-US" dirty="0"/>
              <a:t>specialized database content </a:t>
            </a:r>
            <a:endParaRPr lang="en-US" dirty="0"/>
          </a:p>
          <a:p>
            <a:pPr marL="224155" indent="-224155">
              <a:buFont typeface="+mj-lt"/>
              <a:buAutoNum type="arabicPeriod"/>
              <a:defRPr/>
            </a:pPr>
            <a:r>
              <a:rPr lang="en-US" dirty="0"/>
              <a:t> subject-specific indexing</a:t>
            </a:r>
            <a:endParaRPr lang="en-US" dirty="0"/>
          </a:p>
          <a:p>
            <a:pPr marL="224155" indent="-224155">
              <a:buFont typeface="+mj-lt"/>
              <a:buAutoNum type="arabicPeriod"/>
              <a:defRPr/>
            </a:pPr>
            <a:r>
              <a:rPr lang="en-US" dirty="0"/>
              <a:t> powerful search features </a:t>
            </a:r>
            <a:endParaRPr lang="en-US" dirty="0"/>
          </a:p>
          <a:p>
            <a:pPr>
              <a:defRPr/>
            </a:pPr>
            <a:r>
              <a:rPr lang="en-US" dirty="0"/>
              <a:t>that provide context and insight to facilitate discovery.</a:t>
            </a:r>
            <a:endParaRPr lang="en-US" dirty="0"/>
          </a:p>
          <a:p>
            <a:pPr>
              <a:defRPr/>
            </a:pPr>
            <a:endParaRPr lang="en-US" dirty="0"/>
          </a:p>
          <a:p>
            <a:pPr>
              <a:defRPr/>
            </a:pPr>
            <a:endParaRPr lang="en-US" dirty="0"/>
          </a:p>
          <a:p>
            <a:endParaRPr lang="en-US" dirty="0"/>
          </a:p>
        </p:txBody>
      </p:sp>
      <p:sp>
        <p:nvSpPr>
          <p:cNvPr id="4" name="Slide Number Placeholder 3"/>
          <p:cNvSpPr>
            <a:spLocks noGrp="1"/>
          </p:cNvSpPr>
          <p:nvPr>
            <p:ph type="sldNum" sz="quarter" idx="10"/>
          </p:nvPr>
        </p:nvSpPr>
        <p:spPr/>
        <p:txBody>
          <a:bodyPr/>
          <a:lstStyle/>
          <a:p>
            <a:fld id="{953AC270-AC5F-3C4A-8BE2-E88211726A7D}" type="slidenum">
              <a:rPr lang="en-US" smtClean="0">
                <a:solidFill>
                  <a:prstClr val="black"/>
                </a:solidFill>
              </a:rPr>
            </a:fld>
            <a:endParaRPr lang="en-US">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2650" y="714375"/>
            <a:ext cx="4881563" cy="3662363"/>
          </a:xfrm>
        </p:spPr>
      </p:sp>
      <p:sp>
        <p:nvSpPr>
          <p:cNvPr id="3" name="Notes Placeholder 2"/>
          <p:cNvSpPr>
            <a:spLocks noGrp="1"/>
          </p:cNvSpPr>
          <p:nvPr>
            <p:ph type="body" idx="1"/>
          </p:nvPr>
        </p:nvSpPr>
        <p:spPr>
          <a:xfrm>
            <a:off x="664679" y="4658170"/>
            <a:ext cx="5317435" cy="4395866"/>
          </a:xfrm>
        </p:spPr>
        <p:txBody>
          <a:bodyPr/>
          <a:lstStyle/>
          <a:p>
            <a:r>
              <a:rPr lang="en-GB" dirty="0"/>
              <a:t>So building on that idea we created</a:t>
            </a:r>
            <a:r>
              <a:rPr lang="en-GB" baseline="0" dirty="0"/>
              <a:t> a concept prototype that we tested with users </a:t>
            </a:r>
            <a:endParaRPr lang="en-GB" baseline="0" dirty="0"/>
          </a:p>
          <a:p>
            <a:endParaRPr lang="en-GB" baseline="0" dirty="0"/>
          </a:p>
          <a:p>
            <a:r>
              <a:rPr lang="en-GB" baseline="0" dirty="0"/>
              <a:t>The prototype was centred on a common interdisciplinary use case that we had heard regular in user interviews – ‘I want to understand the journal article’ </a:t>
            </a:r>
            <a:endParaRPr lang="en-GB" baseline="0" dirty="0"/>
          </a:p>
          <a:p>
            <a:endParaRPr lang="en-GB" baseline="0" dirty="0"/>
          </a:p>
          <a:p>
            <a:r>
              <a:rPr lang="en-GB" baseline="0" dirty="0"/>
              <a:t>The scenario is that a researcher finds a term in an article that they are unfamiliar with – instead of providing a list of all content that relates to that concept, we signpost the content based on the problem it solves for that specific  user – so latest developments, methods, fundamentals or definitions – this allows the user to more clearly navigate to the most relevant content for them</a:t>
            </a:r>
            <a:endParaRPr lang="en-GB" baseline="0" dirty="0"/>
          </a:p>
          <a:p>
            <a:endParaRPr lang="en-GB" baseline="0" dirty="0"/>
          </a:p>
          <a:p>
            <a:r>
              <a:rPr lang="en-GB" baseline="0" dirty="0"/>
              <a:t>This is the basic principle we are building our solution from – a user-centric view of the content </a:t>
            </a:r>
            <a:endParaRPr lang="en-GB" dirty="0"/>
          </a:p>
        </p:txBody>
      </p:sp>
      <p:sp>
        <p:nvSpPr>
          <p:cNvPr id="4" name="Slide Number Placeholder 3"/>
          <p:cNvSpPr>
            <a:spLocks noGrp="1"/>
          </p:cNvSpPr>
          <p:nvPr>
            <p:ph type="sldNum" sz="quarter" idx="10"/>
          </p:nvPr>
        </p:nvSpPr>
        <p:spPr/>
        <p:txBody>
          <a:bodyPr/>
          <a:lstStyle/>
          <a:p>
            <a:fld id="{F981F8ED-CEC2-4A76-85B5-D62B57BD95D5}" type="slidenum">
              <a:rPr lang="en-US" smtClean="0">
                <a:solidFill>
                  <a:prstClr val="black"/>
                </a:solidFill>
              </a:rPr>
            </a:fld>
            <a:endParaRPr lang="en-US" dirty="0">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b="0" baseline="0" dirty="0">
                <a:solidFill>
                  <a:srgbClr val="FF0000"/>
                </a:solidFill>
              </a:rPr>
              <a:t>FWCI</a:t>
            </a:r>
            <a:endParaRPr lang="en-US" b="0" baseline="0" dirty="0">
              <a:solidFill>
                <a:srgbClr val="FF0000"/>
              </a:solidFill>
            </a:endParaRPr>
          </a:p>
          <a:p>
            <a:pPr marL="0" marR="0" indent="0" algn="l" defTabSz="914400" rtl="0" eaLnBrk="1" fontAlgn="auto" latinLnBrk="0" hangingPunct="1">
              <a:lnSpc>
                <a:spcPct val="100000"/>
              </a:lnSpc>
              <a:spcBef>
                <a:spcPts val="0"/>
              </a:spcBef>
              <a:spcAft>
                <a:spcPts val="0"/>
              </a:spcAft>
              <a:buClrTx/>
              <a:buSzTx/>
              <a:buFontTx/>
              <a:buNone/>
              <a:defRPr/>
            </a:pPr>
            <a:r>
              <a:rPr lang="en-US" b="0" baseline="0" dirty="0">
                <a:solidFill>
                  <a:srgbClr val="FF0000"/>
                </a:solidFill>
              </a:rPr>
              <a:t>CITESCORE</a:t>
            </a:r>
            <a:endParaRPr lang="en-US" b="0" baseline="0" dirty="0">
              <a:solidFill>
                <a:srgbClr val="FF0000"/>
              </a:solidFill>
            </a:endParaRPr>
          </a:p>
          <a:p>
            <a:pPr marL="0" marR="0" indent="0" algn="l" defTabSz="914400" rtl="0" eaLnBrk="1" fontAlgn="auto" latinLnBrk="0" hangingPunct="1">
              <a:lnSpc>
                <a:spcPct val="100000"/>
              </a:lnSpc>
              <a:spcBef>
                <a:spcPts val="0"/>
              </a:spcBef>
              <a:spcAft>
                <a:spcPts val="0"/>
              </a:spcAft>
              <a:buClrTx/>
              <a:buSzTx/>
              <a:buFontTx/>
              <a:buNone/>
              <a:defRPr/>
            </a:pPr>
            <a:r>
              <a:rPr lang="en-US" b="0" baseline="0" dirty="0">
                <a:solidFill>
                  <a:srgbClr val="FF0000"/>
                </a:solidFill>
              </a:rPr>
              <a:t>IF</a:t>
            </a:r>
            <a:endParaRPr lang="en-US" b="0" baseline="0" dirty="0">
              <a:solidFill>
                <a:srgbClr val="FF0000"/>
              </a:solidFill>
            </a:endParaRPr>
          </a:p>
          <a:p>
            <a:pPr marL="0" marR="0" indent="0" algn="l" defTabSz="914400" rtl="0" eaLnBrk="1" fontAlgn="auto" latinLnBrk="0" hangingPunct="1">
              <a:lnSpc>
                <a:spcPct val="100000"/>
              </a:lnSpc>
              <a:spcBef>
                <a:spcPts val="0"/>
              </a:spcBef>
              <a:spcAft>
                <a:spcPts val="0"/>
              </a:spcAft>
              <a:buClrTx/>
              <a:buSzTx/>
              <a:buFontTx/>
              <a:buNone/>
              <a:defRPr/>
            </a:pPr>
            <a:endParaRPr lang="en-US" b="0" baseline="0" dirty="0">
              <a:solidFill>
                <a:srgbClr val="FF0000"/>
              </a:solidFill>
            </a:endParaRPr>
          </a:p>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fld>
            <a:endParaRPr lang="en-US"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s I said previously</a:t>
            </a:r>
            <a:r>
              <a:rPr lang="en-GB" baseline="0" dirty="0"/>
              <a:t> - technology has advanced beyond recognition – in the past 10 years – and this gives us the opportunity to create a much better user experience by combining content, technology and analytics that will make researchers more efficient and help them to advance science at an ever faster rate </a:t>
            </a:r>
            <a:endParaRPr lang="en-GB" baseline="0" dirty="0"/>
          </a:p>
          <a:p>
            <a:endParaRPr lang="en-GB" baseline="0" dirty="0"/>
          </a:p>
          <a:p>
            <a:r>
              <a:rPr lang="en-US" sz="900" dirty="0"/>
              <a:t>We are</a:t>
            </a:r>
            <a:r>
              <a:rPr lang="en-US" sz="900" baseline="0" dirty="0"/>
              <a:t> extensively using new technologies </a:t>
            </a:r>
            <a:r>
              <a:rPr lang="en-US" sz="900" dirty="0"/>
              <a:t>for:</a:t>
            </a:r>
            <a:endParaRPr lang="en-US" sz="900" dirty="0"/>
          </a:p>
          <a:p>
            <a:endParaRPr lang="en-US" sz="900" dirty="0"/>
          </a:p>
          <a:p>
            <a:endParaRPr lang="en-US" sz="900" dirty="0"/>
          </a:p>
          <a:p>
            <a:pPr marL="285750" indent="-285750">
              <a:buFont typeface="Arial" panose="020B0604020202020204" pitchFamily="34" charset="0"/>
              <a:buChar char="•"/>
            </a:pPr>
            <a:r>
              <a:rPr lang="en-US" sz="900" dirty="0"/>
              <a:t>Integrating book and journal content through taxonomies to link concepts and relationships</a:t>
            </a:r>
            <a:endParaRPr lang="en-US" sz="900" dirty="0"/>
          </a:p>
          <a:p>
            <a:pPr marL="285750" indent="-285750">
              <a:buFont typeface="Arial" panose="020B0604020202020204" pitchFamily="34" charset="0"/>
              <a:buChar char="•"/>
            </a:pPr>
            <a:endParaRPr lang="en-US" sz="900" dirty="0"/>
          </a:p>
          <a:p>
            <a:pPr marL="285750" indent="-285750">
              <a:buFont typeface="Arial" panose="020B0604020202020204" pitchFamily="34" charset="0"/>
              <a:buChar char="•"/>
            </a:pPr>
            <a:endParaRPr lang="en-US" sz="900" dirty="0">
              <a:solidFill>
                <a:srgbClr val="53565A"/>
              </a:solidFill>
            </a:endParaRPr>
          </a:p>
          <a:p>
            <a:pPr marL="285750" indent="-285750">
              <a:buFont typeface="Arial" panose="020B0604020202020204" pitchFamily="34" charset="0"/>
              <a:buChar char="•"/>
            </a:pPr>
            <a:r>
              <a:rPr lang="en-US" sz="900" dirty="0">
                <a:solidFill>
                  <a:srgbClr val="53565A"/>
                </a:solidFill>
              </a:rPr>
              <a:t>Machine Learning and Natural Language Processing (NLP) to understand ‘context’, ‘meaning’ and ‘relevance’</a:t>
            </a:r>
            <a:endParaRPr lang="en-US" sz="900" dirty="0">
              <a:solidFill>
                <a:srgbClr val="53565A"/>
              </a:solidFill>
            </a:endParaRPr>
          </a:p>
          <a:p>
            <a:endParaRPr lang="en-US" sz="900" dirty="0">
              <a:solidFill>
                <a:srgbClr val="53565A"/>
              </a:solidFill>
            </a:endParaRPr>
          </a:p>
          <a:p>
            <a:pPr marL="285750" indent="-285750">
              <a:buFont typeface="Arial" panose="020B0604020202020204" pitchFamily="34" charset="0"/>
              <a:buChar char="•"/>
            </a:pPr>
            <a:endParaRPr lang="en-US" sz="900" dirty="0">
              <a:solidFill>
                <a:srgbClr val="53565A"/>
              </a:solidFill>
            </a:endParaRPr>
          </a:p>
          <a:p>
            <a:pPr marL="285750" indent="-285750">
              <a:buFont typeface="Arial" panose="020B0604020202020204" pitchFamily="34" charset="0"/>
              <a:buChar char="•"/>
            </a:pPr>
            <a:r>
              <a:rPr lang="en-US" sz="900" dirty="0">
                <a:solidFill>
                  <a:srgbClr val="53565A"/>
                </a:solidFill>
              </a:rPr>
              <a:t>Pattern Matching within full text articles to identify content  type and ‘use case’ – such as definitions</a:t>
            </a:r>
            <a:r>
              <a:rPr lang="en-US" sz="900" baseline="0" dirty="0">
                <a:solidFill>
                  <a:srgbClr val="53565A"/>
                </a:solidFill>
              </a:rPr>
              <a:t>, methods or latest reviews </a:t>
            </a:r>
            <a:endParaRPr lang="en-US" sz="900" dirty="0">
              <a:solidFill>
                <a:srgbClr val="53565A"/>
              </a:solidFill>
            </a:endParaRPr>
          </a:p>
          <a:p>
            <a:endParaRPr lang="en-US" sz="900" dirty="0">
              <a:solidFill>
                <a:srgbClr val="53565A"/>
              </a:solidFill>
            </a:endParaRPr>
          </a:p>
          <a:p>
            <a:endParaRPr lang="en-US" sz="900" dirty="0">
              <a:solidFill>
                <a:srgbClr val="53565A"/>
              </a:solidFill>
            </a:endParaRPr>
          </a:p>
          <a:p>
            <a:pPr marL="285750" indent="-285750">
              <a:buFont typeface="Arial" panose="020B0604020202020204" pitchFamily="34" charset="0"/>
              <a:buChar char="•"/>
            </a:pPr>
            <a:r>
              <a:rPr lang="en-US" sz="900" dirty="0">
                <a:solidFill>
                  <a:srgbClr val="53565A"/>
                </a:solidFill>
              </a:rPr>
              <a:t>Create dynamic free-layer of full text ‘snippets’ to drive discoverability from search engines </a:t>
            </a:r>
            <a:endParaRPr lang="en-US" sz="900" dirty="0">
              <a:solidFill>
                <a:srgbClr val="53565A"/>
              </a:solidFill>
            </a:endParaRPr>
          </a:p>
          <a:p>
            <a:endParaRPr lang="en-GB" dirty="0"/>
          </a:p>
        </p:txBody>
      </p:sp>
      <p:sp>
        <p:nvSpPr>
          <p:cNvPr id="4" name="Slide Number Placeholder 3"/>
          <p:cNvSpPr>
            <a:spLocks noGrp="1"/>
          </p:cNvSpPr>
          <p:nvPr>
            <p:ph type="sldNum" sz="quarter" idx="10"/>
          </p:nvPr>
        </p:nvSpPr>
        <p:spPr/>
        <p:txBody>
          <a:bodyPr/>
          <a:lstStyle/>
          <a:p>
            <a:fld id="{C5A66900-D62A-C444-B68E-C5CC1A713EF6}" type="slidenum">
              <a:rPr lang="en-US" smtClean="0"/>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err="1"/>
              <a:t>ScienceDirect</a:t>
            </a:r>
            <a:r>
              <a:rPr lang="en-GB" b="0" dirty="0"/>
              <a:t> Topics currently have 4 features – for each topic page – of</a:t>
            </a:r>
            <a:r>
              <a:rPr lang="en-GB" b="0" baseline="0" dirty="0"/>
              <a:t> which we currently have 80,000: </a:t>
            </a:r>
            <a:endParaRPr lang="en-GB" b="0" baseline="0" dirty="0"/>
          </a:p>
          <a:p>
            <a:endParaRPr lang="en-GB" b="0" dirty="0"/>
          </a:p>
          <a:p>
            <a:pPr marL="228600" indent="-228600">
              <a:buFont typeface="+mj-lt"/>
              <a:buAutoNum type="arabicPeriod"/>
            </a:pPr>
            <a:r>
              <a:rPr lang="en-GB" sz="900" b="0" dirty="0">
                <a:latin typeface="Arial" panose="020B0604020202020204" pitchFamily="34" charset="0"/>
                <a:cs typeface="Arial" panose="020B0604020202020204" pitchFamily="34" charset="0"/>
              </a:rPr>
              <a:t>Definitions extracted from Elsevier books.</a:t>
            </a:r>
            <a:endParaRPr lang="en-GB" sz="900" b="0" dirty="0">
              <a:latin typeface="Arial" panose="020B0604020202020204" pitchFamily="34" charset="0"/>
              <a:cs typeface="Arial" panose="020B0604020202020204" pitchFamily="34" charset="0"/>
            </a:endParaRPr>
          </a:p>
          <a:p>
            <a:pPr marL="228600" indent="-228600">
              <a:buFont typeface="+mj-lt"/>
              <a:buAutoNum type="arabicPeriod"/>
            </a:pPr>
            <a:endParaRPr lang="en-GB" sz="900" b="0" dirty="0">
              <a:latin typeface="Arial" panose="020B0604020202020204" pitchFamily="34" charset="0"/>
              <a:cs typeface="Arial" panose="020B0604020202020204" pitchFamily="34" charset="0"/>
            </a:endParaRPr>
          </a:p>
          <a:p>
            <a:pPr marL="228600" indent="-228600">
              <a:buFont typeface="+mj-lt"/>
              <a:buAutoNum type="arabicPeriod"/>
            </a:pPr>
            <a:r>
              <a:rPr lang="en-GB" sz="900" b="0" dirty="0">
                <a:latin typeface="Arial" panose="020B0604020202020204" pitchFamily="34" charset="0"/>
                <a:cs typeface="Arial" panose="020B0604020202020204" pitchFamily="34" charset="0"/>
              </a:rPr>
              <a:t>Related terms with hyperlinks to explore.</a:t>
            </a:r>
            <a:endParaRPr lang="en-GB" sz="900" b="0" dirty="0">
              <a:latin typeface="Arial" panose="020B0604020202020204" pitchFamily="34" charset="0"/>
              <a:cs typeface="Arial" panose="020B0604020202020204" pitchFamily="34" charset="0"/>
            </a:endParaRPr>
          </a:p>
          <a:p>
            <a:pPr marL="228600" indent="-228600">
              <a:buFont typeface="+mj-lt"/>
              <a:buAutoNum type="arabicPeriod"/>
            </a:pPr>
            <a:endParaRPr lang="en-GB" sz="900" b="0" dirty="0">
              <a:latin typeface="Arial" panose="020B0604020202020204" pitchFamily="34" charset="0"/>
              <a:cs typeface="Arial" panose="020B0604020202020204" pitchFamily="34" charset="0"/>
            </a:endParaRPr>
          </a:p>
          <a:p>
            <a:pPr marL="228600" indent="-228600">
              <a:buFont typeface="+mj-lt"/>
              <a:buAutoNum type="arabicPeriod"/>
            </a:pPr>
            <a:r>
              <a:rPr lang="en-GB" sz="900" b="0" dirty="0">
                <a:latin typeface="Arial" panose="020B0604020202020204" pitchFamily="34" charset="0"/>
                <a:cs typeface="Arial" panose="020B0604020202020204" pitchFamily="34" charset="0"/>
              </a:rPr>
              <a:t>Short extracts of the most relevant information that are often found deep within book chapters and links to the source books for further exploration.</a:t>
            </a:r>
            <a:endParaRPr lang="en-GB" sz="900" b="0" dirty="0">
              <a:latin typeface="Arial" panose="020B0604020202020204" pitchFamily="34" charset="0"/>
              <a:cs typeface="Arial" panose="020B0604020202020204" pitchFamily="34" charset="0"/>
            </a:endParaRPr>
          </a:p>
          <a:p>
            <a:pPr marL="228600" indent="-228600">
              <a:buFont typeface="+mj-lt"/>
              <a:buAutoNum type="arabicPeriod"/>
            </a:pPr>
            <a:endParaRPr lang="en-GB" sz="900" b="0" dirty="0">
              <a:latin typeface="Arial" panose="020B0604020202020204" pitchFamily="34" charset="0"/>
              <a:cs typeface="Arial" panose="020B0604020202020204" pitchFamily="34" charset="0"/>
            </a:endParaRPr>
          </a:p>
          <a:p>
            <a:pPr marL="228600" indent="-228600">
              <a:buFont typeface="+mj-lt"/>
              <a:buAutoNum type="arabicPeriod"/>
            </a:pPr>
            <a:r>
              <a:rPr lang="en-GB" sz="900" b="0" dirty="0">
                <a:latin typeface="Arial" panose="020B0604020202020204" pitchFamily="34" charset="0"/>
                <a:cs typeface="Arial" panose="020B0604020202020204" pitchFamily="34" charset="0"/>
              </a:rPr>
              <a:t>Discoverable through search engines and free to access.</a:t>
            </a:r>
            <a:endParaRPr lang="en-US" sz="900" b="0" dirty="0">
              <a:solidFill>
                <a:schemeClr val="tx2"/>
              </a:solidFill>
              <a:latin typeface="Arial" panose="020B0604020202020204" pitchFamily="34" charset="0"/>
              <a:cs typeface="Arial" panose="020B0604020202020204" pitchFamily="34" charset="0"/>
            </a:endParaRPr>
          </a:p>
          <a:p>
            <a:endParaRPr lang="en-US" sz="900" b="0" dirty="0">
              <a:solidFill>
                <a:schemeClr val="tx2"/>
              </a:solidFill>
              <a:latin typeface="Arial" panose="020B0604020202020204" pitchFamily="34" charset="0"/>
              <a:cs typeface="Arial" panose="020B0604020202020204" pitchFamily="34" charset="0"/>
            </a:endParaRPr>
          </a:p>
          <a:p>
            <a:r>
              <a:rPr lang="en-US" sz="900" b="0" dirty="0">
                <a:solidFill>
                  <a:schemeClr val="tx2"/>
                </a:solidFill>
                <a:latin typeface="Arial" panose="020B0604020202020204" pitchFamily="34" charset="0"/>
                <a:cs typeface="Arial" panose="020B0604020202020204" pitchFamily="34" charset="0"/>
              </a:rPr>
              <a:t>This</a:t>
            </a:r>
            <a:r>
              <a:rPr lang="en-US" sz="900" b="0" baseline="0" dirty="0">
                <a:solidFill>
                  <a:schemeClr val="tx2"/>
                </a:solidFill>
                <a:latin typeface="Arial" panose="020B0604020202020204" pitchFamily="34" charset="0"/>
                <a:cs typeface="Arial" panose="020B0604020202020204" pitchFamily="34" charset="0"/>
              </a:rPr>
              <a:t> is a free feature – if you want to engage users it helps if it’s free</a:t>
            </a:r>
            <a:endParaRPr lang="en-GB" dirty="0"/>
          </a:p>
        </p:txBody>
      </p:sp>
      <p:sp>
        <p:nvSpPr>
          <p:cNvPr id="4" name="Slide Number Placeholder 3"/>
          <p:cNvSpPr>
            <a:spLocks noGrp="1"/>
          </p:cNvSpPr>
          <p:nvPr>
            <p:ph type="sldNum" sz="quarter" idx="10"/>
          </p:nvPr>
        </p:nvSpPr>
        <p:spPr/>
        <p:txBody>
          <a:bodyPr/>
          <a:lstStyle/>
          <a:p>
            <a:fld id="{C5A66900-D62A-C444-B68E-C5CC1A713EF6}" type="slidenum">
              <a:rPr lang="en-US" smtClean="0"/>
            </a:fld>
            <a:endParaRPr 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is how the</a:t>
            </a:r>
            <a:r>
              <a:rPr lang="en-GB" baseline="0" dirty="0"/>
              <a:t> topic pages work – I’ll illustrate with a basic flow:</a:t>
            </a:r>
            <a:endParaRPr lang="en-GB" baseline="0" dirty="0"/>
          </a:p>
          <a:p>
            <a:endParaRPr lang="en-GB" baseline="0" dirty="0"/>
          </a:p>
          <a:p>
            <a:pPr marL="171450" indent="-171450">
              <a:buFont typeface="Arial" panose="020B0604020202020204" pitchFamily="34" charset="0"/>
              <a:buChar char="•"/>
            </a:pPr>
            <a:r>
              <a:rPr lang="en-GB" baseline="0" dirty="0"/>
              <a:t>User reads journal article on science direct – selects highlighted term in the full text </a:t>
            </a:r>
            <a:endParaRPr lang="en-GB" baseline="0" dirty="0"/>
          </a:p>
          <a:p>
            <a:pPr marL="171450" indent="-171450">
              <a:buFont typeface="Arial" panose="020B0604020202020204" pitchFamily="34" charset="0"/>
              <a:buChar char="•"/>
            </a:pPr>
            <a:r>
              <a:rPr lang="en-GB" baseline="0" dirty="0"/>
              <a:t>Opens up a topic page relating to that term </a:t>
            </a:r>
            <a:endParaRPr lang="en-GB" baseline="0" dirty="0"/>
          </a:p>
          <a:p>
            <a:pPr marL="171450" indent="-171450">
              <a:buFont typeface="Arial" panose="020B0604020202020204" pitchFamily="34" charset="0"/>
              <a:buChar char="•"/>
            </a:pPr>
            <a:r>
              <a:rPr lang="en-GB" baseline="0" dirty="0"/>
              <a:t>Topic page shows information about that topic </a:t>
            </a:r>
            <a:endParaRPr lang="en-GB" baseline="0" dirty="0"/>
          </a:p>
          <a:p>
            <a:pPr marL="171450" indent="-171450">
              <a:buFont typeface="Arial" panose="020B0604020202020204" pitchFamily="34" charset="0"/>
              <a:buChar char="•"/>
            </a:pPr>
            <a:r>
              <a:rPr lang="en-GB" baseline="0" dirty="0"/>
              <a:t>The topic page can also be discovered through search engines – this fits with the users workflow as they often start their discovery in search engines – the free content provides a big free layer that search engines crawl and index </a:t>
            </a:r>
            <a:endParaRPr lang="en-GB" baseline="0" dirty="0"/>
          </a:p>
          <a:p>
            <a:pPr marL="171450" indent="-171450">
              <a:buFont typeface="Arial" panose="020B0604020202020204" pitchFamily="34" charset="0"/>
              <a:buChar char="•"/>
            </a:pPr>
            <a:r>
              <a:rPr lang="en-GB" baseline="0" dirty="0"/>
              <a:t>The user selects the most relevant content from the summary on the topic pages and clicks through to the full text art</a:t>
            </a:r>
            <a:endParaRPr lang="en-GB" dirty="0"/>
          </a:p>
        </p:txBody>
      </p:sp>
      <p:sp>
        <p:nvSpPr>
          <p:cNvPr id="4" name="Slide Number Placeholder 3"/>
          <p:cNvSpPr>
            <a:spLocks noGrp="1"/>
          </p:cNvSpPr>
          <p:nvPr>
            <p:ph type="sldNum" sz="quarter" idx="10"/>
          </p:nvPr>
        </p:nvSpPr>
        <p:spPr/>
        <p:txBody>
          <a:bodyPr/>
          <a:lstStyle/>
          <a:p>
            <a:fld id="{C5A66900-D62A-C444-B68E-C5CC1A713EF6}" type="slidenum">
              <a:rPr lang="en-US" smtClean="0"/>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s a said we are taking an iterative</a:t>
            </a:r>
            <a:r>
              <a:rPr lang="en-GB" baseline="0" dirty="0"/>
              <a:t> approach to developing the Topic pages – and by testing and learning we have optimized the user experience over time </a:t>
            </a:r>
            <a:endParaRPr lang="en-GB" baseline="0" dirty="0"/>
          </a:p>
          <a:p>
            <a:r>
              <a:rPr lang="en-GB" baseline="0" dirty="0"/>
              <a:t>This has led to increased usage </a:t>
            </a:r>
            <a:endParaRPr lang="en-GB" baseline="0" dirty="0"/>
          </a:p>
          <a:p>
            <a:r>
              <a:rPr lang="en-GB" baseline="0" dirty="0"/>
              <a:t>We have also optimized the process of how we create the topic pages and improved the quality and usefulness </a:t>
            </a:r>
            <a:endParaRPr lang="en-GB" baseline="0" dirty="0"/>
          </a:p>
          <a:p>
            <a:r>
              <a:rPr lang="en-GB" baseline="0" dirty="0"/>
              <a:t>87% of users in the online exit survey say they are getting value from the pages – we are working to improve this further </a:t>
            </a:r>
            <a:endParaRPr lang="en-GB" baseline="0" dirty="0"/>
          </a:p>
          <a:p>
            <a:r>
              <a:rPr lang="en-GB" baseline="0" dirty="0"/>
              <a:t>We have delivered 80, 000 topic pages through full automation for Life Sciences. Biomedical and Neurosciences</a:t>
            </a:r>
            <a:endParaRPr lang="en-GB" baseline="0" dirty="0"/>
          </a:p>
          <a:p>
            <a:r>
              <a:rPr lang="en-GB" baseline="0" dirty="0"/>
              <a:t>We will now move on to do the same for Physical Sciences and </a:t>
            </a:r>
            <a:r>
              <a:rPr lang="en-GB" baseline="0" dirty="0" err="1"/>
              <a:t>Enginneering</a:t>
            </a:r>
            <a:r>
              <a:rPr lang="en-GB" baseline="0" dirty="0"/>
              <a:t> </a:t>
            </a:r>
            <a:endParaRPr lang="en-GB" baseline="0" dirty="0"/>
          </a:p>
          <a:p>
            <a:endParaRPr lang="en-GB" dirty="0"/>
          </a:p>
        </p:txBody>
      </p:sp>
      <p:sp>
        <p:nvSpPr>
          <p:cNvPr id="4" name="Slide Number Placeholder 3"/>
          <p:cNvSpPr>
            <a:spLocks noGrp="1"/>
          </p:cNvSpPr>
          <p:nvPr>
            <p:ph type="sldNum" sz="quarter" idx="10"/>
          </p:nvPr>
        </p:nvSpPr>
        <p:spPr/>
        <p:txBody>
          <a:bodyPr/>
          <a:lstStyle/>
          <a:p>
            <a:fld id="{C5A66900-D62A-C444-B68E-C5CC1A713EF6}" type="slidenum">
              <a:rPr lang="en-US" smtClean="0"/>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1" indent="-171450" eaLnBrk="0" hangingPunct="0">
              <a:spcBef>
                <a:spcPct val="20000"/>
              </a:spcBef>
              <a:buClr>
                <a:srgbClr val="FF6600"/>
              </a:buClr>
              <a:buSzPct val="85000"/>
              <a:buFont typeface="Arial" panose="020B0604020202020204"/>
              <a:buChar char="•"/>
              <a:defRPr/>
            </a:pPr>
            <a:r>
              <a:rPr lang="en-GB" sz="2400" kern="0" dirty="0">
                <a:solidFill>
                  <a:schemeClr val="tx1"/>
                </a:solidFill>
                <a:latin typeface="+mn-lt"/>
                <a:ea typeface="+mn-ea"/>
                <a:cs typeface="+mn-cs"/>
              </a:rPr>
              <a:t>Content innovation gives </a:t>
            </a:r>
            <a:r>
              <a:rPr lang="en-GB" sz="2400" u="sng" kern="0" dirty="0">
                <a:solidFill>
                  <a:schemeClr val="tx1"/>
                </a:solidFill>
                <a:latin typeface="+mn-lt"/>
                <a:ea typeface="+mn-ea"/>
                <a:cs typeface="+mn-cs"/>
              </a:rPr>
              <a:t>authors</a:t>
            </a:r>
            <a:r>
              <a:rPr lang="en-GB" sz="2400" kern="0" dirty="0">
                <a:solidFill>
                  <a:schemeClr val="tx1"/>
                </a:solidFill>
                <a:latin typeface="+mn-lt"/>
                <a:ea typeface="+mn-ea"/>
                <a:cs typeface="+mn-cs"/>
              </a:rPr>
              <a:t> a platform to express their research beyond text and images: data, code, multimedia, ...</a:t>
            </a:r>
            <a:endParaRPr lang="en-GB" sz="2400" kern="0" dirty="0">
              <a:solidFill>
                <a:schemeClr val="tx1"/>
              </a:solidFill>
              <a:latin typeface="+mn-lt"/>
              <a:ea typeface="+mn-ea"/>
              <a:cs typeface="+mn-cs"/>
            </a:endParaRPr>
          </a:p>
          <a:p>
            <a:pPr marL="171450" lvl="1" indent="-171450" eaLnBrk="0" hangingPunct="0">
              <a:spcBef>
                <a:spcPct val="20000"/>
              </a:spcBef>
              <a:buClr>
                <a:srgbClr val="FF6600"/>
              </a:buClr>
              <a:buSzPct val="85000"/>
              <a:buFont typeface="Arial" panose="020B0604020202020204"/>
              <a:buChar char="•"/>
              <a:defRPr/>
            </a:pPr>
            <a:r>
              <a:rPr lang="en-GB" sz="2400" kern="0" dirty="0">
                <a:solidFill>
                  <a:schemeClr val="tx1"/>
                </a:solidFill>
                <a:latin typeface="+mn-lt"/>
                <a:ea typeface="+mn-ea"/>
                <a:cs typeface="+mn-cs"/>
              </a:rPr>
              <a:t>Content innovation gives </a:t>
            </a:r>
            <a:r>
              <a:rPr lang="en-GB" sz="2400" u="sng" kern="0" dirty="0">
                <a:solidFill>
                  <a:schemeClr val="tx1"/>
                </a:solidFill>
                <a:latin typeface="+mn-lt"/>
                <a:ea typeface="+mn-ea"/>
                <a:cs typeface="+mn-cs"/>
              </a:rPr>
              <a:t>readers</a:t>
            </a:r>
            <a:r>
              <a:rPr lang="en-GB" sz="2400" kern="0" dirty="0">
                <a:solidFill>
                  <a:schemeClr val="tx1"/>
                </a:solidFill>
                <a:latin typeface="+mn-lt"/>
                <a:ea typeface="+mn-ea"/>
                <a:cs typeface="+mn-cs"/>
              </a:rPr>
              <a:t> the best tools to find research that is relevant for them, build insights fast, and have access to all relevant data and methods</a:t>
            </a:r>
            <a:endParaRPr lang="en-GB" sz="2400" kern="0" dirty="0">
              <a:solidFill>
                <a:schemeClr val="tx1"/>
              </a:solidFill>
              <a:latin typeface="+mn-lt"/>
              <a:ea typeface="+mn-ea"/>
              <a:cs typeface="+mn-cs"/>
            </a:endParaRPr>
          </a:p>
          <a:p>
            <a:endParaRPr lang="en-US" dirty="0"/>
          </a:p>
          <a:p>
            <a:endParaRPr lang="en-US" dirty="0"/>
          </a:p>
          <a:p>
            <a:r>
              <a:rPr lang="en-US" dirty="0"/>
              <a:t>You can use the below link</a:t>
            </a:r>
            <a:r>
              <a:rPr lang="en-US" baseline="0" dirty="0"/>
              <a:t> to find customer specific examples of content innovations for your account:  </a:t>
            </a:r>
            <a:r>
              <a:rPr lang="en-US" dirty="0"/>
              <a:t>https://</a:t>
            </a:r>
            <a:r>
              <a:rPr lang="en-US" dirty="0" err="1"/>
              <a:t>elsteamna.regn.net</a:t>
            </a:r>
            <a:r>
              <a:rPr lang="en-US" dirty="0"/>
              <a:t>/sites/</a:t>
            </a:r>
            <a:r>
              <a:rPr lang="en-US" dirty="0" err="1"/>
              <a:t>stmjIPD</a:t>
            </a:r>
            <a:r>
              <a:rPr lang="en-US" dirty="0"/>
              <a:t>/</a:t>
            </a:r>
            <a:r>
              <a:rPr lang="en-US" dirty="0" err="1"/>
              <a:t>JournalandContentTechnology</a:t>
            </a:r>
            <a:r>
              <a:rPr lang="en-US" dirty="0"/>
              <a:t>/_layouts/</a:t>
            </a:r>
            <a:r>
              <a:rPr lang="en-US" dirty="0" err="1"/>
              <a:t>xlviewer.aspx?id</a:t>
            </a:r>
            <a:r>
              <a:rPr lang="en-US" dirty="0"/>
              <a:t>=/sites/</a:t>
            </a:r>
            <a:r>
              <a:rPr lang="en-US" dirty="0" err="1"/>
              <a:t>stmjIPD</a:t>
            </a:r>
            <a:r>
              <a:rPr lang="en-US" dirty="0"/>
              <a:t>/</a:t>
            </a:r>
            <a:r>
              <a:rPr lang="en-US" dirty="0" err="1"/>
              <a:t>JournalandContentTechnology</a:t>
            </a:r>
            <a:r>
              <a:rPr lang="en-US" dirty="0"/>
              <a:t>/Content%20Innovation/CI%20Article-level%20Reporting/</a:t>
            </a:r>
            <a:r>
              <a:rPr lang="en-US" dirty="0" err="1"/>
              <a:t>CI-examples-percountry.xlsx&amp;Source</a:t>
            </a:r>
            <a:r>
              <a:rPr lang="en-US" dirty="0"/>
              <a:t>=https%3A%2F%2Felsteamna%2Eregn%2Enet%2Fsites%2FstmjIPD%2FJournalandContentTechnology%2FContent%2520Innovation%2FForms%2FAllItems%2Easpx%3FRootFolder%3D%252Fsites%252FstmjIPD%252FJournalandContentTechnology%252FContent%2520Innovation%252FCI%2520Article%252Dlevel%2520Reporting%26FolderCTID%3D0x01200048D6A9529AC87C44BB7BAC1BE19E005B%26View%3D%257b569D9FEB-67D0-42B9-B83F-96C2CAE6879D%257d&amp;DefaultItemOpen=1</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0B5F498A-6B26-4993-86E8-6BEF4E6B8A90}" type="slidenum">
              <a:rPr lang="en-US" smtClean="0">
                <a:solidFill>
                  <a:prstClr val="black"/>
                </a:solidFill>
              </a:rPr>
            </a:fld>
            <a:endParaRPr lang="en-US">
              <a:solidFill>
                <a:prstClr val="black"/>
              </a:solidFill>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CF6F661-5D98-4052-AB60-1BBEC3970DB3}" type="slidenum">
              <a:rPr lang="en-US" smtClean="0"/>
            </a:fld>
            <a:endParaRPr 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Slide Image Placeholder 1"/>
          <p:cNvSpPr>
            <a:spLocks noGrp="1" noRot="1" noChangeAspect="1" noTextEdit="1"/>
          </p:cNvSpPr>
          <p:nvPr>
            <p:ph type="sldImg"/>
          </p:nvPr>
        </p:nvSpPr>
        <p:spPr/>
      </p:sp>
      <p:sp>
        <p:nvSpPr>
          <p:cNvPr id="98307" name="Notes Placeholder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98308" name="Slide Number Placeholder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925" eaLnBrk="0" hangingPunct="0">
              <a:spcBef>
                <a:spcPct val="30000"/>
              </a:spcBef>
              <a:defRPr sz="1200">
                <a:solidFill>
                  <a:schemeClr val="tx1"/>
                </a:solidFill>
                <a:latin typeface="Times New Roman" panose="02020603050405020304" pitchFamily="18" charset="0"/>
              </a:defRPr>
            </a:lvl1pPr>
            <a:lvl2pPr marL="742950" indent="-285750" defTabSz="923925" eaLnBrk="0" hangingPunct="0">
              <a:spcBef>
                <a:spcPct val="30000"/>
              </a:spcBef>
              <a:defRPr sz="1200">
                <a:solidFill>
                  <a:schemeClr val="tx1"/>
                </a:solidFill>
                <a:latin typeface="Times New Roman" panose="02020603050405020304" pitchFamily="18" charset="0"/>
              </a:defRPr>
            </a:lvl2pPr>
            <a:lvl3pPr marL="1143000" indent="-228600" defTabSz="923925" eaLnBrk="0" hangingPunct="0">
              <a:spcBef>
                <a:spcPct val="30000"/>
              </a:spcBef>
              <a:defRPr sz="1200">
                <a:solidFill>
                  <a:schemeClr val="tx1"/>
                </a:solidFill>
                <a:latin typeface="Times New Roman" panose="02020603050405020304" pitchFamily="18" charset="0"/>
              </a:defRPr>
            </a:lvl3pPr>
            <a:lvl4pPr marL="1600200" indent="-228600" defTabSz="923925" eaLnBrk="0" hangingPunct="0">
              <a:spcBef>
                <a:spcPct val="30000"/>
              </a:spcBef>
              <a:defRPr sz="1200">
                <a:solidFill>
                  <a:schemeClr val="tx1"/>
                </a:solidFill>
                <a:latin typeface="Times New Roman" panose="02020603050405020304" pitchFamily="18" charset="0"/>
              </a:defRPr>
            </a:lvl4pPr>
            <a:lvl5pPr marL="2057400" indent="-228600" defTabSz="923925" eaLnBrk="0" hangingPunct="0">
              <a:spcBef>
                <a:spcPct val="30000"/>
              </a:spcBef>
              <a:defRPr sz="1200">
                <a:solidFill>
                  <a:schemeClr val="tx1"/>
                </a:solidFill>
                <a:latin typeface="Times New Roman" panose="02020603050405020304" pitchFamily="18" charset="0"/>
              </a:defRPr>
            </a:lvl5pPr>
            <a:lvl6pPr marL="2514600" indent="-228600" defTabSz="923925"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23925"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23925"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23925" eaLnBrk="0" fontAlgn="base" hangingPunct="0">
              <a:spcBef>
                <a:spcPct val="30000"/>
              </a:spcBef>
              <a:spcAft>
                <a:spcPct val="0"/>
              </a:spcAft>
              <a:defRPr sz="1200">
                <a:solidFill>
                  <a:schemeClr val="tx1"/>
                </a:solidFill>
                <a:latin typeface="Times New Roman" panose="02020603050405020304" pitchFamily="18" charset="0"/>
              </a:defRPr>
            </a:lvl9pPr>
          </a:lstStyle>
          <a:p>
            <a:pPr eaLnBrk="1" hangingPunct="1">
              <a:spcBef>
                <a:spcPct val="0"/>
              </a:spcBef>
            </a:pPr>
            <a:fld id="{3A1C78D1-BE2F-405E-80A4-D1AF3BECF1E5}" type="slidenum">
              <a:rPr lang="zh-CN" altLang="en-GB" smtClean="0"/>
            </a:fld>
            <a:endParaRPr lang="en-GB" altLang="zh-CN"/>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dirty="0"/>
              <a:t>Researchers</a:t>
            </a:r>
            <a:r>
              <a:rPr lang="en-US" baseline="0" dirty="0"/>
              <a:t> can also discover articles via social media, and authors are able to promote their research by linking to content innovations via their social media profiles</a:t>
            </a:r>
            <a:endParaRPr lang="en-US" dirty="0"/>
          </a:p>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fld>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r>
              <a:rPr lang="en-GB" dirty="0"/>
              <a:t>The</a:t>
            </a:r>
            <a:r>
              <a:rPr lang="en-GB" baseline="0" dirty="0"/>
              <a:t> conditions of receiving funding, require a partner that complies with the rapidly evolving conditions and diverse demands of funding bodies – Elsevier has evolved multiple business models to be the best partner in this regard</a:t>
            </a:r>
            <a:endParaRPr lang="en-GB" dirty="0"/>
          </a:p>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fld>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sz="1200" kern="1200" dirty="0" err="1">
                <a:solidFill>
                  <a:schemeClr val="tx1"/>
                </a:solidFill>
                <a:effectLst/>
                <a:latin typeface="+mn-lt"/>
                <a:ea typeface="+mn-ea"/>
                <a:cs typeface="+mn-cs"/>
              </a:rPr>
              <a:t>ScienceDirect</a:t>
            </a:r>
            <a:r>
              <a:rPr lang="en-US" sz="1200" kern="1200" dirty="0">
                <a:solidFill>
                  <a:schemeClr val="tx1"/>
                </a:solidFill>
                <a:effectLst/>
                <a:latin typeface="+mn-lt"/>
                <a:ea typeface="+mn-ea"/>
                <a:cs typeface="+mn-cs"/>
              </a:rPr>
              <a:t> has invested in implementing</a:t>
            </a:r>
            <a:r>
              <a:rPr lang="en-US" sz="1200" kern="1200" baseline="0" dirty="0">
                <a:solidFill>
                  <a:schemeClr val="tx1"/>
                </a:solidFill>
                <a:effectLst/>
                <a:latin typeface="+mn-lt"/>
                <a:ea typeface="+mn-ea"/>
                <a:cs typeface="+mn-cs"/>
              </a:rPr>
              <a:t> best in class </a:t>
            </a:r>
            <a:r>
              <a:rPr lang="en-US" sz="1200" kern="1200" dirty="0">
                <a:solidFill>
                  <a:schemeClr val="tx1"/>
                </a:solidFill>
                <a:effectLst/>
                <a:latin typeface="+mn-lt"/>
                <a:ea typeface="+mn-ea"/>
                <a:cs typeface="+mn-cs"/>
              </a:rPr>
              <a:t>processes for gold OA, ensuring </a:t>
            </a:r>
            <a:r>
              <a:rPr lang="en-US" sz="1200" kern="1200" baseline="0" dirty="0">
                <a:solidFill>
                  <a:schemeClr val="tx1"/>
                </a:solidFill>
                <a:effectLst/>
                <a:latin typeface="+mn-lt"/>
                <a:ea typeface="+mn-ea"/>
                <a:cs typeface="+mn-cs"/>
              </a:rPr>
              <a:t>metadata </a:t>
            </a:r>
            <a:r>
              <a:rPr lang="en-US" sz="1200" kern="1200" dirty="0">
                <a:solidFill>
                  <a:schemeClr val="tx1"/>
                </a:solidFill>
                <a:effectLst/>
                <a:latin typeface="+mn-lt"/>
                <a:ea typeface="+mn-ea"/>
                <a:cs typeface="+mn-cs"/>
              </a:rPr>
              <a:t>accuracy</a:t>
            </a:r>
            <a:r>
              <a:rPr lang="en-US" sz="1200" kern="1200" baseline="0" dirty="0">
                <a:solidFill>
                  <a:schemeClr val="tx1"/>
                </a:solidFill>
                <a:effectLst/>
                <a:latin typeface="+mn-lt"/>
                <a:ea typeface="+mn-ea"/>
                <a:cs typeface="+mn-cs"/>
              </a:rPr>
              <a:t> and article tagging. </a:t>
            </a:r>
            <a:r>
              <a:rPr lang="en-US" sz="1200" kern="1200" dirty="0">
                <a:solidFill>
                  <a:schemeClr val="tx1"/>
                </a:solidFill>
                <a:effectLst/>
                <a:latin typeface="+mn-lt"/>
                <a:ea typeface="+mn-ea"/>
                <a:cs typeface="+mn-cs"/>
              </a:rPr>
              <a:t>In addition, we attach the right user licenses and work to ensure no one gets charged for OA content- so you can trust that</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if you go gold,</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your article is marked up and displayed in all the correct ways. </a:t>
            </a: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defRPr/>
            </a:pPr>
            <a:r>
              <a:rPr lang="en-US" sz="1200" kern="1200" dirty="0">
                <a:solidFill>
                  <a:schemeClr val="tx1"/>
                </a:solidFill>
                <a:effectLst/>
                <a:latin typeface="+mn-lt"/>
                <a:ea typeface="+mn-ea"/>
                <a:cs typeface="+mn-cs"/>
              </a:rPr>
              <a:t>In addition to improved</a:t>
            </a:r>
            <a:r>
              <a:rPr lang="en-US" sz="1200" kern="1200" baseline="0" dirty="0">
                <a:solidFill>
                  <a:schemeClr val="tx1"/>
                </a:solidFill>
                <a:effectLst/>
                <a:latin typeface="+mn-lt"/>
                <a:ea typeface="+mn-ea"/>
                <a:cs typeface="+mn-cs"/>
              </a:rPr>
              <a:t> OA metadata – extra steps are taken to </a:t>
            </a:r>
            <a:r>
              <a:rPr lang="en-US" sz="1200" kern="1200" dirty="0">
                <a:solidFill>
                  <a:schemeClr val="tx1"/>
                </a:solidFill>
                <a:effectLst/>
                <a:latin typeface="+mn-lt"/>
                <a:ea typeface="+mn-ea"/>
                <a:cs typeface="+mn-cs"/>
              </a:rPr>
              <a:t>increase visibility of OA content on SD: we can supply this metadata, and metadata of subscription articles destined to be green, to librarians via the SD API and integrate this into their institutional repositories (</a:t>
            </a:r>
            <a:r>
              <a:rPr lang="en-US" sz="1200" b="1" kern="1200" dirty="0">
                <a:solidFill>
                  <a:schemeClr val="tx1"/>
                </a:solidFill>
                <a:effectLst/>
                <a:latin typeface="+mn-lt"/>
                <a:ea typeface="+mn-ea"/>
                <a:cs typeface="+mn-cs"/>
              </a:rPr>
              <a:t>IR</a:t>
            </a:r>
            <a:r>
              <a:rPr lang="en-US" sz="1200" b="0"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 which also helps in</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reporting on compliance to funders. </a:t>
            </a:r>
            <a:endParaRPr lang="nl-NL" sz="1200" kern="1200" dirty="0">
              <a:solidFill>
                <a:schemeClr val="tx1"/>
              </a:solidFill>
              <a:effectLst/>
              <a:latin typeface="+mn-lt"/>
              <a:ea typeface="+mn-ea"/>
              <a:cs typeface="+mn-cs"/>
            </a:endParaRPr>
          </a:p>
          <a:p>
            <a:endParaRPr lang="nl-NL" dirty="0"/>
          </a:p>
          <a:p>
            <a:pPr marL="0" marR="0" lvl="0" indent="0" algn="l" defTabSz="914400" rtl="0" eaLnBrk="1" fontAlgn="auto" latinLnBrk="0" hangingPunct="1">
              <a:lnSpc>
                <a:spcPct val="100000"/>
              </a:lnSpc>
              <a:spcBef>
                <a:spcPts val="0"/>
              </a:spcBef>
              <a:spcAft>
                <a:spcPts val="0"/>
              </a:spcAft>
              <a:buClrTx/>
              <a:buSzTx/>
              <a:buFontTx/>
              <a:buNone/>
              <a:defRPr/>
            </a:pPr>
            <a:r>
              <a:rPr lang="en-US" sz="1200" kern="1200" dirty="0">
                <a:solidFill>
                  <a:schemeClr val="tx1"/>
                </a:solidFill>
                <a:effectLst/>
                <a:latin typeface="+mn-lt"/>
                <a:ea typeface="+mn-ea"/>
                <a:cs typeface="+mn-cs"/>
              </a:rPr>
              <a:t>Furthermore,</a:t>
            </a:r>
            <a:r>
              <a:rPr lang="en-US" sz="1200" kern="1200" baseline="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Altmetrics</a:t>
            </a:r>
            <a:r>
              <a:rPr lang="en-US" sz="1200" kern="1200" dirty="0">
                <a:solidFill>
                  <a:schemeClr val="tx1"/>
                </a:solidFill>
                <a:effectLst/>
                <a:latin typeface="+mn-lt"/>
                <a:ea typeface="+mn-ea"/>
                <a:cs typeface="+mn-cs"/>
              </a:rPr>
              <a:t> have also been included</a:t>
            </a:r>
            <a:r>
              <a:rPr lang="en-US" sz="1200" kern="1200" baseline="0" dirty="0">
                <a:solidFill>
                  <a:schemeClr val="tx1"/>
                </a:solidFill>
                <a:effectLst/>
                <a:latin typeface="+mn-lt"/>
                <a:ea typeface="+mn-ea"/>
                <a:cs typeface="+mn-cs"/>
              </a:rPr>
              <a:t> for </a:t>
            </a:r>
            <a:r>
              <a:rPr lang="en-US" sz="1200" kern="1200" dirty="0">
                <a:solidFill>
                  <a:schemeClr val="tx1"/>
                </a:solidFill>
                <a:effectLst/>
                <a:latin typeface="+mn-lt"/>
                <a:ea typeface="+mn-ea"/>
                <a:cs typeface="+mn-cs"/>
              </a:rPr>
              <a:t>OA articles on the SD platform in order to provide</a:t>
            </a:r>
            <a:r>
              <a:rPr lang="en-US" sz="1200" kern="1200" baseline="0" dirty="0">
                <a:solidFill>
                  <a:schemeClr val="tx1"/>
                </a:solidFill>
                <a:effectLst/>
                <a:latin typeface="+mn-lt"/>
                <a:ea typeface="+mn-ea"/>
                <a:cs typeface="+mn-cs"/>
              </a:rPr>
              <a:t> even greater visibility into the broader social impact of research, which underscores our commitment to leading the way in this area. </a:t>
            </a:r>
            <a:endParaRPr lang="nl-NL" sz="1200" kern="1200" dirty="0">
              <a:solidFill>
                <a:schemeClr val="tx1"/>
              </a:solidFill>
              <a:effectLst/>
              <a:latin typeface="+mn-lt"/>
              <a:ea typeface="+mn-ea"/>
              <a:cs typeface="+mn-cs"/>
            </a:endParaRPr>
          </a:p>
          <a:p>
            <a:endParaRPr lang="nl-NL" dirty="0"/>
          </a:p>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altLang="ja-JP" sz="1200" dirty="0" err="1"/>
              <a:t>ScienceDirect</a:t>
            </a:r>
            <a:r>
              <a:rPr lang="en-US" altLang="ja-JP" sz="1200" dirty="0"/>
              <a:t>* journals that rank No.1 in their subject category (2015)</a:t>
            </a:r>
            <a:endParaRPr lang="en-US" b="1" baseline="0" dirty="0">
              <a:solidFill>
                <a:srgbClr val="FF0000"/>
              </a:solidFill>
            </a:endParaRPr>
          </a:p>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fld>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sz="1200" dirty="0"/>
              <a:t>1,000,000,000: #FFFFFF</a:t>
            </a:r>
            <a:endParaRPr lang="en-US" sz="1200" dirty="0"/>
          </a:p>
          <a:p>
            <a:pPr marL="0" marR="0" indent="0" algn="l" defTabSz="914400" rtl="0" eaLnBrk="1" fontAlgn="auto" latinLnBrk="0" hangingPunct="1">
              <a:lnSpc>
                <a:spcPct val="100000"/>
              </a:lnSpc>
              <a:spcBef>
                <a:spcPts val="0"/>
              </a:spcBef>
              <a:spcAft>
                <a:spcPts val="0"/>
              </a:spcAft>
              <a:buClrTx/>
              <a:buSzTx/>
              <a:buFontTx/>
              <a:buNone/>
              <a:defRPr/>
            </a:pPr>
            <a:r>
              <a:rPr lang="en-US" sz="1200" dirty="0"/>
              <a:t>100,000,000: #00441B</a:t>
            </a:r>
            <a:endParaRPr lang="en-US" sz="1200" dirty="0"/>
          </a:p>
          <a:p>
            <a:pPr marL="0" marR="0" indent="0" algn="l" defTabSz="914400" rtl="0" eaLnBrk="1" fontAlgn="auto" latinLnBrk="0" hangingPunct="1">
              <a:lnSpc>
                <a:spcPct val="100000"/>
              </a:lnSpc>
              <a:spcBef>
                <a:spcPts val="0"/>
              </a:spcBef>
              <a:spcAft>
                <a:spcPts val="0"/>
              </a:spcAft>
              <a:buClrTx/>
              <a:buSzTx/>
              <a:buFontTx/>
              <a:buNone/>
              <a:defRPr/>
            </a:pPr>
            <a:r>
              <a:rPr lang="en-US" sz="1200" dirty="0"/>
              <a:t>10,000,000:</a:t>
            </a:r>
            <a:r>
              <a:rPr lang="en-US" sz="1200" baseline="0" dirty="0"/>
              <a:t> #006D2C</a:t>
            </a:r>
            <a:endParaRPr lang="en-US" sz="1200" baseline="0" dirty="0"/>
          </a:p>
          <a:p>
            <a:pPr marL="0" marR="0" indent="0" algn="l" defTabSz="914400" rtl="0" eaLnBrk="1" fontAlgn="auto" latinLnBrk="0" hangingPunct="1">
              <a:lnSpc>
                <a:spcPct val="100000"/>
              </a:lnSpc>
              <a:spcBef>
                <a:spcPts val="0"/>
              </a:spcBef>
              <a:spcAft>
                <a:spcPts val="0"/>
              </a:spcAft>
              <a:buClrTx/>
              <a:buSzTx/>
              <a:buFontTx/>
              <a:buNone/>
              <a:defRPr/>
            </a:pPr>
            <a:r>
              <a:rPr lang="en-US" sz="1200" baseline="0" dirty="0"/>
              <a:t>1,000,000: #238B45</a:t>
            </a:r>
            <a:endParaRPr lang="en-US" sz="1200" baseline="0" dirty="0"/>
          </a:p>
          <a:p>
            <a:pPr marL="0" marR="0" indent="0" algn="l" defTabSz="914400" rtl="0" eaLnBrk="1" fontAlgn="auto" latinLnBrk="0" hangingPunct="1">
              <a:lnSpc>
                <a:spcPct val="100000"/>
              </a:lnSpc>
              <a:spcBef>
                <a:spcPts val="0"/>
              </a:spcBef>
              <a:spcAft>
                <a:spcPts val="0"/>
              </a:spcAft>
              <a:buClrTx/>
              <a:buSzTx/>
              <a:buFontTx/>
              <a:buNone/>
              <a:defRPr/>
            </a:pPr>
            <a:r>
              <a:rPr lang="en-US" sz="1200" baseline="0" dirty="0"/>
              <a:t>100,000: #41AB5D</a:t>
            </a:r>
            <a:endParaRPr lang="en-US" sz="1200" baseline="0" dirty="0"/>
          </a:p>
          <a:p>
            <a:pPr marL="0" marR="0" indent="0" algn="l" defTabSz="914400" rtl="0" eaLnBrk="1" fontAlgn="auto" latinLnBrk="0" hangingPunct="1">
              <a:lnSpc>
                <a:spcPct val="100000"/>
              </a:lnSpc>
              <a:spcBef>
                <a:spcPts val="0"/>
              </a:spcBef>
              <a:spcAft>
                <a:spcPts val="0"/>
              </a:spcAft>
              <a:buClrTx/>
              <a:buSzTx/>
              <a:buFontTx/>
              <a:buNone/>
              <a:defRPr/>
            </a:pPr>
            <a:r>
              <a:rPr lang="en-US" sz="1200" baseline="0" dirty="0"/>
              <a:t>10,000: #74C476</a:t>
            </a:r>
            <a:endParaRPr lang="en-US" sz="1200" baseline="0" dirty="0"/>
          </a:p>
          <a:p>
            <a:pPr marL="0" marR="0" indent="0" algn="l" defTabSz="914400" rtl="0" eaLnBrk="1" fontAlgn="auto" latinLnBrk="0" hangingPunct="1">
              <a:lnSpc>
                <a:spcPct val="100000"/>
              </a:lnSpc>
              <a:spcBef>
                <a:spcPts val="0"/>
              </a:spcBef>
              <a:spcAft>
                <a:spcPts val="0"/>
              </a:spcAft>
              <a:buClrTx/>
              <a:buSzTx/>
              <a:buFontTx/>
              <a:buNone/>
              <a:defRPr/>
            </a:pPr>
            <a:r>
              <a:rPr lang="en-US" sz="1200" baseline="0" dirty="0"/>
              <a:t>1,000: #A1D99B</a:t>
            </a:r>
            <a:endParaRPr lang="en-US" sz="1200" baseline="0" dirty="0"/>
          </a:p>
          <a:p>
            <a:pPr marL="0" marR="0" indent="0" algn="l" defTabSz="914400" rtl="0" eaLnBrk="1" fontAlgn="auto" latinLnBrk="0" hangingPunct="1">
              <a:lnSpc>
                <a:spcPct val="100000"/>
              </a:lnSpc>
              <a:spcBef>
                <a:spcPts val="0"/>
              </a:spcBef>
              <a:spcAft>
                <a:spcPts val="0"/>
              </a:spcAft>
              <a:buClrTx/>
              <a:buSzTx/>
              <a:buFontTx/>
              <a:buNone/>
              <a:defRPr/>
            </a:pPr>
            <a:r>
              <a:rPr lang="en-US" sz="1200" baseline="0" dirty="0"/>
              <a:t>100: #C7E9C0</a:t>
            </a:r>
            <a:endParaRPr lang="en-US" sz="1200" baseline="0" dirty="0"/>
          </a:p>
          <a:p>
            <a:pPr marL="0" marR="0" indent="0" algn="l" defTabSz="914400" rtl="0" eaLnBrk="1" fontAlgn="auto" latinLnBrk="0" hangingPunct="1">
              <a:lnSpc>
                <a:spcPct val="100000"/>
              </a:lnSpc>
              <a:spcBef>
                <a:spcPts val="0"/>
              </a:spcBef>
              <a:spcAft>
                <a:spcPts val="0"/>
              </a:spcAft>
              <a:buClrTx/>
              <a:buSzTx/>
              <a:buFontTx/>
              <a:buNone/>
              <a:defRPr/>
            </a:pPr>
            <a:r>
              <a:rPr lang="en-US" sz="1200" baseline="0" dirty="0"/>
              <a:t>10: #E5F5E0</a:t>
            </a:r>
            <a:endParaRPr lang="en-US" sz="1200" baseline="0" dirty="0"/>
          </a:p>
          <a:p>
            <a:pPr marL="0" marR="0" indent="0" algn="l" defTabSz="914400" rtl="0" eaLnBrk="1" fontAlgn="auto" latinLnBrk="0" hangingPunct="1">
              <a:lnSpc>
                <a:spcPct val="100000"/>
              </a:lnSpc>
              <a:spcBef>
                <a:spcPts val="0"/>
              </a:spcBef>
              <a:spcAft>
                <a:spcPts val="0"/>
              </a:spcAft>
              <a:buClrTx/>
              <a:buSzTx/>
              <a:buFontTx/>
              <a:buNone/>
              <a:defRPr/>
            </a:pPr>
            <a:r>
              <a:rPr lang="en-US" sz="1200" baseline="0" dirty="0"/>
              <a:t>0: #F7FCF5</a:t>
            </a:r>
            <a:endParaRPr lang="en-US" sz="1200" dirty="0"/>
          </a:p>
          <a:p>
            <a:pPr marL="0" marR="0" indent="0" algn="l" defTabSz="914400" rtl="0" eaLnBrk="1" fontAlgn="auto" latinLnBrk="0" hangingPunct="1">
              <a:lnSpc>
                <a:spcPct val="100000"/>
              </a:lnSpc>
              <a:spcBef>
                <a:spcPts val="0"/>
              </a:spcBef>
              <a:spcAft>
                <a:spcPts val="0"/>
              </a:spcAft>
              <a:buClrTx/>
              <a:buSzTx/>
              <a:buFontTx/>
              <a:buNone/>
              <a:defRPr/>
            </a:pPr>
            <a:endParaRPr lang="en-US" sz="1200" dirty="0"/>
          </a:p>
        </p:txBody>
      </p:sp>
      <p:sp>
        <p:nvSpPr>
          <p:cNvPr id="4" name="Slide Number Placeholder 3"/>
          <p:cNvSpPr>
            <a:spLocks noGrp="1"/>
          </p:cNvSpPr>
          <p:nvPr>
            <p:ph type="sldNum" sz="quarter" idx="10"/>
          </p:nvPr>
        </p:nvSpPr>
        <p:spPr/>
        <p:txBody>
          <a:bodyPr/>
          <a:lstStyle/>
          <a:p>
            <a:fld id="{0B5F498A-6B26-4993-86E8-6BEF4E6B8A90}" type="slidenum">
              <a:rPr lang="en-US" smtClean="0">
                <a:solidFill>
                  <a:prstClr val="black"/>
                </a:solidFill>
              </a:rPr>
            </a:fld>
            <a:endParaRPr lang="en-US">
              <a:solidFill>
                <a:prstClr val="black"/>
              </a:solidFill>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defRPr/>
            </a:pPr>
            <a:r>
              <a:rPr lang="en-US" sz="1200" dirty="0"/>
              <a:t>10,000,000:</a:t>
            </a:r>
            <a:r>
              <a:rPr lang="en-US" sz="1200" baseline="0" dirty="0"/>
              <a:t> #08306B</a:t>
            </a:r>
            <a:endParaRPr lang="en-US" sz="1200" baseline="0" dirty="0"/>
          </a:p>
          <a:p>
            <a:pPr marL="0" marR="0" indent="0" algn="l" defTabSz="914400" rtl="0" eaLnBrk="1" fontAlgn="auto" latinLnBrk="0" hangingPunct="1">
              <a:lnSpc>
                <a:spcPct val="100000"/>
              </a:lnSpc>
              <a:spcBef>
                <a:spcPts val="0"/>
              </a:spcBef>
              <a:spcAft>
                <a:spcPts val="0"/>
              </a:spcAft>
              <a:buClrTx/>
              <a:buSzTx/>
              <a:buFontTx/>
              <a:buNone/>
              <a:defRPr/>
            </a:pPr>
            <a:r>
              <a:rPr lang="en-US" sz="1200" baseline="0" dirty="0"/>
              <a:t>1,000,000: #08519C</a:t>
            </a:r>
            <a:endParaRPr lang="en-US" sz="1200" baseline="0" dirty="0"/>
          </a:p>
          <a:p>
            <a:pPr marL="0" marR="0" indent="0" algn="l" defTabSz="914400" rtl="0" eaLnBrk="1" fontAlgn="auto" latinLnBrk="0" hangingPunct="1">
              <a:lnSpc>
                <a:spcPct val="100000"/>
              </a:lnSpc>
              <a:spcBef>
                <a:spcPts val="0"/>
              </a:spcBef>
              <a:spcAft>
                <a:spcPts val="0"/>
              </a:spcAft>
              <a:buClrTx/>
              <a:buSzTx/>
              <a:buFontTx/>
              <a:buNone/>
              <a:defRPr/>
            </a:pPr>
            <a:r>
              <a:rPr lang="en-US" sz="1200" baseline="0" dirty="0"/>
              <a:t>100,000: #2171B5</a:t>
            </a:r>
            <a:endParaRPr lang="en-US" sz="1200" baseline="0" dirty="0"/>
          </a:p>
          <a:p>
            <a:pPr marL="0" marR="0" indent="0" algn="l" defTabSz="914400" rtl="0" eaLnBrk="1" fontAlgn="auto" latinLnBrk="0" hangingPunct="1">
              <a:lnSpc>
                <a:spcPct val="100000"/>
              </a:lnSpc>
              <a:spcBef>
                <a:spcPts val="0"/>
              </a:spcBef>
              <a:spcAft>
                <a:spcPts val="0"/>
              </a:spcAft>
              <a:buClrTx/>
              <a:buSzTx/>
              <a:buFontTx/>
              <a:buNone/>
              <a:defRPr/>
            </a:pPr>
            <a:r>
              <a:rPr lang="en-US" sz="1200" baseline="0" dirty="0"/>
              <a:t>10,000: #4292C6</a:t>
            </a:r>
            <a:endParaRPr lang="en-US" sz="1200" baseline="0" dirty="0"/>
          </a:p>
          <a:p>
            <a:pPr marL="0" marR="0" indent="0" algn="l" defTabSz="914400" rtl="0" eaLnBrk="1" fontAlgn="auto" latinLnBrk="0" hangingPunct="1">
              <a:lnSpc>
                <a:spcPct val="100000"/>
              </a:lnSpc>
              <a:spcBef>
                <a:spcPts val="0"/>
              </a:spcBef>
              <a:spcAft>
                <a:spcPts val="0"/>
              </a:spcAft>
              <a:buClrTx/>
              <a:buSzTx/>
              <a:buFontTx/>
              <a:buNone/>
              <a:defRPr/>
            </a:pPr>
            <a:r>
              <a:rPr lang="en-US" sz="1200" baseline="0" dirty="0"/>
              <a:t>1,000: #6BAED6</a:t>
            </a:r>
            <a:endParaRPr lang="en-US" sz="1200" baseline="0" dirty="0"/>
          </a:p>
          <a:p>
            <a:pPr marL="0" marR="0" indent="0" algn="l" defTabSz="914400" rtl="0" eaLnBrk="1" fontAlgn="auto" latinLnBrk="0" hangingPunct="1">
              <a:lnSpc>
                <a:spcPct val="100000"/>
              </a:lnSpc>
              <a:spcBef>
                <a:spcPts val="0"/>
              </a:spcBef>
              <a:spcAft>
                <a:spcPts val="0"/>
              </a:spcAft>
              <a:buClrTx/>
              <a:buSzTx/>
              <a:buFontTx/>
              <a:buNone/>
              <a:defRPr/>
            </a:pPr>
            <a:r>
              <a:rPr lang="en-US" sz="1200" baseline="0" dirty="0"/>
              <a:t>100: #9ECAE1</a:t>
            </a:r>
            <a:endParaRPr lang="en-US" sz="1200" baseline="0" dirty="0"/>
          </a:p>
          <a:p>
            <a:pPr marL="0" marR="0" indent="0" algn="l" defTabSz="914400" rtl="0" eaLnBrk="1" fontAlgn="auto" latinLnBrk="0" hangingPunct="1">
              <a:lnSpc>
                <a:spcPct val="100000"/>
              </a:lnSpc>
              <a:spcBef>
                <a:spcPts val="0"/>
              </a:spcBef>
              <a:spcAft>
                <a:spcPts val="0"/>
              </a:spcAft>
              <a:buClrTx/>
              <a:buSzTx/>
              <a:buFontTx/>
              <a:buNone/>
              <a:defRPr/>
            </a:pPr>
            <a:r>
              <a:rPr lang="en-US" sz="1200" baseline="0" dirty="0"/>
              <a:t>10: #C6DBEF</a:t>
            </a:r>
            <a:endParaRPr lang="en-US" sz="1200" baseline="0" dirty="0"/>
          </a:p>
          <a:p>
            <a:pPr marL="0" marR="0" indent="0" algn="l" defTabSz="914400" rtl="0" eaLnBrk="1" fontAlgn="auto" latinLnBrk="0" hangingPunct="1">
              <a:lnSpc>
                <a:spcPct val="100000"/>
              </a:lnSpc>
              <a:spcBef>
                <a:spcPts val="0"/>
              </a:spcBef>
              <a:spcAft>
                <a:spcPts val="0"/>
              </a:spcAft>
              <a:buClrTx/>
              <a:buSzTx/>
              <a:buFontTx/>
              <a:buNone/>
              <a:defRPr/>
            </a:pPr>
            <a:r>
              <a:rPr lang="en-US" sz="1200" baseline="0" dirty="0"/>
              <a:t>1: #DEEBF7</a:t>
            </a:r>
            <a:endParaRPr lang="en-US" sz="1200" baseline="0" dirty="0"/>
          </a:p>
          <a:p>
            <a:pPr marL="0" marR="0" indent="0" algn="l" defTabSz="914400" rtl="0" eaLnBrk="1" fontAlgn="auto" latinLnBrk="0" hangingPunct="1">
              <a:lnSpc>
                <a:spcPct val="100000"/>
              </a:lnSpc>
              <a:spcBef>
                <a:spcPts val="0"/>
              </a:spcBef>
              <a:spcAft>
                <a:spcPts val="0"/>
              </a:spcAft>
              <a:buClrTx/>
              <a:buSzTx/>
              <a:buFontTx/>
              <a:buNone/>
              <a:defRPr/>
            </a:pPr>
            <a:r>
              <a:rPr lang="en-US" sz="1200" baseline="0" dirty="0"/>
              <a:t>0: #F7FBFF</a:t>
            </a:r>
            <a:endParaRPr lang="en-US" sz="1200" dirty="0"/>
          </a:p>
          <a:p>
            <a:pPr marL="0" marR="0" indent="0" algn="l" defTabSz="914400" rtl="0" eaLnBrk="1" fontAlgn="auto" latinLnBrk="0" hangingPunct="1">
              <a:lnSpc>
                <a:spcPct val="100000"/>
              </a:lnSpc>
              <a:spcBef>
                <a:spcPts val="0"/>
              </a:spcBef>
              <a:spcAft>
                <a:spcPts val="0"/>
              </a:spcAft>
              <a:buClrTx/>
              <a:buSzTx/>
              <a:buFontTx/>
              <a:buNone/>
              <a:defRPr/>
            </a:pPr>
            <a:endParaRPr lang="en-US" sz="1200" dirty="0"/>
          </a:p>
        </p:txBody>
      </p:sp>
      <p:sp>
        <p:nvSpPr>
          <p:cNvPr id="4" name="Slide Number Placeholder 3"/>
          <p:cNvSpPr>
            <a:spLocks noGrp="1"/>
          </p:cNvSpPr>
          <p:nvPr>
            <p:ph type="sldNum" sz="quarter" idx="10"/>
          </p:nvPr>
        </p:nvSpPr>
        <p:spPr/>
        <p:txBody>
          <a:bodyPr/>
          <a:lstStyle/>
          <a:p>
            <a:fld id="{0B5F498A-6B26-4993-86E8-6BEF4E6B8A90}" type="slidenum">
              <a:rPr lang="en-US" smtClean="0">
                <a:solidFill>
                  <a:prstClr val="black"/>
                </a:solidFill>
              </a:rPr>
            </a:fld>
            <a:endParaRPr lang="en-US">
              <a:solidFill>
                <a:prstClr val="black"/>
              </a:solidFill>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39825" y="754063"/>
            <a:ext cx="4394200" cy="329565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pPr>
              <a:defRPr/>
            </a:pPr>
            <a:fld id="{EA982599-8216-4674-AE26-00ED899EC17E}"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39825" y="754063"/>
            <a:ext cx="4394200" cy="3295650"/>
          </a:xfrm>
        </p:spPr>
      </p:sp>
      <p:sp>
        <p:nvSpPr>
          <p:cNvPr id="3" name="备注占位符 2"/>
          <p:cNvSpPr>
            <a:spLocks noGrp="1"/>
          </p:cNvSpPr>
          <p:nvPr>
            <p:ph type="body" idx="1"/>
          </p:nvPr>
        </p:nvSpPr>
        <p:spPr/>
        <p:txBody>
          <a:bodyPr/>
          <a:lstStyle/>
          <a:p>
            <a:r>
              <a:rPr lang="en-US" altLang="zh-CN" b="1" dirty="0"/>
              <a:t>Revision before submission: to avoid EARLY REJECTION</a:t>
            </a:r>
            <a:endParaRPr lang="en-US" altLang="zh-CN" b="1" dirty="0"/>
          </a:p>
          <a:p>
            <a:r>
              <a:rPr lang="en-US" altLang="zh-CN" b="1" dirty="0"/>
              <a:t>“Initial editorial review”: many journals reject manuscripts that are not well prepared without sending them for </a:t>
            </a:r>
            <a:r>
              <a:rPr lang="en-US" altLang="zh-CN" b="1" dirty="0" err="1"/>
              <a:t>review.Why</a:t>
            </a:r>
            <a:r>
              <a:rPr lang="en-US" altLang="zh-CN" b="1" dirty="0"/>
              <a:t>?</a:t>
            </a:r>
            <a:endParaRPr lang="en-US" altLang="zh-CN" b="1" dirty="0"/>
          </a:p>
          <a:p>
            <a:r>
              <a:rPr lang="zh-CN" altLang="en-US" dirty="0"/>
              <a:t>􀂾 </a:t>
            </a:r>
            <a:r>
              <a:rPr lang="en-US" altLang="zh-CN" dirty="0"/>
              <a:t>The peer-review system is </a:t>
            </a:r>
            <a:r>
              <a:rPr lang="en-US" altLang="zh-CN" b="1" dirty="0"/>
              <a:t>grossly overloaded </a:t>
            </a:r>
            <a:r>
              <a:rPr lang="en-US" altLang="zh-CN" dirty="0"/>
              <a:t>and editors wish to use reviewers only for those papers with a good probability of acceptance.</a:t>
            </a:r>
            <a:r>
              <a:rPr lang="zh-CN" altLang="en-US" dirty="0"/>
              <a:t>􀂾 </a:t>
            </a:r>
            <a:r>
              <a:rPr lang="en-US" altLang="zh-CN" dirty="0"/>
              <a:t>It is a </a:t>
            </a:r>
            <a:r>
              <a:rPr lang="en-US" altLang="zh-CN" b="1" dirty="0"/>
              <a:t>disservice </a:t>
            </a:r>
            <a:r>
              <a:rPr lang="en-US" altLang="zh-CN" dirty="0"/>
              <a:t>to ask reviewers to spend time on work that has clearly evident deficiencies.</a:t>
            </a:r>
            <a:endParaRPr lang="en-US" altLang="zh-CN" dirty="0"/>
          </a:p>
          <a:p>
            <a:endParaRPr lang="en-US" altLang="zh-CN" dirty="0"/>
          </a:p>
          <a:p>
            <a:endParaRPr lang="en-US" altLang="zh-CN" dirty="0"/>
          </a:p>
          <a:p>
            <a:endParaRPr lang="en-US" altLang="zh-CN" dirty="0"/>
          </a:p>
          <a:p>
            <a:endParaRPr lang="en-US" altLang="zh-CN" b="1" dirty="0"/>
          </a:p>
          <a:p>
            <a:endParaRPr lang="zh-CN" altLang="en-US" dirty="0"/>
          </a:p>
        </p:txBody>
      </p:sp>
      <p:sp>
        <p:nvSpPr>
          <p:cNvPr id="4" name="灯片编号占位符 3"/>
          <p:cNvSpPr>
            <a:spLocks noGrp="1"/>
          </p:cNvSpPr>
          <p:nvPr>
            <p:ph type="sldNum" sz="quarter" idx="10"/>
          </p:nvPr>
        </p:nvSpPr>
        <p:spPr/>
        <p:txBody>
          <a:bodyPr/>
          <a:lstStyle/>
          <a:p>
            <a:pPr>
              <a:defRPr/>
            </a:pPr>
            <a:fld id="{EA982599-8216-4674-AE26-00ED899EC17E}"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39825" y="754063"/>
            <a:ext cx="4394200" cy="3295650"/>
          </a:xfrm>
        </p:spPr>
      </p:sp>
      <p:sp>
        <p:nvSpPr>
          <p:cNvPr id="3" name="备注占位符 2"/>
          <p:cNvSpPr>
            <a:spLocks noGrp="1"/>
          </p:cNvSpPr>
          <p:nvPr>
            <p:ph type="body" idx="1"/>
          </p:nvPr>
        </p:nvSpPr>
        <p:spPr/>
        <p:txBody>
          <a:bodyPr/>
          <a:lstStyle/>
          <a:p>
            <a:r>
              <a:rPr lang="en-US" altLang="zh-CN" dirty="0"/>
              <a:t>http://help.elsevier.com/app/answers/detail/a_id/160/p/7923/p/8045</a:t>
            </a:r>
            <a:endParaRPr lang="en-US" altLang="zh-CN" dirty="0"/>
          </a:p>
          <a:p>
            <a:endParaRPr lang="zh-CN" altLang="en-US" dirty="0"/>
          </a:p>
        </p:txBody>
      </p:sp>
      <p:sp>
        <p:nvSpPr>
          <p:cNvPr id="4" name="灯片编号占位符 3"/>
          <p:cNvSpPr>
            <a:spLocks noGrp="1"/>
          </p:cNvSpPr>
          <p:nvPr>
            <p:ph type="sldNum" sz="quarter" idx="10"/>
          </p:nvPr>
        </p:nvSpPr>
        <p:spPr/>
        <p:txBody>
          <a:bodyPr/>
          <a:lstStyle/>
          <a:p>
            <a:pPr>
              <a:defRPr/>
            </a:pPr>
            <a:fld id="{EA982599-8216-4674-AE26-00ED899EC17E}"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39825" y="754063"/>
            <a:ext cx="4394200" cy="3295650"/>
          </a:xfrm>
        </p:spPr>
      </p:sp>
      <p:sp>
        <p:nvSpPr>
          <p:cNvPr id="3" name="备注占位符 2"/>
          <p:cNvSpPr>
            <a:spLocks noGrp="1"/>
          </p:cNvSpPr>
          <p:nvPr>
            <p:ph type="body" idx="1"/>
          </p:nvPr>
        </p:nvSpPr>
        <p:spPr/>
        <p:txBody>
          <a:bodyPr/>
          <a:lstStyle/>
          <a:p>
            <a:r>
              <a:rPr lang="en-US" altLang="zh-CN" dirty="0"/>
              <a:t>http://www.dxy.cn/bbs/topic/19342433</a:t>
            </a:r>
            <a:endParaRPr lang="zh-CN" altLang="en-US" dirty="0"/>
          </a:p>
        </p:txBody>
      </p:sp>
      <p:sp>
        <p:nvSpPr>
          <p:cNvPr id="4" name="灯片编号占位符 3"/>
          <p:cNvSpPr>
            <a:spLocks noGrp="1"/>
          </p:cNvSpPr>
          <p:nvPr>
            <p:ph type="sldNum" sz="quarter" idx="10"/>
          </p:nvPr>
        </p:nvSpPr>
        <p:spPr/>
        <p:txBody>
          <a:bodyPr/>
          <a:lstStyle/>
          <a:p>
            <a:pPr>
              <a:defRPr/>
            </a:pPr>
            <a:fld id="{EA982599-8216-4674-AE26-00ED899EC17E}"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p:txBody>
          <a:bodyPr/>
          <a:lstStyle/>
          <a:p>
            <a:pPr>
              <a:defRPr/>
            </a:pPr>
            <a:fld id="{3128B50D-DF56-4100-938A-26668BD08851}" type="slidenum">
              <a:rPr lang="zh-CN" altLang="en-US" smtClean="0">
                <a:solidFill>
                  <a:prstClr val="black"/>
                </a:solidFill>
                <a:latin typeface="Arial" panose="020B0604020202020204" pitchFamily="34" charset="0"/>
              </a:rPr>
            </a:fld>
            <a:endParaRPr lang="en-US" altLang="zh-CN">
              <a:solidFill>
                <a:prstClr val="black"/>
              </a:solidFill>
              <a:latin typeface="Arial" panose="020B0604020202020204" pitchFamily="34" charset="0"/>
            </a:endParaRPr>
          </a:p>
        </p:txBody>
      </p:sp>
      <p:sp>
        <p:nvSpPr>
          <p:cNvPr id="57347" name="Rectangle 2"/>
          <p:cNvSpPr>
            <a:spLocks noGrp="1" noRot="1" noChangeAspect="1" noChangeArrowheads="1" noTextEdit="1"/>
          </p:cNvSpPr>
          <p:nvPr>
            <p:ph type="sldImg"/>
          </p:nvPr>
        </p:nvSpPr>
        <p:spPr>
          <a:xfrm>
            <a:off x="1144588" y="685800"/>
            <a:ext cx="4568825" cy="3427413"/>
          </a:xfrm>
        </p:spPr>
      </p:sp>
      <p:sp>
        <p:nvSpPr>
          <p:cNvPr id="57348" name="Rectangle 3"/>
          <p:cNvSpPr>
            <a:spLocks noGrp="1" noChangeArrowheads="1"/>
          </p:cNvSpPr>
          <p:nvPr>
            <p:ph type="body" idx="1"/>
          </p:nvPr>
        </p:nvSpPr>
        <p:spPr>
          <a:noFill/>
        </p:spPr>
        <p:txBody>
          <a:bodyPr/>
          <a:lstStyle/>
          <a:p>
            <a:pPr eaLnBrk="1" hangingPunct="1"/>
            <a:r>
              <a:rPr lang="zh-CN" altLang="en-US" dirty="0">
                <a:latin typeface="Arial" panose="020B0604020202020204" pitchFamily="34" charset="0"/>
              </a:rPr>
              <a:t>外文期刊都要求有投稿信</a:t>
            </a:r>
            <a:endParaRPr lang="zh-CN" altLang="en-US" dirty="0">
              <a:latin typeface="Arial" panose="020B0604020202020204" pitchFamily="34" charset="0"/>
            </a:endParaRPr>
          </a:p>
          <a:p>
            <a:pPr eaLnBrk="1" hangingPunct="1"/>
            <a:r>
              <a:rPr lang="zh-CN" altLang="en-US" dirty="0">
                <a:latin typeface="Arial" panose="020B0604020202020204" pitchFamily="34" charset="0"/>
              </a:rPr>
              <a:t>通讯作者要方便联系，对研究和论文熟悉，能及时回答编辑的问题和邮件</a:t>
            </a:r>
            <a:endParaRPr lang="zh-CN" altLang="en-US" dirty="0">
              <a:latin typeface="Arial" panose="020B0604020202020204" pitchFamily="34" charset="0"/>
            </a:endParaRPr>
          </a:p>
          <a:p>
            <a:pPr eaLnBrk="1" hangingPunct="1"/>
            <a:r>
              <a:rPr lang="zh-CN" altLang="en-US" dirty="0">
                <a:latin typeface="Arial" panose="020B0604020202020204" pitchFamily="34" charset="0"/>
              </a:rPr>
              <a:t>评审人：建议推荐</a:t>
            </a:r>
            <a:r>
              <a:rPr lang="en-US" altLang="zh-CN" dirty="0">
                <a:latin typeface="Arial" panose="020B0604020202020204" pitchFamily="34" charset="0"/>
              </a:rPr>
              <a:t>3</a:t>
            </a:r>
            <a:r>
              <a:rPr lang="zh-CN" altLang="en-US" dirty="0">
                <a:latin typeface="Arial" panose="020B0604020202020204" pitchFamily="34" charset="0"/>
              </a:rPr>
              <a:t>～</a:t>
            </a:r>
            <a:r>
              <a:rPr lang="en-US" altLang="zh-CN" dirty="0">
                <a:latin typeface="Arial" panose="020B0604020202020204" pitchFamily="34" charset="0"/>
              </a:rPr>
              <a:t>5</a:t>
            </a:r>
            <a:r>
              <a:rPr lang="zh-CN" altLang="en-US" dirty="0">
                <a:latin typeface="Arial" panose="020B0604020202020204" pitchFamily="34" charset="0"/>
              </a:rPr>
              <a:t>位来自不同国家的评审人，留下他们的至少是</a:t>
            </a:r>
            <a:r>
              <a:rPr lang="en-US" altLang="zh-CN" dirty="0">
                <a:latin typeface="Arial" panose="020B0604020202020204" pitchFamily="34" charset="0"/>
              </a:rPr>
              <a:t>Email</a:t>
            </a:r>
            <a:r>
              <a:rPr lang="zh-CN" altLang="en-US" dirty="0">
                <a:latin typeface="Arial" panose="020B0604020202020204" pitchFamily="34" charset="0"/>
              </a:rPr>
              <a:t>的联系方式。不要推荐自己的导师或者熟人为评审人，编辑也会去考察，如果发现，会被认为是很不专业的。推荐的评审人不一定会被采纳；但如果要回避哪些评审人，比如和自己观点相左的评审人，一定要在投稿信中向编辑说明，编辑一定会采纳。</a:t>
            </a:r>
            <a:endParaRPr lang="en-US" altLang="zh-CN" dirty="0">
              <a:latin typeface="Arial" panose="020B0604020202020204" pitchFamily="34" charset="0"/>
            </a:endParaRPr>
          </a:p>
          <a:p>
            <a:pPr eaLnBrk="1" hangingPunct="1"/>
            <a:endParaRPr lang="en-US" altLang="zh-CN" dirty="0">
              <a:latin typeface="Arial" panose="020B0604020202020204" pitchFamily="34" charset="0"/>
            </a:endParaRPr>
          </a:p>
          <a:p>
            <a:pPr eaLnBrk="1" hangingPunct="1"/>
            <a:r>
              <a:rPr lang="en-US" altLang="zh-CN" dirty="0">
                <a:latin typeface="Arial" panose="020B0604020202020204" pitchFamily="34" charset="0"/>
              </a:rPr>
              <a:t>http://blogs.nature.com/methagora/2013/09/how-to-write-a-cover-letter.html</a:t>
            </a:r>
            <a:endParaRPr lang="en-US" altLang="zh-CN" dirty="0">
              <a:latin typeface="Arial" panose="020B0604020202020204" pitchFamily="34" charset="0"/>
            </a:endParaRPr>
          </a:p>
          <a:p>
            <a:pPr eaLnBrk="1" hangingPunct="1"/>
            <a:endParaRPr lang="en-US" altLang="zh-CN" dirty="0">
              <a:latin typeface="Arial" panose="020B0604020202020204" pitchFamily="34"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139825" y="754063"/>
            <a:ext cx="4394200" cy="3295650"/>
          </a:xfrm>
        </p:spPr>
      </p:sp>
      <p:sp>
        <p:nvSpPr>
          <p:cNvPr id="3" name="备注占位符 2"/>
          <p:cNvSpPr>
            <a:spLocks noGrp="1"/>
          </p:cNvSpPr>
          <p:nvPr>
            <p:ph type="body" idx="1"/>
          </p:nvPr>
        </p:nvSpPr>
        <p:spPr/>
        <p:txBody>
          <a:bodyPr/>
          <a:lstStyle/>
          <a:p>
            <a:r>
              <a:rPr lang="zh-CN" altLang="en-US" dirty="0">
                <a:solidFill>
                  <a:srgbClr val="006699"/>
                </a:solidFill>
              </a:rPr>
              <a:t>一稿多投浪费编辑和审稿人的宝贵时间</a:t>
            </a:r>
            <a:endParaRPr lang="en-US" altLang="zh-CN" dirty="0">
              <a:solidFill>
                <a:srgbClr val="006699"/>
              </a:solidFill>
            </a:endParaRPr>
          </a:p>
          <a:p>
            <a:r>
              <a:rPr lang="zh-CN" altLang="en-US" dirty="0">
                <a:solidFill>
                  <a:srgbClr val="006699"/>
                </a:solidFill>
              </a:rPr>
              <a:t>一旦一稿多投被发现，你的稿件的编辑过程就会完全停止</a:t>
            </a:r>
            <a:endParaRPr lang="en-US" altLang="zh-CN" dirty="0">
              <a:solidFill>
                <a:srgbClr val="006699"/>
              </a:solidFill>
            </a:endParaRPr>
          </a:p>
          <a:p>
            <a:r>
              <a:rPr lang="zh-CN" altLang="en-US" dirty="0">
                <a:solidFill>
                  <a:srgbClr val="006699"/>
                </a:solidFill>
              </a:rPr>
              <a:t>竞争期刊其实会经常分享可疑文章的信息</a:t>
            </a:r>
            <a:endParaRPr lang="en-US" altLang="zh-CN" dirty="0">
              <a:solidFill>
                <a:srgbClr val="006699"/>
              </a:solidFill>
            </a:endParaRPr>
          </a:p>
          <a:p>
            <a:r>
              <a:rPr lang="zh-CN" altLang="en-US" dirty="0">
                <a:solidFill>
                  <a:srgbClr val="006699"/>
                </a:solidFill>
              </a:rPr>
              <a:t>在获得第一个投稿期刊最后决定前，不要把你的文章发给另一本期刊</a:t>
            </a:r>
            <a:endParaRPr lang="en-US" altLang="zh-CN" dirty="0">
              <a:solidFill>
                <a:srgbClr val="006699"/>
              </a:solidFill>
            </a:endParaRPr>
          </a:p>
          <a:p>
            <a:endParaRPr lang="en-US" altLang="zh-CN" dirty="0">
              <a:solidFill>
                <a:srgbClr val="006699"/>
              </a:solidFill>
            </a:endParaRPr>
          </a:p>
          <a:p>
            <a:pPr eaLnBrk="1" hangingPunct="1"/>
            <a:r>
              <a:rPr lang="en-US" altLang="zh-CN" dirty="0">
                <a:latin typeface="Arial" panose="020B0604020202020204" pitchFamily="34" charset="0"/>
              </a:rPr>
              <a:t>Click 1</a:t>
            </a:r>
            <a:r>
              <a:rPr lang="zh-CN" altLang="en-US" dirty="0">
                <a:latin typeface="Arial" panose="020B0604020202020204" pitchFamily="34" charset="0"/>
              </a:rPr>
              <a:t>：我们先来看看编辑的观点和他们的处境。这一页的内容，是</a:t>
            </a:r>
            <a:r>
              <a:rPr lang="en-US" altLang="zh-CN" dirty="0">
                <a:latin typeface="Arial" panose="020B0604020202020204" pitchFamily="34" charset="0"/>
              </a:rPr>
              <a:t>Elsevier</a:t>
            </a:r>
            <a:r>
              <a:rPr lang="zh-CN" altLang="en-US" dirty="0">
                <a:latin typeface="Arial" panose="020B0604020202020204" pitchFamily="34" charset="0"/>
              </a:rPr>
              <a:t>色谱</a:t>
            </a:r>
            <a:r>
              <a:rPr lang="en-US" altLang="zh-CN" dirty="0">
                <a:latin typeface="Arial" panose="020B0604020202020204" pitchFamily="34" charset="0"/>
              </a:rPr>
              <a:t>B</a:t>
            </a:r>
            <a:r>
              <a:rPr lang="zh-CN" altLang="en-US" dirty="0">
                <a:latin typeface="Arial" panose="020B0604020202020204" pitchFamily="34" charset="0"/>
              </a:rPr>
              <a:t>这个期刊的编委对中国作者投稿的看法，代表了不少国际期刊编辑的共同见解。</a:t>
            </a:r>
            <a:endParaRPr lang="zh-CN" altLang="en-US" dirty="0">
              <a:latin typeface="Arial" panose="020B0604020202020204" pitchFamily="34" charset="0"/>
            </a:endParaRPr>
          </a:p>
          <a:p>
            <a:pPr eaLnBrk="1" hangingPunct="1"/>
            <a:r>
              <a:rPr lang="zh-CN" altLang="en-US" dirty="0">
                <a:latin typeface="Arial" panose="020B0604020202020204" pitchFamily="34" charset="0"/>
              </a:rPr>
              <a:t>首先，中国有不少出色的研究工作</a:t>
            </a:r>
            <a:r>
              <a:rPr lang="en-US" altLang="zh-CN" dirty="0">
                <a:latin typeface="Times New Roman" panose="02020603050405020304" pitchFamily="18" charset="0"/>
              </a:rPr>
              <a:t>……</a:t>
            </a:r>
            <a:endParaRPr lang="en-US" altLang="zh-CN" dirty="0">
              <a:latin typeface="Arial" panose="020B0604020202020204" pitchFamily="34" charset="0"/>
            </a:endParaRPr>
          </a:p>
          <a:p>
            <a:pPr eaLnBrk="1" hangingPunct="1"/>
            <a:r>
              <a:rPr lang="en-US" altLang="zh-CN" dirty="0">
                <a:latin typeface="Arial" panose="020B0604020202020204" pitchFamily="34" charset="0"/>
              </a:rPr>
              <a:t>Click 2: </a:t>
            </a:r>
            <a:r>
              <a:rPr lang="zh-CN" altLang="en-US" dirty="0">
                <a:latin typeface="Arial" panose="020B0604020202020204" pitchFamily="34" charset="0"/>
              </a:rPr>
              <a:t>但也存在不少问题。比较严重的有</a:t>
            </a:r>
            <a:endParaRPr lang="en-US" altLang="zh-CN" dirty="0">
              <a:latin typeface="Arial" panose="020B0604020202020204" pitchFamily="34" charset="0"/>
            </a:endParaRPr>
          </a:p>
          <a:p>
            <a:pPr eaLnBrk="1" hangingPunct="1"/>
            <a:r>
              <a:rPr lang="zh-CN" altLang="en-US" dirty="0">
                <a:latin typeface="Arial" panose="020B0604020202020204" pitchFamily="34" charset="0"/>
              </a:rPr>
              <a:t>为了节省自己的时间而同时投稿，不道德，发现后有些学校是会开除的。如果同时被接收，会出现版权的问题。同一个研究内容，投论文，和改写一下投会议，属于不同的类型，不算一稿多投。</a:t>
            </a:r>
            <a:endParaRPr lang="zh-CN" altLang="en-US" dirty="0">
              <a:latin typeface="Arial" panose="020B0604020202020204" pitchFamily="34" charset="0"/>
            </a:endParaRPr>
          </a:p>
          <a:p>
            <a:pPr eaLnBrk="1" hangingPunct="1"/>
            <a:r>
              <a:rPr lang="zh-CN" altLang="en-US" dirty="0">
                <a:latin typeface="Arial" panose="020B0604020202020204" pitchFamily="34" charset="0"/>
              </a:rPr>
              <a:t>已经在中文发表，也不是绝对不可以在英文发表；如果得到两方编辑的同意，也可以再发表。</a:t>
            </a:r>
            <a:endParaRPr lang="zh-CN" altLang="en-US" dirty="0">
              <a:latin typeface="Arial" panose="020B0604020202020204" pitchFamily="34" charset="0"/>
            </a:endParaRPr>
          </a:p>
          <a:p>
            <a:pPr eaLnBrk="1" hangingPunct="1"/>
            <a:r>
              <a:rPr lang="zh-CN" altLang="en-US" dirty="0">
                <a:latin typeface="Arial" panose="020B0604020202020204" pitchFamily="34" charset="0"/>
              </a:rPr>
              <a:t>剽窃：认为</a:t>
            </a:r>
            <a:r>
              <a:rPr lang="en-US" altLang="zh-CN" dirty="0">
                <a:latin typeface="Arial" panose="020B0604020202020204" pitchFamily="34" charset="0"/>
              </a:rPr>
              <a:t>Abstract</a:t>
            </a:r>
            <a:r>
              <a:rPr lang="zh-CN" altLang="en-US" dirty="0">
                <a:latin typeface="Arial" panose="020B0604020202020204" pitchFamily="34" charset="0"/>
              </a:rPr>
              <a:t>都差不多，就照搬过来，认为影响不大，这样也是不行的，会被编辑认为是剽窃。</a:t>
            </a:r>
            <a:endParaRPr lang="zh-CN" altLang="en-US" dirty="0">
              <a:latin typeface="Arial" panose="020B0604020202020204" pitchFamily="34" charset="0"/>
            </a:endParaRPr>
          </a:p>
          <a:p>
            <a:pPr eaLnBrk="1" hangingPunct="1"/>
            <a:r>
              <a:rPr lang="en-US" altLang="zh-CN" dirty="0">
                <a:latin typeface="Arial" panose="020B0604020202020204" pitchFamily="34" charset="0"/>
              </a:rPr>
              <a:t>Click 3</a:t>
            </a:r>
            <a:r>
              <a:rPr lang="zh-CN" altLang="en-US" dirty="0">
                <a:latin typeface="Arial" panose="020B0604020202020204" pitchFamily="34" charset="0"/>
              </a:rPr>
              <a:t>：同时一些更常见的在论文准备事后的问题，我们接下来会谈到细节。</a:t>
            </a:r>
            <a:endParaRPr lang="zh-CN" altLang="en-US" dirty="0">
              <a:latin typeface="Arial" panose="020B0604020202020204" pitchFamily="34" charset="0"/>
            </a:endParaRPr>
          </a:p>
          <a:p>
            <a:pPr eaLnBrk="1" hangingPunct="1"/>
            <a:r>
              <a:rPr lang="zh-CN" altLang="en-US" dirty="0">
                <a:latin typeface="Arial" panose="020B0604020202020204" pitchFamily="34" charset="0"/>
              </a:rPr>
              <a:t>前几种念一下就可以；英文，多看</a:t>
            </a:r>
            <a:r>
              <a:rPr lang="en-US" altLang="zh-CN" dirty="0">
                <a:latin typeface="Arial" panose="020B0604020202020204" pitchFamily="34" charset="0"/>
              </a:rPr>
              <a:t>SD</a:t>
            </a:r>
            <a:r>
              <a:rPr lang="zh-CN" altLang="en-US" dirty="0">
                <a:latin typeface="Arial" panose="020B0604020202020204" pitchFamily="34" charset="0"/>
              </a:rPr>
              <a:t>的全文，也有很多非英语母语国家的作者。</a:t>
            </a:r>
            <a:endParaRPr lang="zh-CN" altLang="en-US" dirty="0">
              <a:latin typeface="Arial" panose="020B0604020202020204" pitchFamily="34" charset="0"/>
            </a:endParaRPr>
          </a:p>
          <a:p>
            <a:pPr eaLnBrk="1" hangingPunct="1"/>
            <a:r>
              <a:rPr lang="zh-CN" altLang="en-US" dirty="0">
                <a:latin typeface="Arial" panose="020B0604020202020204" pitchFamily="34" charset="0"/>
              </a:rPr>
              <a:t>退稿后不仔细修改，这样很不好，毕竟审稿专家的意见有权威性。另外如果不加修改就改投，万一遇到同一位评审专家。。。。</a:t>
            </a:r>
            <a:endParaRPr lang="en-US" altLang="zh-CN" dirty="0">
              <a:latin typeface="Arial" panose="020B0604020202020204" pitchFamily="34" charset="0"/>
            </a:endParaRPr>
          </a:p>
          <a:p>
            <a:pPr eaLnBrk="1" hangingPunct="1"/>
            <a:endParaRPr lang="en-US" altLang="zh-CN" dirty="0">
              <a:solidFill>
                <a:srgbClr val="006699"/>
              </a:solidFill>
            </a:endParaRPr>
          </a:p>
          <a:p>
            <a:pPr eaLnBrk="1" hangingPunct="1"/>
            <a:r>
              <a:rPr lang="zh-CN" altLang="en-US" dirty="0">
                <a:solidFill>
                  <a:srgbClr val="006699"/>
                </a:solidFill>
              </a:rPr>
              <a:t>通讯作者和第一作者</a:t>
            </a:r>
            <a:endParaRPr lang="en-US" altLang="zh-CN" dirty="0">
              <a:solidFill>
                <a:srgbClr val="006699"/>
              </a:solidFill>
            </a:endParaRPr>
          </a:p>
          <a:p>
            <a:pPr eaLnBrk="1" hangingPunct="1"/>
            <a:r>
              <a:rPr lang="en-US" altLang="zh-CN" dirty="0">
                <a:solidFill>
                  <a:srgbClr val="006699"/>
                </a:solidFill>
              </a:rPr>
              <a:t>https://www.researchgate.net/post/Difference_between_Corresponding_author_and_First_author_and_what_are_all_their_responsibilities</a:t>
            </a:r>
            <a:endParaRPr lang="en-US" altLang="zh-CN" dirty="0">
              <a:solidFill>
                <a:srgbClr val="006699"/>
              </a:solidFill>
            </a:endParaRPr>
          </a:p>
          <a:p>
            <a:pPr eaLnBrk="1" hangingPunct="1"/>
            <a:r>
              <a:rPr lang="en-US" altLang="zh-CN" dirty="0">
                <a:solidFill>
                  <a:srgbClr val="006699"/>
                </a:solidFill>
              </a:rPr>
              <a:t>http://www.dxy.cn/bbs/topic/19342433</a:t>
            </a:r>
            <a:endParaRPr lang="en-US" altLang="zh-CN" dirty="0">
              <a:solidFill>
                <a:srgbClr val="006699"/>
              </a:solidFill>
            </a:endParaRPr>
          </a:p>
          <a:p>
            <a:pPr eaLnBrk="1" hangingPunct="1"/>
            <a:endParaRPr lang="en-US" altLang="zh-CN" dirty="0">
              <a:solidFill>
                <a:srgbClr val="006699"/>
              </a:solidFill>
            </a:endParaRPr>
          </a:p>
          <a:p>
            <a:endParaRPr lang="zh-CN" altLang="en-US" dirty="0"/>
          </a:p>
        </p:txBody>
      </p:sp>
      <p:sp>
        <p:nvSpPr>
          <p:cNvPr id="4" name="灯片编号占位符 3"/>
          <p:cNvSpPr>
            <a:spLocks noGrp="1"/>
          </p:cNvSpPr>
          <p:nvPr>
            <p:ph type="sldNum" sz="quarter" idx="10"/>
          </p:nvPr>
        </p:nvSpPr>
        <p:spPr/>
        <p:txBody>
          <a:bodyPr/>
          <a:lstStyle/>
          <a:p>
            <a:pPr>
              <a:defRPr/>
            </a:pPr>
            <a:fld id="{EA982599-8216-4674-AE26-00ED899EC17E}" type="slidenum">
              <a:rPr lang="zh-CN" altLang="en-US" smtClean="0">
                <a:solidFill>
                  <a:prstClr val="black"/>
                </a:solidFill>
              </a:rPr>
            </a:fld>
            <a:endParaRPr lang="zh-CN" altLang="en-US">
              <a:solidFill>
                <a:prstClr val="black"/>
              </a:solidFill>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028700" y="715963"/>
            <a:ext cx="4171950" cy="3130550"/>
          </a:xfrm>
        </p:spPr>
      </p:sp>
      <p:sp>
        <p:nvSpPr>
          <p:cNvPr id="3" name="备注占位符 2"/>
          <p:cNvSpPr>
            <a:spLocks noGrp="1"/>
          </p:cNvSpPr>
          <p:nvPr>
            <p:ph type="body" idx="1"/>
          </p:nvPr>
        </p:nvSpPr>
        <p:spPr/>
        <p:txBody>
          <a:bodyPr/>
          <a:lstStyle/>
          <a:p>
            <a:r>
              <a:rPr lang="en-US" altLang="zh-CN" dirty="0"/>
              <a:t>http://editorsupdate.elsevier.com/issue-41-november-2013/the-importance-of-author-education/</a:t>
            </a:r>
            <a:endParaRPr lang="en-US" altLang="zh-CN" dirty="0"/>
          </a:p>
          <a:p>
            <a:r>
              <a:rPr lang="en-US" altLang="zh-CN" dirty="0"/>
              <a:t>http://editorsupdate.elsevier.com/issue-41-november-2013/how-crosscheck-can-combat-the-perils-of-plagiarism/</a:t>
            </a:r>
            <a:endParaRPr lang="zh-CN" altLang="en-US" dirty="0"/>
          </a:p>
        </p:txBody>
      </p:sp>
      <p:sp>
        <p:nvSpPr>
          <p:cNvPr id="4" name="灯片编号占位符 3"/>
          <p:cNvSpPr>
            <a:spLocks noGrp="1"/>
          </p:cNvSpPr>
          <p:nvPr>
            <p:ph type="sldNum" sz="quarter" idx="10"/>
          </p:nvPr>
        </p:nvSpPr>
        <p:spPr/>
        <p:txBody>
          <a:bodyPr/>
          <a:lstStyle/>
          <a:p>
            <a:pPr>
              <a:defRPr/>
            </a:pPr>
            <a:fld id="{EA982599-8216-4674-AE26-00ED899EC17E}" type="slidenum">
              <a:rPr lang="zh-CN" altLang="en-US" smtClean="0">
                <a:solidFill>
                  <a:srgbClr val="000000"/>
                </a:solidFill>
              </a:rPr>
            </a:fld>
            <a:endParaRPr lang="zh-CN" altLang="en-US">
              <a:solidFill>
                <a:srgbClr val="000000"/>
              </a:solidFill>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PhAnim="0" showMasterSp="0">
  <p:cSld>
    <p:spTree>
      <p:nvGrpSpPr>
        <p:cNvPr id="1" name="Shape 483"/>
        <p:cNvGrpSpPr/>
        <p:nvPr/>
      </p:nvGrpSpPr>
      <p:grpSpPr>
        <a:xfrm>
          <a:off x="0" y="0"/>
          <a:ext cx="0" cy="0"/>
          <a:chOff x="0" y="0"/>
          <a:chExt cx="0" cy="0"/>
        </a:xfrm>
      </p:grpSpPr>
      <p:sp>
        <p:nvSpPr>
          <p:cNvPr id="484" name="Shape 484"/>
          <p:cNvSpPr>
            <a:spLocks noGrp="1" noRot="1" noChangeAspect="1"/>
          </p:cNvSpPr>
          <p:nvPr>
            <p:ph type="sldImg" idx="2"/>
          </p:nvPr>
        </p:nvSpPr>
        <p:spPr>
          <a:xfrm>
            <a:off x="866775" y="738188"/>
            <a:ext cx="4913313" cy="3686175"/>
          </a:xfrm>
          <a:custGeom>
            <a:avLst/>
            <a:gdLst/>
            <a:ahLst/>
            <a:cxnLst/>
            <a:rect l="0" t="0" r="0" b="0"/>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a:headEnd type="none" w="med" len="med"/>
            <a:tailEnd type="none" w="med" len="med"/>
          </a:ln>
        </p:spPr>
      </p:sp>
      <p:sp>
        <p:nvSpPr>
          <p:cNvPr id="485" name="Shape 485"/>
          <p:cNvSpPr txBox="1">
            <a:spLocks noGrp="1"/>
          </p:cNvSpPr>
          <p:nvPr>
            <p:ph type="body" idx="1"/>
          </p:nvPr>
        </p:nvSpPr>
        <p:spPr>
          <a:xfrm>
            <a:off x="679451" y="4717414"/>
            <a:ext cx="5435599" cy="4469130"/>
          </a:xfrm>
          <a:prstGeom prst="rect">
            <a:avLst/>
          </a:prstGeom>
          <a:noFill/>
          <a:ln>
            <a:noFill/>
          </a:ln>
        </p:spPr>
        <p:txBody>
          <a:bodyPr lIns="92825" tIns="46400" rIns="92825" bIns="46400" anchor="t" anchorCtr="0">
            <a:noAutofit/>
          </a:bodyPr>
          <a:lstStyle/>
          <a:p>
            <a:pPr marL="0" marR="0" lvl="0" indent="0" algn="l" defTabSz="914400" rtl="0" eaLnBrk="1" fontAlgn="auto" latinLnBrk="0" hangingPunct="1">
              <a:lnSpc>
                <a:spcPct val="100000"/>
              </a:lnSpc>
              <a:spcBef>
                <a:spcPts val="0"/>
              </a:spcBef>
              <a:spcAft>
                <a:spcPts val="0"/>
              </a:spcAft>
              <a:buClrTx/>
              <a:buSzPct val="25000"/>
              <a:buFontTx/>
              <a:buNone/>
              <a:defRPr/>
            </a:pPr>
            <a:endParaRPr lang="en-US" sz="1200" b="0" i="0" u="none" strike="noStrike" kern="1200" cap="none" dirty="0">
              <a:solidFill>
                <a:schemeClr val="dk1"/>
              </a:solidFill>
              <a:effectLst/>
              <a:latin typeface="Calibri" panose="020F0502020204030204"/>
              <a:ea typeface="Calibri" panose="020F0502020204030204"/>
              <a:cs typeface="Calibri" panose="020F0502020204030204"/>
              <a:sym typeface="Calibri" panose="020F0502020204030204"/>
            </a:endParaRPr>
          </a:p>
          <a:p>
            <a:pPr marL="0" marR="0" lvl="0" indent="0" algn="l" rtl="0">
              <a:spcBef>
                <a:spcPts val="0"/>
              </a:spcBef>
              <a:buSzPct val="25000"/>
              <a:buNone/>
            </a:pPr>
            <a:br>
              <a:rPr lang="en-US" sz="1200" b="0" i="0" u="none" strike="noStrike" kern="1200" cap="none" dirty="0">
                <a:solidFill>
                  <a:schemeClr val="dk1"/>
                </a:solidFill>
                <a:effectLst/>
                <a:latin typeface="Calibri" panose="020F0502020204030204"/>
                <a:ea typeface="Calibri" panose="020F0502020204030204"/>
                <a:cs typeface="Calibri" panose="020F0502020204030204"/>
                <a:sym typeface="Calibri" panose="020F0502020204030204"/>
              </a:rPr>
            </a:br>
            <a:endParaRPr sz="1200" b="0" i="0" u="none" strike="noStrike" cap="none" dirty="0">
              <a:solidFill>
                <a:schemeClr val="dk1"/>
              </a:solidFill>
              <a:latin typeface="Calibri" panose="020F0502020204030204"/>
              <a:ea typeface="Calibri" panose="020F0502020204030204"/>
              <a:cs typeface="Calibri" panose="020F0502020204030204"/>
              <a:sym typeface="Calibri" panose="020F0502020204030204"/>
            </a:endParaRPr>
          </a:p>
        </p:txBody>
      </p:sp>
      <p:sp>
        <p:nvSpPr>
          <p:cNvPr id="486" name="Shape 486"/>
          <p:cNvSpPr txBox="1">
            <a:spLocks noGrp="1"/>
          </p:cNvSpPr>
          <p:nvPr>
            <p:ph type="sldNum" idx="12"/>
          </p:nvPr>
        </p:nvSpPr>
        <p:spPr>
          <a:xfrm>
            <a:off x="3848645" y="9433105"/>
            <a:ext cx="2944282" cy="496570"/>
          </a:xfrm>
          <a:prstGeom prst="rect">
            <a:avLst/>
          </a:prstGeom>
          <a:noFill/>
          <a:ln>
            <a:noFill/>
          </a:ln>
        </p:spPr>
        <p:txBody>
          <a:bodyPr lIns="92825" tIns="46400" rIns="92825" bIns="46400" anchor="b" anchorCtr="0">
            <a:noAutofit/>
          </a:bodyPr>
          <a:lstStyle/>
          <a:p>
            <a:pPr>
              <a:buSzPct val="25000"/>
            </a:pPr>
            <a:fld id="{00000000-1234-1234-1234-123412341234}" type="slidenum">
              <a:rPr lang="en-US">
                <a:latin typeface="Calibri" panose="020F0502020204030204"/>
                <a:ea typeface="Calibri" panose="020F0502020204030204"/>
                <a:cs typeface="Calibri" panose="020F0502020204030204"/>
                <a:sym typeface="Calibri" panose="020F0502020204030204"/>
              </a:rPr>
            </a:fld>
            <a:endParaRPr lang="en-US">
              <a:latin typeface="Calibri" panose="020F0502020204030204"/>
              <a:ea typeface="Calibri" panose="020F0502020204030204"/>
              <a:cs typeface="Calibri" panose="020F0502020204030204"/>
              <a:sym typeface="Calibri" panose="020F0502020204030204"/>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Elsevier</a:t>
            </a:r>
            <a:r>
              <a:rPr lang="nl-NL" baseline="0" dirty="0"/>
              <a:t> </a:t>
            </a:r>
            <a:r>
              <a:rPr lang="nl-NL" baseline="0" dirty="0" err="1"/>
              <a:t>plays</a:t>
            </a:r>
            <a:r>
              <a:rPr lang="nl-NL" baseline="0" dirty="0"/>
              <a:t> a </a:t>
            </a:r>
            <a:r>
              <a:rPr lang="nl-NL" baseline="0" dirty="0" err="1"/>
              <a:t>crucial</a:t>
            </a:r>
            <a:r>
              <a:rPr lang="nl-NL" baseline="0" dirty="0"/>
              <a:t> </a:t>
            </a:r>
            <a:r>
              <a:rPr lang="nl-NL" baseline="0" dirty="0" err="1"/>
              <a:t>role</a:t>
            </a:r>
            <a:r>
              <a:rPr lang="nl-NL" baseline="0" dirty="0"/>
              <a:t> in </a:t>
            </a:r>
            <a:r>
              <a:rPr lang="nl-NL" baseline="0" dirty="0" err="1"/>
              <a:t>Quality</a:t>
            </a:r>
            <a:r>
              <a:rPr lang="nl-NL" baseline="0" dirty="0"/>
              <a:t> Control </a:t>
            </a:r>
            <a:r>
              <a:rPr lang="nl-NL" baseline="0" dirty="0" err="1"/>
              <a:t>within</a:t>
            </a:r>
            <a:r>
              <a:rPr lang="nl-NL" baseline="0" dirty="0"/>
              <a:t> </a:t>
            </a:r>
            <a:r>
              <a:rPr lang="nl-NL" baseline="0" dirty="0" err="1"/>
              <a:t>the</a:t>
            </a:r>
            <a:r>
              <a:rPr lang="nl-NL" baseline="0" dirty="0"/>
              <a:t> </a:t>
            </a:r>
            <a:r>
              <a:rPr lang="nl-NL" baseline="0" dirty="0" err="1"/>
              <a:t>global</a:t>
            </a:r>
            <a:r>
              <a:rPr lang="nl-NL" baseline="0" dirty="0"/>
              <a:t> research landscape – </a:t>
            </a:r>
            <a:r>
              <a:rPr lang="nl-NL" baseline="0" dirty="0" err="1"/>
              <a:t>and</a:t>
            </a:r>
            <a:r>
              <a:rPr lang="nl-NL" baseline="0" dirty="0"/>
              <a:t> Elsevier </a:t>
            </a:r>
            <a:r>
              <a:rPr lang="nl-NL" baseline="0" dirty="0" err="1"/>
              <a:t>uses</a:t>
            </a:r>
            <a:r>
              <a:rPr lang="nl-NL" baseline="0" dirty="0"/>
              <a:t> </a:t>
            </a:r>
            <a:r>
              <a:rPr lang="nl-NL" baseline="0" dirty="0" err="1"/>
              <a:t>its</a:t>
            </a:r>
            <a:r>
              <a:rPr lang="nl-NL" baseline="0" dirty="0"/>
              <a:t> 130 </a:t>
            </a:r>
            <a:r>
              <a:rPr lang="nl-NL" baseline="0" dirty="0" err="1"/>
              <a:t>years</a:t>
            </a:r>
            <a:r>
              <a:rPr lang="nl-NL" baseline="0" dirty="0"/>
              <a:t> of </a:t>
            </a:r>
            <a:r>
              <a:rPr lang="nl-NL" baseline="0" dirty="0" err="1"/>
              <a:t>experience</a:t>
            </a:r>
            <a:r>
              <a:rPr lang="nl-NL" baseline="0" dirty="0"/>
              <a:t> in </a:t>
            </a:r>
            <a:r>
              <a:rPr lang="nl-NL" baseline="0" dirty="0" err="1"/>
              <a:t>publishing</a:t>
            </a:r>
            <a:r>
              <a:rPr lang="nl-NL" baseline="0" dirty="0"/>
              <a:t> </a:t>
            </a:r>
            <a:r>
              <a:rPr lang="nl-NL" baseline="0" dirty="0" err="1"/>
              <a:t>to</a:t>
            </a:r>
            <a:r>
              <a:rPr lang="nl-NL" baseline="0" dirty="0"/>
              <a:t> </a:t>
            </a:r>
            <a:r>
              <a:rPr lang="nl-NL" baseline="0" dirty="0" err="1"/>
              <a:t>find</a:t>
            </a:r>
            <a:r>
              <a:rPr lang="nl-NL" baseline="0" dirty="0"/>
              <a:t> </a:t>
            </a:r>
            <a:r>
              <a:rPr lang="nl-NL" baseline="0" dirty="0" err="1"/>
              <a:t>and</a:t>
            </a:r>
            <a:r>
              <a:rPr lang="nl-NL" baseline="0" dirty="0"/>
              <a:t> </a:t>
            </a:r>
            <a:r>
              <a:rPr lang="nl-NL" baseline="0" dirty="0" err="1"/>
              <a:t>work</a:t>
            </a:r>
            <a:r>
              <a:rPr lang="nl-NL" baseline="0" dirty="0"/>
              <a:t> </a:t>
            </a:r>
            <a:r>
              <a:rPr lang="nl-NL" baseline="0" dirty="0" err="1"/>
              <a:t>with</a:t>
            </a:r>
            <a:r>
              <a:rPr lang="nl-NL" baseline="0" dirty="0"/>
              <a:t> </a:t>
            </a:r>
            <a:r>
              <a:rPr lang="nl-NL" baseline="0" dirty="0" err="1"/>
              <a:t>the</a:t>
            </a:r>
            <a:r>
              <a:rPr lang="nl-NL" baseline="0" dirty="0"/>
              <a:t> best </a:t>
            </a:r>
            <a:r>
              <a:rPr lang="nl-NL" baseline="0" dirty="0" err="1"/>
              <a:t>quality</a:t>
            </a:r>
            <a:r>
              <a:rPr lang="nl-NL" baseline="0" dirty="0"/>
              <a:t> </a:t>
            </a:r>
            <a:r>
              <a:rPr lang="nl-NL" baseline="0" dirty="0" err="1"/>
              <a:t>authors</a:t>
            </a:r>
            <a:r>
              <a:rPr lang="nl-NL" baseline="0" dirty="0"/>
              <a:t>. </a:t>
            </a:r>
            <a:r>
              <a:rPr lang="nl-NL" baseline="0" dirty="0" err="1"/>
              <a:t>Elsevier’s</a:t>
            </a:r>
            <a:r>
              <a:rPr lang="nl-NL" baseline="0" dirty="0"/>
              <a:t> </a:t>
            </a:r>
            <a:r>
              <a:rPr lang="nl-NL" baseline="0" dirty="0" err="1"/>
              <a:t>quality</a:t>
            </a:r>
            <a:r>
              <a:rPr lang="nl-NL" baseline="0" dirty="0"/>
              <a:t> </a:t>
            </a:r>
            <a:r>
              <a:rPr lang="nl-NL" baseline="0" dirty="0" err="1"/>
              <a:t>can</a:t>
            </a:r>
            <a:r>
              <a:rPr lang="nl-NL" baseline="0" dirty="0"/>
              <a:t> </a:t>
            </a:r>
            <a:r>
              <a:rPr lang="nl-NL" baseline="0" dirty="0" err="1"/>
              <a:t>be</a:t>
            </a:r>
            <a:r>
              <a:rPr lang="nl-NL" baseline="0" dirty="0"/>
              <a:t> </a:t>
            </a:r>
            <a:r>
              <a:rPr lang="nl-NL" baseline="0" dirty="0" err="1"/>
              <a:t>measured</a:t>
            </a:r>
            <a:r>
              <a:rPr lang="nl-NL" baseline="0" dirty="0"/>
              <a:t> </a:t>
            </a:r>
            <a:r>
              <a:rPr lang="nl-NL" baseline="0" dirty="0" err="1"/>
              <a:t>against</a:t>
            </a:r>
            <a:r>
              <a:rPr lang="nl-NL" baseline="0" dirty="0"/>
              <a:t> </a:t>
            </a:r>
            <a:r>
              <a:rPr lang="nl-NL" baseline="0" dirty="0" err="1"/>
              <a:t>its</a:t>
            </a:r>
            <a:r>
              <a:rPr lang="nl-NL" baseline="0" dirty="0"/>
              <a:t> </a:t>
            </a:r>
            <a:r>
              <a:rPr lang="nl-NL" baseline="0" dirty="0" err="1"/>
              <a:t>peers</a:t>
            </a:r>
            <a:r>
              <a:rPr lang="nl-NL" baseline="0" dirty="0"/>
              <a:t>, </a:t>
            </a:r>
            <a:r>
              <a:rPr lang="nl-NL" baseline="0" dirty="0" err="1"/>
              <a:t>using</a:t>
            </a:r>
            <a:r>
              <a:rPr lang="nl-NL" baseline="0" dirty="0"/>
              <a:t> </a:t>
            </a:r>
            <a:r>
              <a:rPr lang="nl-NL" baseline="0" dirty="0" err="1"/>
              <a:t>metrics</a:t>
            </a:r>
            <a:r>
              <a:rPr lang="nl-NL" baseline="0" dirty="0"/>
              <a:t> </a:t>
            </a:r>
            <a:r>
              <a:rPr lang="nl-NL" baseline="0" dirty="0" err="1"/>
              <a:t>such</a:t>
            </a:r>
            <a:r>
              <a:rPr lang="nl-NL" baseline="0" dirty="0"/>
              <a:t> as </a:t>
            </a:r>
            <a:r>
              <a:rPr lang="nl-NL" baseline="0" dirty="0" err="1"/>
              <a:t>average</a:t>
            </a:r>
            <a:r>
              <a:rPr lang="nl-NL" baseline="0" dirty="0"/>
              <a:t> </a:t>
            </a:r>
            <a:r>
              <a:rPr lang="nl-NL" baseline="0" dirty="0" err="1"/>
              <a:t>author</a:t>
            </a:r>
            <a:r>
              <a:rPr lang="nl-NL" baseline="0" dirty="0"/>
              <a:t> Field </a:t>
            </a:r>
            <a:r>
              <a:rPr lang="nl-NL" baseline="0" dirty="0" err="1"/>
              <a:t>Weighted</a:t>
            </a:r>
            <a:r>
              <a:rPr lang="nl-NL" baseline="0" dirty="0"/>
              <a:t> </a:t>
            </a:r>
            <a:r>
              <a:rPr lang="nl-NL" baseline="0" dirty="0" err="1"/>
              <a:t>Citation</a:t>
            </a:r>
            <a:r>
              <a:rPr lang="nl-NL" baseline="0" dirty="0"/>
              <a:t> Impact (FWCI) </a:t>
            </a:r>
            <a:r>
              <a:rPr lang="nl-NL" baseline="0" dirty="0" err="1"/>
              <a:t>and</a:t>
            </a:r>
            <a:r>
              <a:rPr lang="nl-NL" baseline="0" dirty="0"/>
              <a:t> H-Index. The </a:t>
            </a:r>
            <a:r>
              <a:rPr lang="nl-NL" baseline="0" dirty="0" err="1"/>
              <a:t>average</a:t>
            </a:r>
            <a:r>
              <a:rPr lang="nl-NL" baseline="0" dirty="0"/>
              <a:t> FWCI </a:t>
            </a:r>
            <a:r>
              <a:rPr lang="nl-NL" baseline="0" dirty="0" err="1"/>
              <a:t>and</a:t>
            </a:r>
            <a:r>
              <a:rPr lang="nl-NL" baseline="0" dirty="0"/>
              <a:t> H-Index analysis </a:t>
            </a:r>
            <a:r>
              <a:rPr lang="nl-NL" baseline="0" dirty="0" err="1"/>
              <a:t>shown</a:t>
            </a:r>
            <a:r>
              <a:rPr lang="nl-NL" baseline="0" dirty="0"/>
              <a:t> </a:t>
            </a:r>
            <a:r>
              <a:rPr lang="nl-NL" baseline="0" dirty="0" err="1"/>
              <a:t>above</a:t>
            </a:r>
            <a:r>
              <a:rPr lang="nl-NL" baseline="0" dirty="0"/>
              <a:t> was </a:t>
            </a:r>
            <a:r>
              <a:rPr lang="nl-NL" baseline="0" dirty="0" err="1"/>
              <a:t>done</a:t>
            </a:r>
            <a:r>
              <a:rPr lang="nl-NL" baseline="0" dirty="0"/>
              <a:t> </a:t>
            </a:r>
            <a:r>
              <a:rPr lang="nl-NL" baseline="0" dirty="0" err="1"/>
              <a:t>using</a:t>
            </a:r>
            <a:r>
              <a:rPr lang="nl-NL" baseline="0" dirty="0"/>
              <a:t> </a:t>
            </a:r>
            <a:r>
              <a:rPr lang="nl-NL" baseline="0" dirty="0" err="1"/>
              <a:t>publication</a:t>
            </a:r>
            <a:r>
              <a:rPr lang="nl-NL" baseline="0" dirty="0"/>
              <a:t> data </a:t>
            </a:r>
            <a:r>
              <a:rPr lang="nl-NL" baseline="0" dirty="0" err="1"/>
              <a:t>from</a:t>
            </a:r>
            <a:r>
              <a:rPr lang="nl-NL" baseline="0" dirty="0"/>
              <a:t> </a:t>
            </a:r>
            <a:r>
              <a:rPr lang="nl-NL" baseline="0" dirty="0" err="1"/>
              <a:t>between</a:t>
            </a:r>
            <a:r>
              <a:rPr lang="nl-NL" baseline="0" dirty="0"/>
              <a:t> 2010 </a:t>
            </a:r>
            <a:r>
              <a:rPr lang="nl-NL" baseline="0" dirty="0" err="1"/>
              <a:t>and</a:t>
            </a:r>
            <a:r>
              <a:rPr lang="nl-NL" baseline="0" dirty="0"/>
              <a:t> 2014: we </a:t>
            </a:r>
            <a:r>
              <a:rPr lang="nl-NL" baseline="0" dirty="0" err="1"/>
              <a:t>filtered</a:t>
            </a:r>
            <a:r>
              <a:rPr lang="nl-NL" baseline="0" dirty="0"/>
              <a:t> </a:t>
            </a:r>
            <a:r>
              <a:rPr lang="nl-NL" baseline="0" dirty="0" err="1"/>
              <a:t>for</a:t>
            </a:r>
            <a:r>
              <a:rPr lang="nl-NL" baseline="0" dirty="0"/>
              <a:t> </a:t>
            </a:r>
            <a:r>
              <a:rPr lang="nl-NL" baseline="0" dirty="0" err="1"/>
              <a:t>authors</a:t>
            </a:r>
            <a:r>
              <a:rPr lang="nl-NL" baseline="0" dirty="0"/>
              <a:t> </a:t>
            </a:r>
            <a:r>
              <a:rPr lang="nl-NL" baseline="0" dirty="0" err="1"/>
              <a:t>that</a:t>
            </a:r>
            <a:r>
              <a:rPr lang="nl-NL" baseline="0" dirty="0"/>
              <a:t> have </a:t>
            </a:r>
            <a:r>
              <a:rPr lang="nl-NL" baseline="0" dirty="0" err="1"/>
              <a:t>published</a:t>
            </a:r>
            <a:r>
              <a:rPr lang="nl-NL" baseline="0" dirty="0"/>
              <a:t> at </a:t>
            </a:r>
            <a:r>
              <a:rPr lang="nl-NL" baseline="0" dirty="0" err="1"/>
              <a:t>least</a:t>
            </a:r>
            <a:r>
              <a:rPr lang="nl-NL" baseline="0" dirty="0"/>
              <a:t> 4 papers over </a:t>
            </a:r>
            <a:r>
              <a:rPr lang="nl-NL" baseline="0" dirty="0" err="1"/>
              <a:t>this</a:t>
            </a:r>
            <a:r>
              <a:rPr lang="nl-NL" baseline="0" dirty="0"/>
              <a:t> time </a:t>
            </a:r>
            <a:r>
              <a:rPr lang="nl-NL" baseline="0" dirty="0" err="1"/>
              <a:t>period</a:t>
            </a:r>
            <a:r>
              <a:rPr lang="nl-NL" baseline="0" dirty="0"/>
              <a:t>, </a:t>
            </a:r>
            <a:r>
              <a:rPr lang="nl-NL" baseline="0" dirty="0" err="1"/>
              <a:t>and</a:t>
            </a:r>
            <a:r>
              <a:rPr lang="nl-NL" baseline="0" dirty="0"/>
              <a:t> </a:t>
            </a:r>
            <a:r>
              <a:rPr lang="nl-NL" baseline="0" dirty="0" err="1"/>
              <a:t>counted</a:t>
            </a:r>
            <a:r>
              <a:rPr lang="nl-NL" baseline="0" dirty="0"/>
              <a:t> </a:t>
            </a:r>
            <a:r>
              <a:rPr lang="nl-NL" baseline="0" dirty="0" err="1"/>
              <a:t>any</a:t>
            </a:r>
            <a:r>
              <a:rPr lang="nl-NL" baseline="0" dirty="0"/>
              <a:t> </a:t>
            </a:r>
            <a:r>
              <a:rPr lang="nl-NL" baseline="0" dirty="0" err="1"/>
              <a:t>author’s</a:t>
            </a:r>
            <a:r>
              <a:rPr lang="nl-NL" baseline="0" dirty="0"/>
              <a:t> papers </a:t>
            </a:r>
            <a:r>
              <a:rPr lang="nl-NL" baseline="0" dirty="0" err="1"/>
              <a:t>published</a:t>
            </a:r>
            <a:r>
              <a:rPr lang="nl-NL" baseline="0" dirty="0"/>
              <a:t> </a:t>
            </a:r>
            <a:r>
              <a:rPr lang="nl-NL" baseline="0" dirty="0" err="1"/>
              <a:t>with</a:t>
            </a:r>
            <a:r>
              <a:rPr lang="nl-NL" baseline="0" dirty="0"/>
              <a:t> a </a:t>
            </a:r>
            <a:r>
              <a:rPr lang="nl-NL" baseline="0" dirty="0" err="1"/>
              <a:t>publisher</a:t>
            </a:r>
            <a:r>
              <a:rPr lang="nl-NL" baseline="0" dirty="0"/>
              <a:t> (</a:t>
            </a:r>
            <a:r>
              <a:rPr lang="nl-NL" baseline="0" dirty="0" err="1"/>
              <a:t>so</a:t>
            </a:r>
            <a:r>
              <a:rPr lang="nl-NL" baseline="0" dirty="0"/>
              <a:t> long as </a:t>
            </a:r>
            <a:r>
              <a:rPr lang="nl-NL" baseline="0" dirty="0" err="1"/>
              <a:t>the</a:t>
            </a:r>
            <a:r>
              <a:rPr lang="nl-NL" baseline="0" dirty="0"/>
              <a:t> </a:t>
            </a:r>
            <a:r>
              <a:rPr lang="nl-NL" baseline="0" dirty="0" err="1"/>
              <a:t>author</a:t>
            </a:r>
            <a:r>
              <a:rPr lang="nl-NL" baseline="0" dirty="0"/>
              <a:t> had at </a:t>
            </a:r>
            <a:r>
              <a:rPr lang="nl-NL" baseline="0" dirty="0" err="1"/>
              <a:t>least</a:t>
            </a:r>
            <a:r>
              <a:rPr lang="nl-NL" baseline="0" dirty="0"/>
              <a:t> 25% of </a:t>
            </a:r>
            <a:r>
              <a:rPr lang="nl-NL" baseline="0" dirty="0" err="1"/>
              <a:t>their</a:t>
            </a:r>
            <a:r>
              <a:rPr lang="nl-NL" baseline="0" dirty="0"/>
              <a:t> </a:t>
            </a:r>
            <a:r>
              <a:rPr lang="nl-NL" baseline="0" dirty="0" err="1"/>
              <a:t>publications</a:t>
            </a:r>
            <a:r>
              <a:rPr lang="nl-NL" baseline="0" dirty="0"/>
              <a:t> </a:t>
            </a:r>
            <a:r>
              <a:rPr lang="nl-NL" baseline="0" dirty="0" err="1"/>
              <a:t>with</a:t>
            </a:r>
            <a:r>
              <a:rPr lang="nl-NL" baseline="0" dirty="0"/>
              <a:t> </a:t>
            </a:r>
            <a:r>
              <a:rPr lang="nl-NL" baseline="0" dirty="0" err="1"/>
              <a:t>that</a:t>
            </a:r>
            <a:r>
              <a:rPr lang="nl-NL" baseline="0" dirty="0"/>
              <a:t> </a:t>
            </a:r>
            <a:r>
              <a:rPr lang="nl-NL" baseline="0" dirty="0" err="1"/>
              <a:t>publisher</a:t>
            </a:r>
            <a:r>
              <a:rPr lang="nl-NL" baseline="0" dirty="0"/>
              <a:t> </a:t>
            </a:r>
            <a:r>
              <a:rPr lang="nl-NL" baseline="0" dirty="0" err="1"/>
              <a:t>between</a:t>
            </a:r>
            <a:r>
              <a:rPr lang="nl-NL" baseline="0" dirty="0"/>
              <a:t> 2010 </a:t>
            </a:r>
            <a:r>
              <a:rPr lang="nl-NL" baseline="0" dirty="0" err="1"/>
              <a:t>and</a:t>
            </a:r>
            <a:r>
              <a:rPr lang="nl-NL" baseline="0" dirty="0"/>
              <a:t> 2014). </a:t>
            </a:r>
            <a:r>
              <a:rPr lang="nl-NL" baseline="0" dirty="0" err="1"/>
              <a:t>When</a:t>
            </a:r>
            <a:r>
              <a:rPr lang="nl-NL" baseline="0" dirty="0"/>
              <a:t> </a:t>
            </a:r>
            <a:r>
              <a:rPr lang="nl-NL" baseline="0" dirty="0" err="1"/>
              <a:t>measuring</a:t>
            </a:r>
            <a:r>
              <a:rPr lang="nl-NL" baseline="0" dirty="0"/>
              <a:t> </a:t>
            </a:r>
            <a:r>
              <a:rPr lang="nl-NL" baseline="0" dirty="0" err="1"/>
              <a:t>the</a:t>
            </a:r>
            <a:r>
              <a:rPr lang="nl-NL" baseline="0" dirty="0"/>
              <a:t> H-Index </a:t>
            </a:r>
            <a:r>
              <a:rPr lang="nl-NL" baseline="0" dirty="0" err="1"/>
              <a:t>and</a:t>
            </a:r>
            <a:r>
              <a:rPr lang="nl-NL" baseline="0" dirty="0"/>
              <a:t> FWCI of </a:t>
            </a:r>
            <a:r>
              <a:rPr lang="nl-NL" baseline="0" dirty="0" err="1"/>
              <a:t>those</a:t>
            </a:r>
            <a:r>
              <a:rPr lang="nl-NL" baseline="0" dirty="0"/>
              <a:t> </a:t>
            </a:r>
            <a:r>
              <a:rPr lang="nl-NL" baseline="0" dirty="0" err="1"/>
              <a:t>authors</a:t>
            </a:r>
            <a:r>
              <a:rPr lang="nl-NL" baseline="0" dirty="0"/>
              <a:t>, </a:t>
            </a:r>
            <a:r>
              <a:rPr lang="nl-NL" baseline="0" dirty="0" err="1"/>
              <a:t>for</a:t>
            </a:r>
            <a:r>
              <a:rPr lang="nl-NL" baseline="0" dirty="0"/>
              <a:t> </a:t>
            </a:r>
            <a:r>
              <a:rPr lang="nl-NL" baseline="0" dirty="0" err="1"/>
              <a:t>those</a:t>
            </a:r>
            <a:r>
              <a:rPr lang="nl-NL" baseline="0" dirty="0"/>
              <a:t> papers, </a:t>
            </a:r>
            <a:r>
              <a:rPr lang="nl-NL" baseline="0" dirty="0" err="1"/>
              <a:t>against</a:t>
            </a:r>
            <a:r>
              <a:rPr lang="nl-NL" baseline="0" dirty="0"/>
              <a:t> </a:t>
            </a:r>
            <a:r>
              <a:rPr lang="nl-NL" baseline="0" dirty="0" err="1"/>
              <a:t>Elsevier’s</a:t>
            </a:r>
            <a:r>
              <a:rPr lang="nl-NL" baseline="0" dirty="0"/>
              <a:t> </a:t>
            </a:r>
            <a:r>
              <a:rPr lang="nl-NL" baseline="0" dirty="0" err="1"/>
              <a:t>two</a:t>
            </a:r>
            <a:r>
              <a:rPr lang="nl-NL" baseline="0" dirty="0"/>
              <a:t> most </a:t>
            </a:r>
            <a:r>
              <a:rPr lang="nl-NL" baseline="0" dirty="0" err="1"/>
              <a:t>similar</a:t>
            </a:r>
            <a:r>
              <a:rPr lang="nl-NL" baseline="0" dirty="0"/>
              <a:t> </a:t>
            </a:r>
            <a:r>
              <a:rPr lang="nl-NL" baseline="0" dirty="0" err="1"/>
              <a:t>publishers</a:t>
            </a:r>
            <a:r>
              <a:rPr lang="nl-NL" baseline="0" dirty="0"/>
              <a:t> in </a:t>
            </a:r>
            <a:r>
              <a:rPr lang="nl-NL" baseline="0" dirty="0" err="1"/>
              <a:t>this</a:t>
            </a:r>
            <a:r>
              <a:rPr lang="nl-NL" baseline="0" dirty="0"/>
              <a:t> field: Elsevier </a:t>
            </a:r>
            <a:r>
              <a:rPr lang="nl-NL" baseline="0" dirty="0" err="1"/>
              <a:t>scored</a:t>
            </a:r>
            <a:r>
              <a:rPr lang="nl-NL" baseline="0" dirty="0"/>
              <a:t> </a:t>
            </a:r>
            <a:r>
              <a:rPr lang="nl-NL" baseline="0" dirty="0" err="1"/>
              <a:t>better</a:t>
            </a:r>
            <a:r>
              <a:rPr lang="nl-NL" baseline="0" dirty="0"/>
              <a:t> in </a:t>
            </a:r>
            <a:r>
              <a:rPr lang="nl-NL" baseline="0" dirty="0" err="1"/>
              <a:t>both</a:t>
            </a:r>
            <a:r>
              <a:rPr lang="nl-NL" baseline="0" dirty="0"/>
              <a:t> </a:t>
            </a:r>
            <a:r>
              <a:rPr lang="nl-NL" baseline="0" dirty="0" err="1"/>
              <a:t>Average</a:t>
            </a:r>
            <a:r>
              <a:rPr lang="nl-NL" baseline="0" dirty="0"/>
              <a:t> Author FWCI </a:t>
            </a:r>
            <a:r>
              <a:rPr lang="nl-NL" baseline="0" dirty="0" err="1"/>
              <a:t>and</a:t>
            </a:r>
            <a:r>
              <a:rPr lang="nl-NL" baseline="0" dirty="0"/>
              <a:t> </a:t>
            </a:r>
            <a:r>
              <a:rPr lang="nl-NL" baseline="0" dirty="0" err="1"/>
              <a:t>Average</a:t>
            </a:r>
            <a:r>
              <a:rPr lang="nl-NL" baseline="0" dirty="0"/>
              <a:t> Author H-Index. It is </a:t>
            </a:r>
            <a:r>
              <a:rPr lang="nl-NL" baseline="0" dirty="0" err="1"/>
              <a:t>also</a:t>
            </a:r>
            <a:r>
              <a:rPr lang="nl-NL" baseline="0" dirty="0"/>
              <a:t> </a:t>
            </a:r>
            <a:r>
              <a:rPr lang="nl-NL" baseline="0" dirty="0" err="1"/>
              <a:t>worth</a:t>
            </a:r>
            <a:r>
              <a:rPr lang="nl-NL" baseline="0" dirty="0"/>
              <a:t> </a:t>
            </a:r>
            <a:r>
              <a:rPr lang="nl-NL" baseline="0" dirty="0" err="1"/>
              <a:t>noting</a:t>
            </a:r>
            <a:r>
              <a:rPr lang="nl-NL" baseline="0" dirty="0"/>
              <a:t> </a:t>
            </a:r>
            <a:r>
              <a:rPr lang="nl-NL" baseline="0" dirty="0" err="1"/>
              <a:t>that</a:t>
            </a:r>
            <a:r>
              <a:rPr lang="nl-NL" baseline="0" dirty="0"/>
              <a:t> </a:t>
            </a:r>
            <a:r>
              <a:rPr lang="nl-NL" baseline="0" dirty="0" err="1"/>
              <a:t>this</a:t>
            </a:r>
            <a:r>
              <a:rPr lang="nl-NL" baseline="0" dirty="0"/>
              <a:t> high level of </a:t>
            </a:r>
            <a:r>
              <a:rPr lang="nl-NL" baseline="0" dirty="0" err="1"/>
              <a:t>quality</a:t>
            </a:r>
            <a:r>
              <a:rPr lang="nl-NL" baseline="0" dirty="0"/>
              <a:t> </a:t>
            </a:r>
            <a:r>
              <a:rPr lang="nl-NL" baseline="0" dirty="0" err="1"/>
              <a:t>applies</a:t>
            </a:r>
            <a:r>
              <a:rPr lang="nl-NL" baseline="0" dirty="0"/>
              <a:t> </a:t>
            </a:r>
            <a:r>
              <a:rPr lang="nl-NL" baseline="0" dirty="0" err="1"/>
              <a:t>against</a:t>
            </a:r>
            <a:r>
              <a:rPr lang="nl-NL" baseline="0" dirty="0"/>
              <a:t> a </a:t>
            </a:r>
            <a:r>
              <a:rPr lang="nl-NL" baseline="0" dirty="0" err="1"/>
              <a:t>larger</a:t>
            </a:r>
            <a:r>
              <a:rPr lang="nl-NL" baseline="0" dirty="0"/>
              <a:t> volume of </a:t>
            </a:r>
            <a:r>
              <a:rPr lang="nl-NL" baseline="0" dirty="0" err="1"/>
              <a:t>authors</a:t>
            </a:r>
            <a:r>
              <a:rPr lang="nl-NL" baseline="0" dirty="0"/>
              <a:t>. </a:t>
            </a:r>
            <a:r>
              <a:rPr lang="nl-NL" baseline="0" dirty="0" err="1"/>
              <a:t>This</a:t>
            </a:r>
            <a:r>
              <a:rPr lang="nl-NL" baseline="0" dirty="0"/>
              <a:t> is a testament </a:t>
            </a:r>
            <a:r>
              <a:rPr lang="nl-NL" baseline="0" dirty="0" err="1"/>
              <a:t>to</a:t>
            </a:r>
            <a:r>
              <a:rPr lang="nl-NL" baseline="0" dirty="0"/>
              <a:t> </a:t>
            </a:r>
            <a:r>
              <a:rPr lang="nl-NL" baseline="0" dirty="0" err="1"/>
              <a:t>the</a:t>
            </a:r>
            <a:r>
              <a:rPr lang="nl-NL" baseline="0" dirty="0"/>
              <a:t> </a:t>
            </a:r>
            <a:r>
              <a:rPr lang="nl-NL" baseline="0" dirty="0" err="1"/>
              <a:t>work</a:t>
            </a:r>
            <a:r>
              <a:rPr lang="nl-NL" baseline="0" dirty="0"/>
              <a:t> </a:t>
            </a:r>
            <a:r>
              <a:rPr lang="nl-NL" baseline="0" dirty="0" err="1"/>
              <a:t>that</a:t>
            </a:r>
            <a:r>
              <a:rPr lang="nl-NL" baseline="0" dirty="0"/>
              <a:t> Elsevier does as a </a:t>
            </a:r>
            <a:r>
              <a:rPr lang="nl-NL" baseline="0" dirty="0" err="1"/>
              <a:t>publisher</a:t>
            </a:r>
            <a:r>
              <a:rPr lang="nl-NL" baseline="0" dirty="0"/>
              <a:t>: </a:t>
            </a:r>
            <a:r>
              <a:rPr lang="nl-NL" baseline="0" dirty="0" err="1"/>
              <a:t>curating</a:t>
            </a:r>
            <a:r>
              <a:rPr lang="nl-NL" baseline="0" dirty="0"/>
              <a:t> </a:t>
            </a:r>
            <a:r>
              <a:rPr lang="nl-NL" baseline="0" dirty="0" err="1"/>
              <a:t>and</a:t>
            </a:r>
            <a:r>
              <a:rPr lang="nl-NL" baseline="0" dirty="0"/>
              <a:t> </a:t>
            </a:r>
            <a:r>
              <a:rPr lang="nl-NL" baseline="0" dirty="0" err="1"/>
              <a:t>selecting</a:t>
            </a:r>
            <a:r>
              <a:rPr lang="nl-NL" baseline="0" dirty="0"/>
              <a:t> </a:t>
            </a:r>
            <a:r>
              <a:rPr lang="nl-NL" baseline="0" dirty="0" err="1"/>
              <a:t>the</a:t>
            </a:r>
            <a:r>
              <a:rPr lang="nl-NL" baseline="0" dirty="0"/>
              <a:t> best </a:t>
            </a:r>
            <a:r>
              <a:rPr lang="nl-NL" baseline="0" dirty="0" err="1"/>
              <a:t>authors</a:t>
            </a:r>
            <a:r>
              <a:rPr lang="nl-NL" baseline="0" dirty="0"/>
              <a:t>, </a:t>
            </a:r>
            <a:r>
              <a:rPr lang="nl-NL" baseline="0" dirty="0" err="1"/>
              <a:t>so</a:t>
            </a:r>
            <a:r>
              <a:rPr lang="nl-NL" baseline="0" dirty="0"/>
              <a:t> </a:t>
            </a:r>
            <a:r>
              <a:rPr lang="nl-NL" baseline="0" dirty="0" err="1"/>
              <a:t>that</a:t>
            </a:r>
            <a:r>
              <a:rPr lang="nl-NL" baseline="0" dirty="0"/>
              <a:t> we </a:t>
            </a:r>
            <a:r>
              <a:rPr lang="nl-NL" baseline="0" dirty="0" err="1"/>
              <a:t>can</a:t>
            </a:r>
            <a:r>
              <a:rPr lang="nl-NL" baseline="0" dirty="0"/>
              <a:t> </a:t>
            </a:r>
            <a:r>
              <a:rPr lang="nl-NL" baseline="0" dirty="0" err="1"/>
              <a:t>provide</a:t>
            </a:r>
            <a:r>
              <a:rPr lang="nl-NL" baseline="0" dirty="0"/>
              <a:t> </a:t>
            </a:r>
            <a:r>
              <a:rPr lang="nl-NL" baseline="0" dirty="0" err="1"/>
              <a:t>our</a:t>
            </a:r>
            <a:r>
              <a:rPr lang="nl-NL" baseline="0" dirty="0"/>
              <a:t> </a:t>
            </a:r>
            <a:r>
              <a:rPr lang="nl-NL" baseline="0" dirty="0" err="1"/>
              <a:t>customers</a:t>
            </a:r>
            <a:r>
              <a:rPr lang="nl-NL" baseline="0" dirty="0"/>
              <a:t> </a:t>
            </a:r>
            <a:r>
              <a:rPr lang="nl-NL" baseline="0" dirty="0" err="1"/>
              <a:t>with</a:t>
            </a:r>
            <a:r>
              <a:rPr lang="nl-NL" baseline="0" dirty="0"/>
              <a:t> </a:t>
            </a:r>
            <a:r>
              <a:rPr lang="nl-NL" baseline="0" dirty="0" err="1"/>
              <a:t>the</a:t>
            </a:r>
            <a:r>
              <a:rPr lang="nl-NL" baseline="0" dirty="0"/>
              <a:t> best research, in order </a:t>
            </a:r>
            <a:r>
              <a:rPr lang="nl-NL" baseline="0" dirty="0" err="1"/>
              <a:t>to</a:t>
            </a:r>
            <a:r>
              <a:rPr lang="nl-NL" baseline="0" dirty="0"/>
              <a:t> assist </a:t>
            </a:r>
            <a:r>
              <a:rPr lang="nl-NL" baseline="0" dirty="0" err="1"/>
              <a:t>them</a:t>
            </a:r>
            <a:r>
              <a:rPr lang="nl-NL" baseline="0" dirty="0"/>
              <a:t> in </a:t>
            </a:r>
            <a:r>
              <a:rPr lang="nl-NL" baseline="0" dirty="0" err="1"/>
              <a:t>producing</a:t>
            </a:r>
            <a:r>
              <a:rPr lang="nl-NL" baseline="0" dirty="0"/>
              <a:t> </a:t>
            </a:r>
            <a:r>
              <a:rPr lang="nl-NL" baseline="0" dirty="0" err="1"/>
              <a:t>the</a:t>
            </a:r>
            <a:r>
              <a:rPr lang="nl-NL" baseline="0" dirty="0"/>
              <a:t> best </a:t>
            </a:r>
            <a:r>
              <a:rPr lang="nl-NL" baseline="0" dirty="0" err="1"/>
              <a:t>quality</a:t>
            </a:r>
            <a:r>
              <a:rPr lang="nl-NL" baseline="0" dirty="0"/>
              <a:t> </a:t>
            </a:r>
            <a:r>
              <a:rPr lang="nl-NL" baseline="0" dirty="0" err="1"/>
              <a:t>graduates</a:t>
            </a:r>
            <a:r>
              <a:rPr lang="nl-NL" baseline="0" dirty="0"/>
              <a:t> </a:t>
            </a:r>
            <a:r>
              <a:rPr lang="nl-NL" baseline="0" dirty="0" err="1"/>
              <a:t>and</a:t>
            </a:r>
            <a:r>
              <a:rPr lang="nl-NL" baseline="0" dirty="0"/>
              <a:t> research. </a:t>
            </a:r>
            <a:r>
              <a:rPr lang="nl-NL" baseline="0" dirty="0" err="1"/>
              <a:t>Our</a:t>
            </a:r>
            <a:r>
              <a:rPr lang="nl-NL" baseline="0" dirty="0"/>
              <a:t> </a:t>
            </a:r>
            <a:r>
              <a:rPr lang="nl-NL" baseline="0" dirty="0" err="1"/>
              <a:t>competency</a:t>
            </a:r>
            <a:r>
              <a:rPr lang="nl-NL" baseline="0" dirty="0"/>
              <a:t> as a </a:t>
            </a:r>
            <a:r>
              <a:rPr lang="nl-NL" baseline="0" dirty="0" err="1"/>
              <a:t>publisher</a:t>
            </a:r>
            <a:r>
              <a:rPr lang="nl-NL" baseline="0" dirty="0"/>
              <a:t> is </a:t>
            </a:r>
            <a:r>
              <a:rPr lang="nl-NL" baseline="0" dirty="0" err="1"/>
              <a:t>to</a:t>
            </a:r>
            <a:r>
              <a:rPr lang="nl-NL" baseline="0" dirty="0"/>
              <a:t> manage </a:t>
            </a:r>
            <a:r>
              <a:rPr lang="nl-NL" baseline="0" dirty="0" err="1"/>
              <a:t>quality</a:t>
            </a:r>
            <a:r>
              <a:rPr lang="nl-NL" baseline="0" dirty="0"/>
              <a:t> </a:t>
            </a:r>
            <a:r>
              <a:rPr lang="nl-NL" baseline="0" dirty="0" err="1"/>
              <a:t>across</a:t>
            </a:r>
            <a:r>
              <a:rPr lang="nl-NL" baseline="0" dirty="0"/>
              <a:t> a </a:t>
            </a:r>
            <a:r>
              <a:rPr lang="nl-NL" baseline="0" dirty="0" err="1"/>
              <a:t>diversity</a:t>
            </a:r>
            <a:r>
              <a:rPr lang="nl-NL" baseline="0" dirty="0"/>
              <a:t> of disciplines </a:t>
            </a:r>
            <a:r>
              <a:rPr lang="nl-NL" baseline="0" dirty="0" err="1"/>
              <a:t>and</a:t>
            </a:r>
            <a:r>
              <a:rPr lang="nl-NL" baseline="0" dirty="0"/>
              <a:t> a high volume of content.  </a:t>
            </a:r>
            <a:endParaRPr lang="nl-NL" baseline="0" dirty="0"/>
          </a:p>
          <a:p>
            <a:endParaRPr lang="nl-NL" baseline="0" dirty="0"/>
          </a:p>
          <a:p>
            <a:endParaRPr lang="nl-NL" baseline="0" dirty="0"/>
          </a:p>
          <a:p>
            <a:r>
              <a:rPr lang="nl-NL" baseline="0" dirty="0"/>
              <a:t>Orange #FF8200</a:t>
            </a:r>
            <a:endParaRPr lang="nl-NL" baseline="0" dirty="0"/>
          </a:p>
          <a:p>
            <a:pPr marL="0" marR="0" indent="0" algn="l" defTabSz="914400" rtl="0" eaLnBrk="1" fontAlgn="auto" latinLnBrk="0" hangingPunct="1">
              <a:lnSpc>
                <a:spcPct val="100000"/>
              </a:lnSpc>
              <a:spcBef>
                <a:spcPts val="0"/>
              </a:spcBef>
              <a:spcAft>
                <a:spcPts val="0"/>
              </a:spcAft>
              <a:buClrTx/>
              <a:buSzTx/>
              <a:buFontTx/>
              <a:buNone/>
              <a:defRPr/>
            </a:pPr>
            <a:r>
              <a:rPr lang="en-US" dirty="0"/>
              <a:t>Mid Grey #96999E</a:t>
            </a:r>
            <a:endParaRPr lang="nl-NL" dirty="0"/>
          </a:p>
          <a:p>
            <a:r>
              <a:rPr lang="en-US" dirty="0"/>
              <a:t>Dark Grey #53565A</a:t>
            </a:r>
            <a:endParaRPr lang="en-US" dirty="0"/>
          </a:p>
          <a:p>
            <a:endParaRPr lang="nl-NL" dirty="0"/>
          </a:p>
        </p:txBody>
      </p:sp>
      <p:sp>
        <p:nvSpPr>
          <p:cNvPr id="4" name="Slide Number Placeholder 3"/>
          <p:cNvSpPr>
            <a:spLocks noGrp="1"/>
          </p:cNvSpPr>
          <p:nvPr>
            <p:ph type="sldNum" sz="quarter" idx="10"/>
          </p:nvPr>
        </p:nvSpPr>
        <p:spPr/>
        <p:txBody>
          <a:bodyPr/>
          <a:lstStyle/>
          <a:p>
            <a:fld id="{8BBA3215-12F3-4705-BC1C-BA4F0BBF337B}" type="slidenum">
              <a:rPr lang="en-US" smtClean="0"/>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62676" y="5031751"/>
            <a:ext cx="5301395" cy="5410106"/>
          </a:xfrm>
        </p:spPr>
        <p:txBody>
          <a:bodyPr>
            <a:noAutofit/>
          </a:bodyPr>
          <a:lstStyle/>
          <a:p>
            <a:pPr eaLnBrk="0" fontAlgn="base" hangingPunct="0">
              <a:spcBef>
                <a:spcPct val="0"/>
              </a:spcBef>
              <a:spcAft>
                <a:spcPct val="0"/>
              </a:spcAft>
              <a:defRPr/>
            </a:pPr>
            <a:r>
              <a:rPr lang="en-US" sz="1300" dirty="0">
                <a:solidFill>
                  <a:srgbClr val="000000"/>
                </a:solidFill>
                <a:latin typeface="Arial" panose="020B0604020202020204" pitchFamily="34" charset="0"/>
                <a:ea typeface="Arial" panose="020B0604020202020204"/>
                <a:cs typeface="Arial" panose="020B0604020202020204" pitchFamily="34" charset="0"/>
              </a:rPr>
              <a:t>OPTIONAL – For use for audiences less familiar with Elsevier</a:t>
            </a:r>
            <a:endParaRPr lang="en-US" sz="1300" dirty="0">
              <a:solidFill>
                <a:srgbClr val="000000"/>
              </a:solidFill>
              <a:latin typeface="Arial" panose="020B0604020202020204" pitchFamily="34" charset="0"/>
              <a:ea typeface="Arial" panose="020B0604020202020204"/>
              <a:cs typeface="Arial" panose="020B0604020202020204" pitchFamily="34" charset="0"/>
            </a:endParaRPr>
          </a:p>
          <a:p>
            <a:pPr eaLnBrk="0" fontAlgn="base" hangingPunct="0">
              <a:spcBef>
                <a:spcPct val="0"/>
              </a:spcBef>
              <a:spcAft>
                <a:spcPct val="0"/>
              </a:spcAft>
              <a:defRPr/>
            </a:pPr>
            <a:endParaRPr lang="en-US" sz="1300" dirty="0">
              <a:solidFill>
                <a:srgbClr val="000000"/>
              </a:solidFill>
              <a:latin typeface="Arial" panose="020B0604020202020204" pitchFamily="34" charset="0"/>
              <a:ea typeface="Arial" panose="020B0604020202020204"/>
              <a:cs typeface="Arial" panose="020B0604020202020204" pitchFamily="34" charset="0"/>
            </a:endParaRPr>
          </a:p>
          <a:p>
            <a:pPr defTabSz="462280" eaLnBrk="0" fontAlgn="base" hangingPunct="0">
              <a:spcBef>
                <a:spcPct val="0"/>
              </a:spcBef>
              <a:spcAft>
                <a:spcPct val="0"/>
              </a:spcAft>
              <a:defRPr/>
            </a:pPr>
            <a:r>
              <a:rPr lang="en-US" sz="1400" dirty="0"/>
              <a:t>[Slide goals: introduces Elsevier as a global research collaborative, with ample data resources to build the right research at the right time, in the right place, to serve researcher needs and goals.]</a:t>
            </a:r>
            <a:endParaRPr lang="en-US" sz="1400" dirty="0"/>
          </a:p>
          <a:p>
            <a:pPr eaLnBrk="0" fontAlgn="base" hangingPunct="0">
              <a:spcBef>
                <a:spcPct val="0"/>
              </a:spcBef>
              <a:spcAft>
                <a:spcPct val="0"/>
              </a:spcAft>
              <a:defRPr/>
            </a:pPr>
            <a:endParaRPr lang="en-US" sz="1300" dirty="0">
              <a:solidFill>
                <a:srgbClr val="000000"/>
              </a:solidFill>
              <a:latin typeface="Arial" panose="020B0604020202020204" pitchFamily="34" charset="0"/>
              <a:ea typeface="Arial" panose="020B0604020202020204"/>
              <a:cs typeface="Arial" panose="020B0604020202020204" pitchFamily="34" charset="0"/>
            </a:endParaRPr>
          </a:p>
          <a:p>
            <a:pPr eaLnBrk="0" fontAlgn="base" hangingPunct="0">
              <a:spcBef>
                <a:spcPct val="0"/>
              </a:spcBef>
              <a:spcAft>
                <a:spcPct val="0"/>
              </a:spcAft>
              <a:defRPr/>
            </a:pPr>
            <a:r>
              <a:rPr lang="en-US" sz="1300" dirty="0">
                <a:solidFill>
                  <a:srgbClr val="000000"/>
                </a:solidFill>
                <a:latin typeface="Arial" panose="020B0604020202020204" pitchFamily="34" charset="0"/>
                <a:ea typeface="Arial" panose="020B0604020202020204"/>
                <a:cs typeface="Arial" panose="020B0604020202020204" pitchFamily="34" charset="0"/>
              </a:rPr>
              <a:t>So who is Elsevier?</a:t>
            </a:r>
            <a:br>
              <a:rPr lang="en-US" sz="1300" dirty="0">
                <a:solidFill>
                  <a:srgbClr val="000000"/>
                </a:solidFill>
                <a:latin typeface="Arial" panose="020B0604020202020204" pitchFamily="34" charset="0"/>
                <a:ea typeface="Arial" panose="020B0604020202020204"/>
                <a:cs typeface="Arial" panose="020B0604020202020204" pitchFamily="34" charset="0"/>
              </a:rPr>
            </a:br>
            <a:endParaRPr lang="en-US" sz="1300" dirty="0">
              <a:solidFill>
                <a:srgbClr val="000000"/>
              </a:solidFill>
              <a:latin typeface="Arial" panose="020B0604020202020204" pitchFamily="34" charset="0"/>
              <a:ea typeface="Arial" panose="020B0604020202020204"/>
              <a:cs typeface="Arial" panose="020B0604020202020204" pitchFamily="34" charset="0"/>
            </a:endParaRPr>
          </a:p>
          <a:p>
            <a:pPr marL="288925" indent="-288925" eaLnBrk="0" fontAlgn="base" hangingPunct="0">
              <a:spcBef>
                <a:spcPct val="0"/>
              </a:spcBef>
              <a:spcAft>
                <a:spcPct val="0"/>
              </a:spcAft>
              <a:buFont typeface="Arial" panose="020B0604020202020204" pitchFamily="34" charset="0"/>
              <a:buChar char="•"/>
              <a:defRPr/>
            </a:pPr>
            <a:r>
              <a:rPr lang="en-US" sz="1300" dirty="0">
                <a:solidFill>
                  <a:srgbClr val="000000"/>
                </a:solidFill>
                <a:latin typeface="Arial" panose="020B0604020202020204" pitchFamily="34" charset="0"/>
                <a:ea typeface="Arial" panose="020B0604020202020204"/>
                <a:cs typeface="Arial" panose="020B0604020202020204" pitchFamily="34" charset="0"/>
              </a:rPr>
              <a:t>We are is a digital information solutions company with roots in publishing world class, peer-reviewed scientific, medical, and technical literature, going back 130 years.</a:t>
            </a:r>
            <a:endParaRPr lang="en-US" sz="1300" dirty="0">
              <a:solidFill>
                <a:srgbClr val="000000"/>
              </a:solidFill>
              <a:latin typeface="Arial" panose="020B0604020202020204" pitchFamily="34" charset="0"/>
              <a:ea typeface="Arial" panose="020B0604020202020204"/>
              <a:cs typeface="Arial" panose="020B0604020202020204" pitchFamily="34" charset="0"/>
            </a:endParaRPr>
          </a:p>
          <a:p>
            <a:pPr marL="181610" indent="-181610">
              <a:buFont typeface="Arial" panose="020B0604020202020204" pitchFamily="34" charset="0"/>
              <a:buChar char="•"/>
            </a:pPr>
            <a:r>
              <a:rPr lang="en-GB" sz="1300" dirty="0">
                <a:solidFill>
                  <a:srgbClr val="000000"/>
                </a:solidFill>
                <a:latin typeface="Arial" panose="020B0604020202020204" pitchFamily="34" charset="0"/>
                <a:ea typeface="Arial" panose="020B0604020202020204"/>
                <a:cs typeface="Arial" panose="020B0604020202020204" pitchFamily="34" charset="0"/>
              </a:rPr>
              <a:t>Our mission is to</a:t>
            </a:r>
            <a:r>
              <a:rPr lang="en-US" sz="1300" dirty="0">
                <a:solidFill>
                  <a:srgbClr val="000000"/>
                </a:solidFill>
                <a:latin typeface="Arial" panose="020B0604020202020204" pitchFamily="34" charset="0"/>
                <a:cs typeface="Arial" panose="020B0604020202020204" pitchFamily="34" charset="0"/>
              </a:rPr>
              <a:t> lead the way in advancing science, technology and health.</a:t>
            </a:r>
            <a:endParaRPr lang="en-US" sz="1300" dirty="0">
              <a:solidFill>
                <a:srgbClr val="000000"/>
              </a:solidFill>
              <a:latin typeface="Arial" panose="020B0604020202020204" pitchFamily="34" charset="0"/>
              <a:cs typeface="Arial" panose="020B0604020202020204" pitchFamily="34" charset="0"/>
            </a:endParaRPr>
          </a:p>
          <a:p>
            <a:pPr marL="181610" indent="-181610">
              <a:buFont typeface="Arial" panose="020B0604020202020204" pitchFamily="34" charset="0"/>
              <a:buChar char="•"/>
            </a:pPr>
            <a:r>
              <a:rPr lang="en-US" sz="1300" dirty="0">
                <a:solidFill>
                  <a:srgbClr val="000000"/>
                </a:solidFill>
                <a:latin typeface="Arial" panose="020B0604020202020204" pitchFamily="34" charset="0"/>
                <a:cs typeface="Arial" panose="020B0604020202020204" pitchFamily="34" charset="0"/>
              </a:rPr>
              <a:t>Our customers are doing momentous things and we have a responsibility to create highly effective solutions that enable our customers to leverage the vast potential of information to advance science, health and technology in ways that they could not do alone.</a:t>
            </a:r>
            <a:endParaRPr lang="en-US" sz="1300" dirty="0">
              <a:solidFill>
                <a:srgbClr val="000000"/>
              </a:solidFill>
              <a:latin typeface="Arial" panose="020B0604020202020204" pitchFamily="34" charset="0"/>
              <a:cs typeface="Arial" panose="020B0604020202020204" pitchFamily="34" charset="0"/>
            </a:endParaRPr>
          </a:p>
          <a:p>
            <a:pPr marL="181610" indent="-181610">
              <a:buFont typeface="Arial" panose="020B0604020202020204" pitchFamily="34" charset="0"/>
              <a:buChar char="•"/>
            </a:pPr>
            <a:r>
              <a:rPr lang="en-US" sz="1300" dirty="0">
                <a:solidFill>
                  <a:srgbClr val="000000"/>
                </a:solidFill>
                <a:latin typeface="Arial" panose="020B0604020202020204" pitchFamily="34" charset="0"/>
                <a:cs typeface="Arial" panose="020B0604020202020204" pitchFamily="34" charset="0"/>
              </a:rPr>
              <a:t>We also want to anticipate the new ways customers will want to use information in the future. That is what we mean by ‘leading the way’.</a:t>
            </a:r>
            <a:endParaRPr lang="en-US" sz="1300" dirty="0">
              <a:solidFill>
                <a:srgbClr val="000000"/>
              </a:solidFill>
              <a:latin typeface="Arial" panose="020B0604020202020204" pitchFamily="34" charset="0"/>
              <a:cs typeface="Arial" panose="020B0604020202020204" pitchFamily="34" charset="0"/>
            </a:endParaRPr>
          </a:p>
          <a:p>
            <a:pPr marL="181610" indent="-181610" defTabSz="488950" eaLnBrk="0" fontAlgn="base" hangingPunct="0">
              <a:spcBef>
                <a:spcPct val="0"/>
              </a:spcBef>
              <a:spcAft>
                <a:spcPct val="0"/>
              </a:spcAft>
              <a:buFont typeface="Arial" panose="020B0604020202020204" pitchFamily="34" charset="0"/>
              <a:buChar char="•"/>
              <a:defRPr/>
            </a:pPr>
            <a:r>
              <a:rPr lang="en-US" sz="1300" dirty="0">
                <a:solidFill>
                  <a:srgbClr val="000000"/>
                </a:solidFill>
                <a:latin typeface="Arial" panose="020B0604020202020204" pitchFamily="34" charset="0"/>
                <a:ea typeface="Arial" panose="020B0604020202020204"/>
                <a:cs typeface="Arial" panose="020B0604020202020204" pitchFamily="34" charset="0"/>
              </a:rPr>
              <a:t>Our products include: </a:t>
            </a:r>
            <a:endParaRPr lang="en-US" sz="1300" dirty="0">
              <a:solidFill>
                <a:srgbClr val="000000"/>
              </a:solidFill>
              <a:latin typeface="Arial" panose="020B0604020202020204" pitchFamily="34" charset="0"/>
              <a:ea typeface="Arial" panose="020B0604020202020204"/>
              <a:cs typeface="Arial" panose="020B0604020202020204" pitchFamily="34" charset="0"/>
            </a:endParaRPr>
          </a:p>
          <a:p>
            <a:pPr marL="664845" lvl="1" indent="-181610" defTabSz="488950" eaLnBrk="0" fontAlgn="base" hangingPunct="0">
              <a:spcBef>
                <a:spcPct val="0"/>
              </a:spcBef>
              <a:spcAft>
                <a:spcPct val="0"/>
              </a:spcAft>
              <a:buFont typeface="Arial" panose="020B0604020202020204" pitchFamily="34" charset="0"/>
              <a:buChar char="•"/>
              <a:defRPr/>
            </a:pPr>
            <a:r>
              <a:rPr lang="en-US" sz="1300" dirty="0">
                <a:solidFill>
                  <a:srgbClr val="000000"/>
                </a:solidFill>
                <a:latin typeface="Arial" panose="020B0604020202020204" pitchFamily="34" charset="0"/>
                <a:ea typeface="Arial" panose="020B0604020202020204"/>
                <a:cs typeface="Arial" panose="020B0604020202020204" pitchFamily="34" charset="0"/>
              </a:rPr>
              <a:t>Intellectual content—largely in the form of digitized books, journals, and proprietary databases—delivering access to them via the internet and other offline digital channels (examples: journals (Lancet, imprints (Cell, MK), ScienceDirect, Mendeley, Scopus)</a:t>
            </a:r>
            <a:endParaRPr lang="en-US" sz="1300" dirty="0">
              <a:solidFill>
                <a:srgbClr val="000000"/>
              </a:solidFill>
              <a:latin typeface="Arial" panose="020B0604020202020204" pitchFamily="34" charset="0"/>
              <a:ea typeface="Arial" panose="020B0604020202020204"/>
              <a:cs typeface="Arial" panose="020B0604020202020204" pitchFamily="34" charset="0"/>
            </a:endParaRPr>
          </a:p>
          <a:p>
            <a:pPr marL="664845" lvl="1" indent="-181610" defTabSz="488950" eaLnBrk="0" fontAlgn="base" hangingPunct="0">
              <a:spcBef>
                <a:spcPct val="0"/>
              </a:spcBef>
              <a:spcAft>
                <a:spcPct val="0"/>
              </a:spcAft>
              <a:buFont typeface="Arial" panose="020B0604020202020204" pitchFamily="34" charset="0"/>
              <a:buChar char="•"/>
              <a:defRPr/>
            </a:pPr>
            <a:r>
              <a:rPr lang="en-US" sz="1300" dirty="0">
                <a:solidFill>
                  <a:srgbClr val="000000"/>
                </a:solidFill>
                <a:latin typeface="Arial" panose="020B0604020202020204" pitchFamily="34" charset="0"/>
                <a:ea typeface="Arial" panose="020B0604020202020204"/>
                <a:cs typeface="Arial" panose="020B0604020202020204" pitchFamily="34" charset="0"/>
              </a:rPr>
              <a:t>In addition to—and layered over—this content, are technology and analytics (tools and solutions), that allow clients and end-users to do ‘more with’ information: to produce it, interact with it, manipulate it, and share it with greater facility, efficiency, and creativity (examples: </a:t>
            </a:r>
            <a:r>
              <a:rPr lang="en-US" sz="1300" dirty="0" err="1">
                <a:solidFill>
                  <a:srgbClr val="000000"/>
                </a:solidFill>
                <a:latin typeface="Arial" panose="020B0604020202020204" pitchFamily="34" charset="0"/>
                <a:ea typeface="Arial" panose="020B0604020202020204"/>
                <a:cs typeface="Arial" panose="020B0604020202020204" pitchFamily="34" charset="0"/>
              </a:rPr>
              <a:t>ClinicalKey</a:t>
            </a:r>
            <a:r>
              <a:rPr lang="en-US" sz="1300" dirty="0">
                <a:solidFill>
                  <a:srgbClr val="000000"/>
                </a:solidFill>
                <a:latin typeface="Arial" panose="020B0604020202020204" pitchFamily="34" charset="0"/>
                <a:ea typeface="Arial" panose="020B0604020202020204"/>
                <a:cs typeface="Arial" panose="020B0604020202020204" pitchFamily="34" charset="0"/>
              </a:rPr>
              <a:t>, </a:t>
            </a:r>
            <a:r>
              <a:rPr lang="en-US" sz="1300" dirty="0" err="1">
                <a:solidFill>
                  <a:srgbClr val="000000"/>
                </a:solidFill>
                <a:latin typeface="Arial" panose="020B0604020202020204" pitchFamily="34" charset="0"/>
                <a:ea typeface="Arial" panose="020B0604020202020204"/>
                <a:cs typeface="Arial" panose="020B0604020202020204" pitchFamily="34" charset="0"/>
              </a:rPr>
              <a:t>Reaxys</a:t>
            </a:r>
            <a:r>
              <a:rPr lang="en-US" sz="1300" dirty="0">
                <a:solidFill>
                  <a:srgbClr val="000000"/>
                </a:solidFill>
                <a:latin typeface="Arial" panose="020B0604020202020204" pitchFamily="34" charset="0"/>
                <a:ea typeface="Arial" panose="020B0604020202020204"/>
                <a:cs typeface="Arial" panose="020B0604020202020204" pitchFamily="34" charset="0"/>
              </a:rPr>
              <a:t>, SciVal, </a:t>
            </a:r>
            <a:r>
              <a:rPr lang="en-US" sz="1300" dirty="0" err="1">
                <a:solidFill>
                  <a:srgbClr val="000000"/>
                </a:solidFill>
                <a:latin typeface="Arial" panose="020B0604020202020204" pitchFamily="34" charset="0"/>
                <a:ea typeface="Arial" panose="020B0604020202020204"/>
                <a:cs typeface="Arial" panose="020B0604020202020204" pitchFamily="34" charset="0"/>
              </a:rPr>
              <a:t>SimChart</a:t>
            </a:r>
            <a:r>
              <a:rPr lang="en-US" sz="1300" dirty="0">
                <a:solidFill>
                  <a:srgbClr val="000000"/>
                </a:solidFill>
                <a:latin typeface="Arial" panose="020B0604020202020204" pitchFamily="34" charset="0"/>
                <a:ea typeface="Arial" panose="020B0604020202020204"/>
                <a:cs typeface="Arial" panose="020B0604020202020204" pitchFamily="34" charset="0"/>
              </a:rPr>
              <a:t>)</a:t>
            </a:r>
            <a:endParaRPr lang="en-US" sz="1300" dirty="0">
              <a:solidFill>
                <a:srgbClr val="000000"/>
              </a:solidFill>
              <a:latin typeface="Arial" panose="020B0604020202020204" pitchFamily="34" charset="0"/>
              <a:ea typeface="Arial" panose="020B0604020202020204"/>
              <a:cs typeface="Arial" panose="020B0604020202020204" pitchFamily="34" charset="0"/>
            </a:endParaRPr>
          </a:p>
          <a:p>
            <a:pPr marL="181610" indent="-181610" eaLnBrk="0" fontAlgn="base" hangingPunct="0">
              <a:spcBef>
                <a:spcPct val="0"/>
              </a:spcBef>
              <a:spcAft>
                <a:spcPct val="0"/>
              </a:spcAft>
              <a:buFont typeface="Arial" panose="020B0604020202020204" pitchFamily="34" charset="0"/>
              <a:buChar char="•"/>
            </a:pPr>
            <a:r>
              <a:rPr lang="en-US" sz="1300" dirty="0">
                <a:solidFill>
                  <a:srgbClr val="000000"/>
                </a:solidFill>
                <a:latin typeface="Arial" panose="020B0604020202020204" pitchFamily="34" charset="0"/>
                <a:ea typeface="Arial" panose="020B0604020202020204"/>
                <a:cs typeface="Arial" panose="020B0604020202020204" pitchFamily="34" charset="0"/>
              </a:rPr>
              <a:t>Elsevier empowers knowledge professionals to be more collaborative and competitive, efficient and effective; to perform better, and to create knowledge with impact.</a:t>
            </a:r>
            <a:endParaRPr lang="en-US" sz="1300" dirty="0">
              <a:solidFill>
                <a:srgbClr val="000000"/>
              </a:solidFill>
              <a:latin typeface="Arial" panose="020B0604020202020204" pitchFamily="34" charset="0"/>
              <a:ea typeface="Arial" panose="020B0604020202020204"/>
              <a:cs typeface="Arial" panose="020B0604020202020204" pitchFamily="34" charset="0"/>
            </a:endParaRPr>
          </a:p>
          <a:p>
            <a:endParaRPr lang="en-US" sz="900" dirty="0">
              <a:latin typeface="Arial" panose="020B0604020202020204"/>
              <a:cs typeface="Arial" panose="020B0604020202020204"/>
            </a:endParaRPr>
          </a:p>
        </p:txBody>
      </p:sp>
      <p:sp>
        <p:nvSpPr>
          <p:cNvPr id="4" name="Slide Number Placeholder 3"/>
          <p:cNvSpPr>
            <a:spLocks noGrp="1"/>
          </p:cNvSpPr>
          <p:nvPr>
            <p:ph type="sldNum" sz="quarter" idx="10"/>
          </p:nvPr>
        </p:nvSpPr>
        <p:spPr/>
        <p:txBody>
          <a:bodyPr/>
          <a:lstStyle/>
          <a:p>
            <a:fld id="{F981F8ED-CEC2-4A76-85B5-D62B57BD95D5}" type="slidenum">
              <a:rPr lang="en-US" smtClean="0"/>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OSHI PICS</a:t>
            </a:r>
            <a:endParaRPr lang="en-US" dirty="0"/>
          </a:p>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zh-CN" altLang="en-US" dirty="0"/>
              <a:t>流行病和霍乱</a:t>
            </a:r>
            <a:endParaRPr lang="en-US" altLang="zh-CN" dirty="0"/>
          </a:p>
          <a:p>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K</a:t>
            </a:r>
            <a:r>
              <a:rPr lang="en-US" altLang="zh-CN" dirty="0" err="1"/>
              <a:t>novel</a:t>
            </a:r>
            <a:r>
              <a:rPr lang="zh-CN" altLang="en-US" dirty="0"/>
              <a:t>？</a:t>
            </a:r>
            <a:r>
              <a:rPr lang="en-US" altLang="zh-CN" dirty="0"/>
              <a:t>EV</a:t>
            </a:r>
            <a:r>
              <a:rPr lang="zh-CN" altLang="en-US" dirty="0"/>
              <a:t>？</a:t>
            </a:r>
            <a:endParaRPr lang="en-US" dirty="0"/>
          </a:p>
        </p:txBody>
      </p:sp>
      <p:sp>
        <p:nvSpPr>
          <p:cNvPr id="4" name="Slide Number Placeholder 3"/>
          <p:cNvSpPr>
            <a:spLocks noGrp="1"/>
          </p:cNvSpPr>
          <p:nvPr>
            <p:ph type="sldNum" sz="quarter" idx="10"/>
          </p:nvPr>
        </p:nvSpPr>
        <p:spPr/>
        <p:txBody>
          <a:bodyPr/>
          <a:lstStyle/>
          <a:p>
            <a:fld id="{8BBA3215-12F3-4705-BC1C-BA4F0BBF337B}" type="slidenum">
              <a:rPr lang="en-US" smtClean="0"/>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normAutofit/>
          </a:bodyPr>
          <a:lstStyle/>
          <a:p>
            <a:endParaRPr lang="zh-CN" altLang="en-US" dirty="0"/>
          </a:p>
        </p:txBody>
      </p:sp>
      <p:sp>
        <p:nvSpPr>
          <p:cNvPr id="4" name="灯片编号占位符 3"/>
          <p:cNvSpPr>
            <a:spLocks noGrp="1"/>
          </p:cNvSpPr>
          <p:nvPr>
            <p:ph type="sldNum" sz="quarter" idx="10"/>
          </p:nvPr>
        </p:nvSpPr>
        <p:spPr/>
        <p:txBody>
          <a:bodyPr/>
          <a:lstStyle/>
          <a:p>
            <a:fld id="{129F4D21-787F-433B-909A-AADEE0F4E80B}" type="slidenum">
              <a:rPr lang="en-US" smtClean="0"/>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4" Type="http://schemas.openxmlformats.org/officeDocument/2006/relationships/image" Target="../media/image7.emf"/><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4" Type="http://schemas.openxmlformats.org/officeDocument/2006/relationships/image" Target="../media/image7.emf"/><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4" Type="http://schemas.openxmlformats.org/officeDocument/2006/relationships/image" Target="../media/image7.emf"/><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t>   |   </a:t>
            </a:r>
            <a:fld id="{DA15E891-66B8-4B28-AB8F-05A4B1DE573C}" type="slidenum">
              <a:rPr lang="en-US" dirty="0" smtClean="0"/>
            </a:fld>
            <a:endParaRPr lang="en-US" dirty="0"/>
          </a:p>
        </p:txBody>
      </p:sp>
      <p:sp>
        <p:nvSpPr>
          <p:cNvPr id="13" name="Title Placeholder 1"/>
          <p:cNvSpPr>
            <a:spLocks noGrp="1"/>
          </p:cNvSpPr>
          <p:nvPr>
            <p:ph type="title" hasCustomPrompt="1"/>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4" name="Picture 3"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sp>
        <p:nvSpPr>
          <p:cNvPr id="3" name="Subtitle 2"/>
          <p:cNvSpPr>
            <a:spLocks noGrp="1"/>
          </p:cNvSpPr>
          <p:nvPr>
            <p:ph type="subTitle" idx="1" hasCustomPrompt="1"/>
          </p:nvPr>
        </p:nvSpPr>
        <p:spPr>
          <a:xfrm>
            <a:off x="3149208" y="2882348"/>
            <a:ext cx="5485393" cy="827935"/>
          </a:xfrm>
          <a:prstGeom prst="rect">
            <a:avLst/>
          </a:prstGeom>
          <a:ln>
            <a:noFill/>
          </a:ln>
        </p:spPr>
        <p:txBody>
          <a:bodyPr anchor="ctr"/>
          <a:lstStyle>
            <a:lvl1pPr marL="0" indent="0" algn="l">
              <a:lnSpc>
                <a:spcPct val="60000"/>
              </a:lnSpc>
              <a:buNone/>
              <a:defRPr sz="3600" baseline="0">
                <a:solidFill>
                  <a:schemeClr val="bg1"/>
                </a:solidFill>
                <a:latin typeface="Arial" panose="020B0604020202020204"/>
                <a:cs typeface="Arial" panose="020B0604020202020204"/>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a:t>
            </a:r>
            <a:endParaRPr lang="en-US" dirty="0"/>
          </a:p>
          <a:p>
            <a:r>
              <a:rPr lang="en-US" dirty="0"/>
              <a:t>Second Line If Necessary</a:t>
            </a:r>
            <a:endParaRPr lang="en-US" dirty="0"/>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5"/>
          <p:cNvSpPr>
            <a:spLocks noGrp="1"/>
          </p:cNvSpPr>
          <p:nvPr>
            <p:ph type="body" sz="quarter" idx="11" hasCustomPrompt="1"/>
          </p:nvPr>
        </p:nvSpPr>
        <p:spPr>
          <a:xfrm>
            <a:off x="3149208" y="3740100"/>
            <a:ext cx="5472113" cy="374700"/>
          </a:xfrm>
          <a:prstGeom prst="rect">
            <a:avLst/>
          </a:prstGeom>
        </p:spPr>
        <p:txBody>
          <a:bodyPr vert="horz"/>
          <a:lstStyle>
            <a:lvl1pPr marL="0" indent="0">
              <a:buNone/>
              <a:defRPr sz="1800">
                <a:solidFill>
                  <a:srgbClr val="FFFFFF"/>
                </a:solidFill>
              </a:defRPr>
            </a:lvl1pPr>
          </a:lstStyle>
          <a:p>
            <a:pPr lvl="0"/>
            <a:r>
              <a:rPr lang="en-US" dirty="0"/>
              <a:t>Subtitle of Presentation</a:t>
            </a:r>
            <a:endParaRPr lang="en-US" dirty="0"/>
          </a:p>
        </p:txBody>
      </p:sp>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5">
    <p:spTree>
      <p:nvGrpSpPr>
        <p:cNvPr id="1" name=""/>
        <p:cNvGrpSpPr/>
        <p:nvPr/>
      </p:nvGrpSpPr>
      <p:grpSpPr>
        <a:xfrm>
          <a:off x="0" y="0"/>
          <a:ext cx="0" cy="0"/>
          <a:chOff x="0" y="0"/>
          <a:chExt cx="0" cy="0"/>
        </a:xfrm>
      </p:grpSpPr>
      <p:pic>
        <p:nvPicPr>
          <p:cNvPr id="15" name="Picture 14" descr="placeholder-vector.png"/>
          <p:cNvPicPr>
            <a:picLocks noChangeAspect="1"/>
          </p:cNvPicPr>
          <p:nvPr userDrawn="1"/>
        </p:nvPicPr>
        <p:blipFill>
          <a:blip r:embed="rId2"/>
          <a:stretch>
            <a:fillRect/>
          </a:stretch>
        </p:blipFill>
        <p:spPr>
          <a:xfrm>
            <a:off x="-12939" y="0"/>
            <a:ext cx="3202147" cy="6858000"/>
          </a:xfrm>
          <a:prstGeom prst="rect">
            <a:avLst/>
          </a:prstGeom>
        </p:spPr>
      </p:pic>
      <p:sp>
        <p:nvSpPr>
          <p:cNvPr id="8" name="Rectangle 7"/>
          <p:cNvSpPr/>
          <p:nvPr userDrawn="1"/>
        </p:nvSpPr>
        <p:spPr>
          <a:xfrm>
            <a:off x="3189208" y="2698749"/>
            <a:ext cx="5954792" cy="149225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6"/>
          <p:cNvSpPr>
            <a:spLocks noGrp="1"/>
          </p:cNvSpPr>
          <p:nvPr>
            <p:ph type="body" sz="quarter" idx="10" hasCustomPrompt="1"/>
          </p:nvPr>
        </p:nvSpPr>
        <p:spPr>
          <a:xfrm>
            <a:off x="3516539" y="6096001"/>
            <a:ext cx="3913188" cy="290286"/>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3" name="Text Placeholder 4"/>
          <p:cNvSpPr>
            <a:spLocks noGrp="1"/>
          </p:cNvSpPr>
          <p:nvPr>
            <p:ph type="body" sz="quarter" idx="12" hasCustomPrompt="1"/>
          </p:nvPr>
        </p:nvSpPr>
        <p:spPr>
          <a:xfrm>
            <a:off x="3516539" y="6397625"/>
            <a:ext cx="3913188" cy="266700"/>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12" name="Picture 11" descr="Illust_Cover_2.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939" y="0"/>
            <a:ext cx="9156940" cy="6885638"/>
          </a:xfrm>
          <a:prstGeom prst="rect">
            <a:avLst/>
          </a:prstGeom>
        </p:spPr>
      </p:pic>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Subtitle 2"/>
          <p:cNvSpPr>
            <a:spLocks noGrp="1"/>
          </p:cNvSpPr>
          <p:nvPr>
            <p:ph type="subTitle" idx="1" hasCustomPrompt="1"/>
          </p:nvPr>
        </p:nvSpPr>
        <p:spPr>
          <a:xfrm>
            <a:off x="3144069" y="2971286"/>
            <a:ext cx="5596363" cy="971627"/>
          </a:xfrm>
          <a:prstGeom prst="rect">
            <a:avLst/>
          </a:prstGeom>
          <a:ln>
            <a:noFill/>
          </a:ln>
        </p:spPr>
        <p:txBody>
          <a:bodyPr anchor="ctr"/>
          <a:lstStyle>
            <a:lvl1pPr marL="0" indent="0" algn="l">
              <a:lnSpc>
                <a:spcPct val="70000"/>
              </a:lnSpc>
              <a:buNone/>
              <a:defRPr sz="3600" baseline="0">
                <a:solidFill>
                  <a:schemeClr val="bg1"/>
                </a:solidFill>
                <a:latin typeface="Arial" panose="020B0604020202020204"/>
                <a:cs typeface="Arial" panose="020B0604020202020204"/>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a:t>
            </a:r>
            <a:endParaRPr lang="en-US" dirty="0"/>
          </a:p>
          <a:p>
            <a:r>
              <a:rPr lang="en-US" dirty="0"/>
              <a:t>Second Line If Necessary</a:t>
            </a:r>
            <a:endParaRPr lang="en-US" dirty="0"/>
          </a:p>
        </p:txBody>
      </p:sp>
      <p:sp>
        <p:nvSpPr>
          <p:cNvPr id="13" name="Title 1"/>
          <p:cNvSpPr txBox="1"/>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panose="020B0604020202020204"/>
                <a:ea typeface="+mj-ea"/>
                <a:cs typeface="Arial" panose="020B0604020202020204"/>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endParaRPr lang="en-US" dirty="0"/>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endParaRPr lang="en-US" dirty="0"/>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Slide 6">
    <p:spTree>
      <p:nvGrpSpPr>
        <p:cNvPr id="1" name=""/>
        <p:cNvGrpSpPr/>
        <p:nvPr/>
      </p:nvGrpSpPr>
      <p:grpSpPr>
        <a:xfrm>
          <a:off x="0" y="0"/>
          <a:ext cx="0" cy="0"/>
          <a:chOff x="0" y="0"/>
          <a:chExt cx="0" cy="0"/>
        </a:xfrm>
      </p:grpSpPr>
      <p:pic>
        <p:nvPicPr>
          <p:cNvPr id="10" name="Picture 9" descr="placeholder-vector.png"/>
          <p:cNvPicPr>
            <a:picLocks noChangeAspect="1"/>
          </p:cNvPicPr>
          <p:nvPr userDrawn="1"/>
        </p:nvPicPr>
        <p:blipFill>
          <a:blip r:embed="rId2"/>
          <a:stretch>
            <a:fillRect/>
          </a:stretch>
        </p:blipFill>
        <p:spPr>
          <a:xfrm>
            <a:off x="-12939" y="0"/>
            <a:ext cx="3202147" cy="6858000"/>
          </a:xfrm>
          <a:prstGeom prst="rect">
            <a:avLst/>
          </a:prstGeom>
        </p:spPr>
      </p:pic>
      <p:sp>
        <p:nvSpPr>
          <p:cNvPr id="11" name="Rectangle 10"/>
          <p:cNvSpPr/>
          <p:nvPr userDrawn="1"/>
        </p:nvSpPr>
        <p:spPr>
          <a:xfrm>
            <a:off x="3189208" y="2698749"/>
            <a:ext cx="5954792" cy="149225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6" name="Picture 1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Title 1"/>
          <p:cNvSpPr txBox="1"/>
          <p:nvPr userDrawn="1"/>
        </p:nvSpPr>
        <p:spPr>
          <a:xfrm>
            <a:off x="3545967" y="2275315"/>
            <a:ext cx="3912176" cy="443844"/>
          </a:xfrm>
          <a:prstGeom prst="rect">
            <a:avLst/>
          </a:prstGeom>
        </p:spPr>
        <p:txBody>
          <a:bodyPr/>
          <a:lstStyle>
            <a:lvl1pPr algn="l" defTabSz="457200" rtl="0" eaLnBrk="1" latinLnBrk="0" hangingPunct="1">
              <a:lnSpc>
                <a:spcPct val="90000"/>
              </a:lnSpc>
              <a:spcBef>
                <a:spcPct val="0"/>
              </a:spcBef>
              <a:buNone/>
              <a:defRPr sz="2000" kern="1200" baseline="0">
                <a:solidFill>
                  <a:srgbClr val="FF6600"/>
                </a:solidFill>
                <a:latin typeface="Arial" panose="020B0604020202020204"/>
                <a:ea typeface="+mj-ea"/>
                <a:cs typeface="Arial" panose="020B0604020202020204"/>
              </a:defRPr>
            </a:lvl1pPr>
          </a:lstStyle>
          <a:p>
            <a:endParaRPr lang="en-US" dirty="0"/>
          </a:p>
        </p:txBody>
      </p:sp>
      <p:sp>
        <p:nvSpPr>
          <p:cNvPr id="14" name="Picture Placeholder 2"/>
          <p:cNvSpPr>
            <a:spLocks noGrp="1"/>
          </p:cNvSpPr>
          <p:nvPr>
            <p:ph type="pic" idx="10" hasCustomPrompt="1"/>
          </p:nvPr>
        </p:nvSpPr>
        <p:spPr>
          <a:xfrm>
            <a:off x="3439981" y="2044095"/>
            <a:ext cx="5300451" cy="530474"/>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endParaRPr lang="en-US" dirty="0"/>
          </a:p>
        </p:txBody>
      </p:sp>
      <p:sp>
        <p:nvSpPr>
          <p:cNvPr id="15" name="Picture Placeholder 2"/>
          <p:cNvSpPr>
            <a:spLocks noGrp="1"/>
          </p:cNvSpPr>
          <p:nvPr>
            <p:ph type="pic" idx="11" hasCustomPrompt="1"/>
          </p:nvPr>
        </p:nvSpPr>
        <p:spPr>
          <a:xfrm>
            <a:off x="3526645" y="5539619"/>
            <a:ext cx="5201811" cy="527520"/>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endParaRPr lang="en-US" dirty="0"/>
          </a:p>
        </p:txBody>
      </p:sp>
      <p:sp>
        <p:nvSpPr>
          <p:cNvPr id="17" name="Text Placeholder 6"/>
          <p:cNvSpPr>
            <a:spLocks noGrp="1"/>
          </p:cNvSpPr>
          <p:nvPr>
            <p:ph type="body" sz="quarter" idx="12" hasCustomPrompt="1"/>
          </p:nvPr>
        </p:nvSpPr>
        <p:spPr>
          <a:xfrm>
            <a:off x="3526645" y="6096001"/>
            <a:ext cx="3913188" cy="278190"/>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8" name="Text Placeholder 4"/>
          <p:cNvSpPr>
            <a:spLocks noGrp="1"/>
          </p:cNvSpPr>
          <p:nvPr>
            <p:ph type="body" sz="quarter" idx="13" hasCustomPrompt="1"/>
          </p:nvPr>
        </p:nvSpPr>
        <p:spPr>
          <a:xfrm>
            <a:off x="3526645" y="6397624"/>
            <a:ext cx="4202212" cy="363613"/>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2" name="Picture 1"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233129"/>
            <a:ext cx="9144608" cy="6637866"/>
          </a:xfrm>
          <a:prstGeom prst="rect">
            <a:avLst/>
          </a:prstGeom>
        </p:spPr>
      </p:pic>
      <p:pic>
        <p:nvPicPr>
          <p:cNvPr id="7" name="Picture 6"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endParaRPr lang="en-US" dirty="0"/>
          </a:p>
        </p:txBody>
      </p:sp>
      <p:sp>
        <p:nvSpPr>
          <p:cNvPr id="12" name="Text Placeholder 11"/>
          <p:cNvSpPr>
            <a:spLocks noGrp="1"/>
          </p:cNvSpPr>
          <p:nvPr>
            <p:ph type="body" sz="quarter" idx="13" hasCustomPrompt="1"/>
          </p:nvPr>
        </p:nvSpPr>
        <p:spPr>
          <a:xfrm>
            <a:off x="300039" y="157526"/>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endParaRPr lang="en-US" dirty="0"/>
          </a:p>
        </p:txBody>
      </p:sp>
      <p:sp>
        <p:nvSpPr>
          <p:cNvPr id="14" name="Text Placeholder 13"/>
          <p:cNvSpPr>
            <a:spLocks noGrp="1"/>
          </p:cNvSpPr>
          <p:nvPr>
            <p:ph type="body" sz="quarter" idx="14" hasCustomPrompt="1"/>
          </p:nvPr>
        </p:nvSpPr>
        <p:spPr>
          <a:xfrm>
            <a:off x="300039" y="1282537"/>
            <a:ext cx="6738218" cy="322555"/>
          </a:xfrm>
          <a:prstGeom prst="rect">
            <a:avLst/>
          </a:prstGeom>
        </p:spPr>
        <p:txBody>
          <a:bodyPr vert="horz"/>
          <a:lstStyle>
            <a:lvl1pPr>
              <a:buNone/>
              <a:defRPr sz="1600">
                <a:solidFill>
                  <a:srgbClr val="53565A"/>
                </a:solidFill>
              </a:defRPr>
            </a:lvl1pPr>
          </a:lstStyle>
          <a:p>
            <a:pPr lvl="0"/>
            <a:r>
              <a:rPr lang="en-US" dirty="0"/>
              <a:t>Subtitle of Presentation</a:t>
            </a:r>
            <a:endParaRPr lang="en-US" dirty="0"/>
          </a:p>
        </p:txBody>
      </p:sp>
      <p:pic>
        <p:nvPicPr>
          <p:cNvPr id="13" name="Picture 1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pic>
        <p:nvPicPr>
          <p:cNvPr id="7" name="Picture 6"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300038" y="6096001"/>
            <a:ext cx="3913188" cy="290286"/>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0" name="Text Placeholder 4"/>
          <p:cNvSpPr>
            <a:spLocks noGrp="1"/>
          </p:cNvSpPr>
          <p:nvPr>
            <p:ph type="body" sz="quarter" idx="12" hasCustomPrompt="1"/>
          </p:nvPr>
        </p:nvSpPr>
        <p:spPr>
          <a:xfrm>
            <a:off x="300038" y="6397625"/>
            <a:ext cx="3913188" cy="266700"/>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endParaRPr lang="en-US" dirty="0"/>
          </a:p>
        </p:txBody>
      </p:sp>
      <p:sp>
        <p:nvSpPr>
          <p:cNvPr id="12" name="Text Placeholder 11"/>
          <p:cNvSpPr>
            <a:spLocks noGrp="1"/>
          </p:cNvSpPr>
          <p:nvPr>
            <p:ph type="body" sz="quarter" idx="13" hasCustomPrompt="1"/>
          </p:nvPr>
        </p:nvSpPr>
        <p:spPr>
          <a:xfrm>
            <a:off x="300039" y="157526"/>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endParaRPr lang="en-US" dirty="0"/>
          </a:p>
        </p:txBody>
      </p:sp>
      <p:sp>
        <p:nvSpPr>
          <p:cNvPr id="14" name="Text Placeholder 13"/>
          <p:cNvSpPr>
            <a:spLocks noGrp="1"/>
          </p:cNvSpPr>
          <p:nvPr>
            <p:ph type="body" sz="quarter" idx="14" hasCustomPrompt="1"/>
          </p:nvPr>
        </p:nvSpPr>
        <p:spPr>
          <a:xfrm>
            <a:off x="300039" y="1282537"/>
            <a:ext cx="6738218" cy="322555"/>
          </a:xfrm>
          <a:prstGeom prst="rect">
            <a:avLst/>
          </a:prstGeom>
        </p:spPr>
        <p:txBody>
          <a:bodyPr vert="horz"/>
          <a:lstStyle>
            <a:lvl1pPr>
              <a:buNone/>
              <a:defRPr sz="1600">
                <a:solidFill>
                  <a:srgbClr val="53565A"/>
                </a:solidFill>
              </a:defRPr>
            </a:lvl1pPr>
          </a:lstStyle>
          <a:p>
            <a:pPr lvl="0"/>
            <a:r>
              <a:rPr lang="en-US" dirty="0"/>
              <a:t>Subtitle of Presentation</a:t>
            </a:r>
            <a:endParaRPr lang="en-US" dirty="0"/>
          </a:p>
        </p:txBody>
      </p:sp>
      <p:pic>
        <p:nvPicPr>
          <p:cNvPr id="8" name="Picture 7" descr="placeholder-horizontal.png"/>
          <p:cNvPicPr>
            <a:picLocks noChangeAspect="1"/>
          </p:cNvPicPr>
          <p:nvPr userDrawn="1"/>
        </p:nvPicPr>
        <p:blipFill>
          <a:blip r:embed="rId3"/>
          <a:stretch>
            <a:fillRect/>
          </a:stretch>
        </p:blipFill>
        <p:spPr>
          <a:xfrm>
            <a:off x="-608" y="1768138"/>
            <a:ext cx="9144000" cy="4133088"/>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pic>
        <p:nvPicPr>
          <p:cNvPr id="8" name="Picture 7"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291497"/>
            <a:ext cx="9144608" cy="6566503"/>
          </a:xfrm>
          <a:prstGeom prst="rect">
            <a:avLst/>
          </a:prstGeom>
        </p:spPr>
      </p:pic>
      <p:pic>
        <p:nvPicPr>
          <p:cNvPr id="11" name="Picture 10"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344008" y="168031"/>
            <a:ext cx="6868853" cy="506652"/>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endParaRPr lang="en-US" dirty="0"/>
          </a:p>
        </p:txBody>
      </p:sp>
      <p:sp>
        <p:nvSpPr>
          <p:cNvPr id="7" name="Picture Placeholder 2"/>
          <p:cNvSpPr>
            <a:spLocks noGrp="1"/>
          </p:cNvSpPr>
          <p:nvPr>
            <p:ph type="pic" idx="10" hasCustomPrompt="1"/>
          </p:nvPr>
        </p:nvSpPr>
        <p:spPr>
          <a:xfrm>
            <a:off x="344008" y="5757333"/>
            <a:ext cx="5317489" cy="54122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endParaRPr lang="en-US" dirty="0"/>
          </a:p>
        </p:txBody>
      </p:sp>
      <p:sp>
        <p:nvSpPr>
          <p:cNvPr id="9" name="Text Placeholder 6"/>
          <p:cNvSpPr>
            <a:spLocks noGrp="1"/>
          </p:cNvSpPr>
          <p:nvPr>
            <p:ph type="body" sz="quarter" idx="12" hasCustomPrompt="1"/>
          </p:nvPr>
        </p:nvSpPr>
        <p:spPr>
          <a:xfrm>
            <a:off x="344008" y="6265333"/>
            <a:ext cx="3913188" cy="278191"/>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endParaRPr lang="en-US" dirty="0"/>
          </a:p>
        </p:txBody>
      </p:sp>
      <p:sp>
        <p:nvSpPr>
          <p:cNvPr id="10" name="Text Placeholder 11"/>
          <p:cNvSpPr>
            <a:spLocks noGrp="1"/>
          </p:cNvSpPr>
          <p:nvPr>
            <p:ph type="body" sz="quarter" idx="14" hasCustomPrompt="1"/>
          </p:nvPr>
        </p:nvSpPr>
        <p:spPr>
          <a:xfrm>
            <a:off x="300039" y="624933"/>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pic>
        <p:nvPicPr>
          <p:cNvPr id="11" name="Picture 10"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7" name="Picture Placeholder 2"/>
          <p:cNvSpPr>
            <a:spLocks noGrp="1"/>
          </p:cNvSpPr>
          <p:nvPr>
            <p:ph type="pic" idx="10" hasCustomPrompt="1"/>
          </p:nvPr>
        </p:nvSpPr>
        <p:spPr>
          <a:xfrm>
            <a:off x="344008" y="5757333"/>
            <a:ext cx="5317489" cy="54122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endParaRPr lang="en-US" dirty="0"/>
          </a:p>
        </p:txBody>
      </p:sp>
      <p:sp>
        <p:nvSpPr>
          <p:cNvPr id="9" name="Text Placeholder 6"/>
          <p:cNvSpPr>
            <a:spLocks noGrp="1"/>
          </p:cNvSpPr>
          <p:nvPr>
            <p:ph type="body" sz="quarter" idx="12" hasCustomPrompt="1"/>
          </p:nvPr>
        </p:nvSpPr>
        <p:spPr>
          <a:xfrm>
            <a:off x="344008" y="6265333"/>
            <a:ext cx="3913188" cy="278191"/>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4" name="Text Placeholder 4"/>
          <p:cNvSpPr>
            <a:spLocks noGrp="1"/>
          </p:cNvSpPr>
          <p:nvPr>
            <p:ph type="body" sz="quarter" idx="13" hasCustomPrompt="1"/>
          </p:nvPr>
        </p:nvSpPr>
        <p:spPr>
          <a:xfrm>
            <a:off x="344008" y="6530975"/>
            <a:ext cx="3913188" cy="266700"/>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endParaRPr lang="en-US" dirty="0"/>
          </a:p>
        </p:txBody>
      </p:sp>
      <p:pic>
        <p:nvPicPr>
          <p:cNvPr id="12" name="Picture 11" descr="placeholder-horizontal.png"/>
          <p:cNvPicPr>
            <a:picLocks noChangeAspect="1"/>
          </p:cNvPicPr>
          <p:nvPr userDrawn="1"/>
        </p:nvPicPr>
        <p:blipFill>
          <a:blip r:embed="rId3"/>
          <a:stretch>
            <a:fillRect/>
          </a:stretch>
        </p:blipFill>
        <p:spPr>
          <a:xfrm>
            <a:off x="-608" y="1828387"/>
            <a:ext cx="9144000" cy="3928946"/>
          </a:xfrm>
          <a:prstGeom prst="rect">
            <a:avLst/>
          </a:prstGeom>
        </p:spPr>
      </p:pic>
      <p:sp>
        <p:nvSpPr>
          <p:cNvPr id="16" name="Picture Placeholder 2"/>
          <p:cNvSpPr>
            <a:spLocks noGrp="1"/>
          </p:cNvSpPr>
          <p:nvPr>
            <p:ph type="pic" idx="1" hasCustomPrompt="1"/>
          </p:nvPr>
        </p:nvSpPr>
        <p:spPr>
          <a:xfrm>
            <a:off x="344008" y="168031"/>
            <a:ext cx="6868853" cy="506652"/>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endParaRPr lang="en-US" dirty="0"/>
          </a:p>
        </p:txBody>
      </p:sp>
      <p:sp>
        <p:nvSpPr>
          <p:cNvPr id="17" name="Text Placeholder 11"/>
          <p:cNvSpPr>
            <a:spLocks noGrp="1"/>
          </p:cNvSpPr>
          <p:nvPr>
            <p:ph type="body" sz="quarter" idx="14" hasCustomPrompt="1"/>
          </p:nvPr>
        </p:nvSpPr>
        <p:spPr>
          <a:xfrm>
            <a:off x="300039" y="624933"/>
            <a:ext cx="6738218" cy="1156530"/>
          </a:xfrm>
          <a:prstGeom prst="rect">
            <a:avLst/>
          </a:prstGeom>
        </p:spPr>
        <p:txBody>
          <a:bodyPr vert="horz"/>
          <a:lstStyle>
            <a:lvl1pPr marL="0" indent="0">
              <a:lnSpc>
                <a:spcPct val="90000"/>
              </a:lnSpc>
              <a:buNone/>
              <a:defRPr sz="3600" baseline="0">
                <a:solidFill>
                  <a:srgbClr val="53565A"/>
                </a:solidFill>
              </a:defRPr>
            </a:lvl1pPr>
            <a:lvl2pPr>
              <a:buNone/>
              <a:defRPr>
                <a:solidFill>
                  <a:srgbClr val="53565A"/>
                </a:solidFill>
              </a:defRPr>
            </a:lvl2pPr>
            <a:lvl3pPr>
              <a:buNone/>
              <a:defRPr>
                <a:solidFill>
                  <a:srgbClr val="53565A"/>
                </a:solidFill>
              </a:defRPr>
            </a:lvl3pPr>
            <a:lvl4pPr>
              <a:buNone/>
              <a:defRPr>
                <a:solidFill>
                  <a:srgbClr val="53565A"/>
                </a:solidFill>
              </a:defRPr>
            </a:lvl4pPr>
            <a:lvl5pPr>
              <a:buNone/>
              <a:defRPr>
                <a:solidFill>
                  <a:srgbClr val="53565A"/>
                </a:solidFill>
              </a:defRPr>
            </a:lvl5pPr>
          </a:lstStyle>
          <a:p>
            <a:pPr lvl="0"/>
            <a:r>
              <a:rPr lang="en-US" dirty="0"/>
              <a:t>Cover Slide Title </a:t>
            </a:r>
            <a:br>
              <a:rPr lang="en-US" dirty="0"/>
            </a:br>
            <a:r>
              <a:rPr lang="en-US" dirty="0"/>
              <a:t>Second Line If Necessary</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pic>
        <p:nvPicPr>
          <p:cNvPr id="7" name="Picture 6" descr="Illust_Cover_3.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8" y="320681"/>
            <a:ext cx="9144608" cy="6637866"/>
          </a:xfrm>
          <a:prstGeom prst="rect">
            <a:avLst/>
          </a:prstGeom>
        </p:spPr>
      </p:pic>
      <p:pic>
        <p:nvPicPr>
          <p:cNvPr id="8" name="Picture 7"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443402" y="374493"/>
            <a:ext cx="6878044" cy="541526"/>
          </a:xfrm>
          <a:prstGeom prst="rect">
            <a:avLst/>
          </a:prstGeom>
        </p:spPr>
        <p:txBody>
          <a:bodyPr/>
          <a:lstStyle>
            <a:lvl1pPr marL="0" indent="0">
              <a:buNone/>
              <a:defRPr sz="36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endParaRPr lang="en-US" dirty="0"/>
          </a:p>
        </p:txBody>
      </p:sp>
      <p:sp>
        <p:nvSpPr>
          <p:cNvPr id="9" name="Text Placeholder 6"/>
          <p:cNvSpPr>
            <a:spLocks noGrp="1"/>
          </p:cNvSpPr>
          <p:nvPr>
            <p:ph type="body" sz="quarter" idx="10" hasCustomPrompt="1"/>
          </p:nvPr>
        </p:nvSpPr>
        <p:spPr>
          <a:xfrm>
            <a:off x="347587" y="6096001"/>
            <a:ext cx="3913188" cy="278190"/>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1" name="Text Placeholder 10"/>
          <p:cNvSpPr>
            <a:spLocks noGrp="1"/>
          </p:cNvSpPr>
          <p:nvPr>
            <p:ph type="body" sz="quarter" idx="12" hasCustomPrompt="1"/>
          </p:nvPr>
        </p:nvSpPr>
        <p:spPr>
          <a:xfrm>
            <a:off x="443402" y="1039813"/>
            <a:ext cx="6329930" cy="701901"/>
          </a:xfrm>
          <a:prstGeom prst="rect">
            <a:avLst/>
          </a:prstGeom>
        </p:spPr>
        <p:txBody>
          <a:bodyPr vert="horz"/>
          <a:lstStyle>
            <a:lvl1pPr marL="0" indent="0">
              <a:buNone/>
              <a:defRPr sz="1400">
                <a:solidFill>
                  <a:srgbClr val="53565A"/>
                </a:solidFill>
              </a:defRPr>
            </a:lvl1pPr>
          </a:lstStyle>
          <a:p>
            <a:pPr>
              <a:lnSpc>
                <a:spcPct val="100000"/>
              </a:lnSpc>
            </a:pPr>
            <a:r>
              <a:rPr lang="en-US" sz="1600" dirty="0">
                <a:solidFill>
                  <a:schemeClr val="tx2"/>
                </a:solidFill>
              </a:rPr>
              <a:t>Subtitle of slide and or description of presentation</a:t>
            </a:r>
            <a:br>
              <a:rPr lang="en-US" sz="1600" dirty="0">
                <a:solidFill>
                  <a:schemeClr val="tx2"/>
                </a:solidFill>
              </a:rPr>
            </a:br>
            <a:r>
              <a:rPr lang="en-US" sz="1600" baseline="0" dirty="0">
                <a:solidFill>
                  <a:schemeClr val="tx2"/>
                </a:solidFill>
              </a:rPr>
              <a:t>Second line if Necessary</a:t>
            </a:r>
            <a:endParaRPr lang="en-US" sz="1600" baseline="0" dirty="0">
              <a:solidFill>
                <a:schemeClr val="tx2"/>
              </a:solidFill>
            </a:endParaRPr>
          </a:p>
        </p:txBody>
      </p:sp>
      <p:sp>
        <p:nvSpPr>
          <p:cNvPr id="14" name="Text Placeholder 4"/>
          <p:cNvSpPr>
            <a:spLocks noGrp="1"/>
          </p:cNvSpPr>
          <p:nvPr>
            <p:ph type="body" sz="quarter" idx="11"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pic>
        <p:nvPicPr>
          <p:cNvPr id="8" name="Picture 7"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3" name="Picture Placeholder 2"/>
          <p:cNvSpPr>
            <a:spLocks noGrp="1"/>
          </p:cNvSpPr>
          <p:nvPr>
            <p:ph type="pic" idx="1" hasCustomPrompt="1"/>
          </p:nvPr>
        </p:nvSpPr>
        <p:spPr>
          <a:xfrm>
            <a:off x="443402" y="374493"/>
            <a:ext cx="6878044" cy="541526"/>
          </a:xfrm>
          <a:prstGeom prst="rect">
            <a:avLst/>
          </a:prstGeom>
        </p:spPr>
        <p:txBody>
          <a:bodyPr/>
          <a:lstStyle>
            <a:lvl1pPr marL="0" indent="0">
              <a:buNone/>
              <a:defRPr sz="36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endParaRPr lang="en-US" dirty="0"/>
          </a:p>
        </p:txBody>
      </p:sp>
      <p:sp>
        <p:nvSpPr>
          <p:cNvPr id="9" name="Text Placeholder 6"/>
          <p:cNvSpPr>
            <a:spLocks noGrp="1"/>
          </p:cNvSpPr>
          <p:nvPr>
            <p:ph type="body" sz="quarter" idx="10" hasCustomPrompt="1"/>
          </p:nvPr>
        </p:nvSpPr>
        <p:spPr>
          <a:xfrm>
            <a:off x="347587" y="6096001"/>
            <a:ext cx="3913188" cy="278190"/>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1" name="Text Placeholder 10"/>
          <p:cNvSpPr>
            <a:spLocks noGrp="1"/>
          </p:cNvSpPr>
          <p:nvPr>
            <p:ph type="body" sz="quarter" idx="12" hasCustomPrompt="1"/>
          </p:nvPr>
        </p:nvSpPr>
        <p:spPr>
          <a:xfrm>
            <a:off x="443402" y="1039813"/>
            <a:ext cx="6329930" cy="701901"/>
          </a:xfrm>
          <a:prstGeom prst="rect">
            <a:avLst/>
          </a:prstGeom>
        </p:spPr>
        <p:txBody>
          <a:bodyPr vert="horz"/>
          <a:lstStyle>
            <a:lvl1pPr marL="0" indent="0">
              <a:buNone/>
              <a:defRPr sz="1400">
                <a:solidFill>
                  <a:srgbClr val="53565A"/>
                </a:solidFill>
              </a:defRPr>
            </a:lvl1pPr>
          </a:lstStyle>
          <a:p>
            <a:pPr>
              <a:lnSpc>
                <a:spcPct val="100000"/>
              </a:lnSpc>
            </a:pPr>
            <a:r>
              <a:rPr lang="en-US" sz="1600" dirty="0">
                <a:solidFill>
                  <a:schemeClr val="tx2"/>
                </a:solidFill>
              </a:rPr>
              <a:t>Subtitle of slide and or description of presentation</a:t>
            </a:r>
            <a:br>
              <a:rPr lang="en-US" sz="1600" dirty="0">
                <a:solidFill>
                  <a:schemeClr val="tx2"/>
                </a:solidFill>
              </a:rPr>
            </a:br>
            <a:r>
              <a:rPr lang="en-US" sz="1600" baseline="0" dirty="0">
                <a:solidFill>
                  <a:schemeClr val="tx2"/>
                </a:solidFill>
              </a:rPr>
              <a:t>Second line if Necessary</a:t>
            </a:r>
            <a:endParaRPr lang="en-US" sz="1600" baseline="0" dirty="0">
              <a:solidFill>
                <a:schemeClr val="tx2"/>
              </a:solidFill>
            </a:endParaRPr>
          </a:p>
        </p:txBody>
      </p:sp>
      <p:sp>
        <p:nvSpPr>
          <p:cNvPr id="14" name="Text Placeholder 4"/>
          <p:cNvSpPr>
            <a:spLocks noGrp="1"/>
          </p:cNvSpPr>
          <p:nvPr>
            <p:ph type="body" sz="quarter" idx="11" hasCustomPrompt="1"/>
          </p:nvPr>
        </p:nvSpPr>
        <p:spPr>
          <a:xfrm>
            <a:off x="347587" y="6397625"/>
            <a:ext cx="3913188" cy="266700"/>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endParaRPr lang="en-US" dirty="0"/>
          </a:p>
        </p:txBody>
      </p:sp>
      <p:pic>
        <p:nvPicPr>
          <p:cNvPr id="10" name="Picture 9" descr="placeholder-horizontal.png"/>
          <p:cNvPicPr>
            <a:picLocks noChangeAspect="1"/>
          </p:cNvPicPr>
          <p:nvPr userDrawn="1"/>
        </p:nvPicPr>
        <p:blipFill>
          <a:blip r:embed="rId3"/>
          <a:stretch>
            <a:fillRect/>
          </a:stretch>
        </p:blipFill>
        <p:spPr>
          <a:xfrm>
            <a:off x="-608" y="1828387"/>
            <a:ext cx="9144000" cy="4044432"/>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endParaRPr lang="en-US" dirty="0"/>
          </a:p>
        </p:txBody>
      </p:sp>
      <p:sp>
        <p:nvSpPr>
          <p:cNvPr id="12"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   |   </a:t>
            </a:r>
            <a:fld id="{DA15E891-66B8-4B28-AB8F-05A4B1DE573C}" type="slidenum">
              <a:rPr lang="en-US" dirty="0" smtClean="0"/>
            </a:fld>
            <a:endParaRPr lang="en-US" dirty="0"/>
          </a:p>
        </p:txBody>
      </p:sp>
      <p:sp>
        <p:nvSpPr>
          <p:cNvPr id="13" name="Title Placeholder 1"/>
          <p:cNvSpPr>
            <a:spLocks noGrp="1"/>
          </p:cNvSpPr>
          <p:nvPr>
            <p:ph type="title" hasCustomPrompt="1"/>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pic>
        <p:nvPicPr>
          <p:cNvPr id="9" name="Picture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6" name="Picture 5"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pic>
        <p:nvPicPr>
          <p:cNvPr id="5" name="Picture 4" descr="placeholder-vector.png"/>
          <p:cNvPicPr>
            <a:picLocks noChangeAspect="1"/>
          </p:cNvPicPr>
          <p:nvPr userDrawn="1"/>
        </p:nvPicPr>
        <p:blipFill>
          <a:blip r:embed="rId3"/>
          <a:stretch>
            <a:fillRect/>
          </a:stretch>
        </p:blipFill>
        <p:spPr>
          <a:xfrm>
            <a:off x="0" y="0"/>
            <a:ext cx="4572000" cy="68580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descr="Illust_Appendix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4685018" cy="6858000"/>
          </a:xfrm>
          <a:prstGeom prst="rect">
            <a:avLst/>
          </a:prstGeom>
        </p:spPr>
      </p:pic>
      <p:pic>
        <p:nvPicPr>
          <p:cNvPr id="5" name="Picture 4"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dirty="0"/>
              <a:t>Click to edit Master text styles</a:t>
            </a:r>
            <a:endParaRPr lang="en-US" dirty="0"/>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lvl1pPr>
            <a:lvl2pPr>
              <a:buNone/>
              <a:defRPr sz="3600"/>
            </a:lvl2pPr>
            <a:lvl3pPr>
              <a:buNone/>
              <a:defRPr sz="3600"/>
            </a:lvl3pPr>
            <a:lvl4pPr>
              <a:buNone/>
              <a:defRPr sz="3600"/>
            </a:lvl4pPr>
            <a:lvl5pPr>
              <a:buNone/>
              <a:defRPr sz="3600"/>
            </a:lvl5pPr>
          </a:lstStyle>
          <a:p>
            <a:pPr lvl="0"/>
            <a:r>
              <a:rPr lang="en-US" dirty="0"/>
              <a:t>Appendix</a:t>
            </a:r>
            <a:endParaRPr lang="en-US" dirty="0"/>
          </a:p>
        </p:txBody>
      </p:sp>
      <p:pic>
        <p:nvPicPr>
          <p:cNvPr id="7" name="Picture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5" name="Picture 4"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1" name="Text Placeholder 10"/>
          <p:cNvSpPr>
            <a:spLocks noGrp="1"/>
          </p:cNvSpPr>
          <p:nvPr>
            <p:ph type="body" sz="quarter" idx="12"/>
          </p:nvPr>
        </p:nvSpPr>
        <p:spPr>
          <a:xfrm>
            <a:off x="5068888" y="3494882"/>
            <a:ext cx="3724275" cy="1718018"/>
          </a:xfrm>
          <a:prstGeom prst="rect">
            <a:avLst/>
          </a:prstGeom>
        </p:spPr>
        <p:txBody>
          <a:bodyPr vert="horz"/>
          <a:lstStyle>
            <a:lvl1pPr>
              <a:buNone/>
              <a:defRPr sz="1600">
                <a:solidFill>
                  <a:srgbClr val="53565A"/>
                </a:solidFill>
              </a:defRPr>
            </a:lvl1pPr>
            <a:lvl2pPr>
              <a:buNone/>
              <a:defRPr sz="1600"/>
            </a:lvl2pPr>
            <a:lvl3pPr>
              <a:buNone/>
              <a:defRPr sz="1600"/>
            </a:lvl3pPr>
            <a:lvl4pPr>
              <a:buNone/>
              <a:defRPr sz="1600"/>
            </a:lvl4pPr>
            <a:lvl5pPr>
              <a:buNone/>
              <a:defRPr sz="1600"/>
            </a:lvl5pPr>
          </a:lstStyle>
          <a:p>
            <a:pPr lvl="0"/>
            <a:r>
              <a:rPr lang="en-US" dirty="0"/>
              <a:t>Click to edit Master text styles</a:t>
            </a:r>
            <a:endParaRPr lang="en-US" dirty="0"/>
          </a:p>
        </p:txBody>
      </p:sp>
      <p:sp>
        <p:nvSpPr>
          <p:cNvPr id="13" name="Text Placeholder 12"/>
          <p:cNvSpPr>
            <a:spLocks noGrp="1"/>
          </p:cNvSpPr>
          <p:nvPr>
            <p:ph type="body" sz="quarter" idx="13" hasCustomPrompt="1"/>
          </p:nvPr>
        </p:nvSpPr>
        <p:spPr>
          <a:xfrm>
            <a:off x="5068127" y="2747964"/>
            <a:ext cx="3700462" cy="638704"/>
          </a:xfrm>
          <a:prstGeom prst="rect">
            <a:avLst/>
          </a:prstGeom>
        </p:spPr>
        <p:txBody>
          <a:bodyPr vert="horz"/>
          <a:lstStyle>
            <a:lvl1pPr>
              <a:buNone/>
              <a:defRPr sz="3600"/>
            </a:lvl1pPr>
            <a:lvl2pPr>
              <a:buNone/>
              <a:defRPr sz="3600"/>
            </a:lvl2pPr>
            <a:lvl3pPr>
              <a:buNone/>
              <a:defRPr sz="3600"/>
            </a:lvl3pPr>
            <a:lvl4pPr>
              <a:buNone/>
              <a:defRPr sz="3600"/>
            </a:lvl4pPr>
            <a:lvl5pPr>
              <a:buNone/>
              <a:defRPr sz="3600"/>
            </a:lvl5pPr>
          </a:lstStyle>
          <a:p>
            <a:pPr lvl="0"/>
            <a:r>
              <a:rPr lang="en-US" dirty="0"/>
              <a:t>Appendix</a:t>
            </a:r>
            <a:endParaRPr lang="en-US" dirty="0"/>
          </a:p>
        </p:txBody>
      </p:sp>
      <p:sp>
        <p:nvSpPr>
          <p:cNvPr id="3" name="Picture Placeholder 2"/>
          <p:cNvSpPr>
            <a:spLocks noGrp="1"/>
          </p:cNvSpPr>
          <p:nvPr>
            <p:ph type="pic" sz="quarter" idx="14"/>
          </p:nvPr>
        </p:nvSpPr>
        <p:spPr>
          <a:xfrm>
            <a:off x="0" y="0"/>
            <a:ext cx="4565650" cy="6858000"/>
          </a:xfrm>
          <a:prstGeom prst="rect">
            <a:avLst/>
          </a:prstGeom>
        </p:spPr>
        <p:txBody>
          <a:bodyPr/>
          <a:lstStyle/>
          <a:p>
            <a:endParaRPr lang="en-US"/>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38349" y="6430719"/>
            <a:ext cx="1455108" cy="164286"/>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a:t>Title of Slide</a:t>
            </a:r>
            <a:endParaRPr lang="en-US" dirty="0"/>
          </a:p>
        </p:txBody>
      </p:sp>
      <p:sp>
        <p:nvSpPr>
          <p:cNvPr id="5" name="Content Placeholder 1"/>
          <p:cNvSpPr>
            <a:spLocks noGrp="1"/>
          </p:cNvSpPr>
          <p:nvPr>
            <p:ph idx="1"/>
          </p:nvPr>
        </p:nvSpPr>
        <p:spPr>
          <a:xfrm>
            <a:off x="457198" y="1500110"/>
            <a:ext cx="8238319" cy="4898146"/>
          </a:xfrm>
          <a:prstGeom prst="rect">
            <a:avLst/>
          </a:prstGeo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4" name="Slide Number Placeholder 7"/>
          <p:cNvSpPr txBox="1"/>
          <p:nvPr userDrawn="1"/>
        </p:nvSpPr>
        <p:spPr>
          <a:xfrm>
            <a:off x="8474076" y="-7938"/>
            <a:ext cx="587375" cy="354013"/>
          </a:xfrm>
          <a:prstGeom prst="rect">
            <a:avLst/>
          </a:prstGeom>
        </p:spPr>
        <p:txBody>
          <a:bodyPr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en-US">
                <a:solidFill>
                  <a:prstClr val="white"/>
                </a:solidFill>
              </a:rPr>
              <a:t>   |   </a:t>
            </a:r>
            <a:fld id="{839A9DFF-A543-419C-9BEF-1DE98E7837DB}" type="slidenum">
              <a:rPr lang="en-US" smtClean="0">
                <a:solidFill>
                  <a:prstClr val="white"/>
                </a:solidFill>
              </a:rPr>
            </a:fld>
            <a:endParaRPr lang="en-US" dirty="0">
              <a:solidFill>
                <a:prstClr val="white"/>
              </a:solidFill>
            </a:endParaRPr>
          </a:p>
        </p:txBody>
      </p:sp>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panose="020B0604020202020204"/>
                <a:cs typeface="Arial" panose="020B0604020202020204"/>
              </a:defRPr>
            </a:lvl1pPr>
            <a:lvl2pPr>
              <a:defRPr sz="1800">
                <a:solidFill>
                  <a:srgbClr val="53565A"/>
                </a:solidFill>
                <a:latin typeface="Arial" panose="020B0604020202020204"/>
                <a:cs typeface="Arial" panose="020B0604020202020204"/>
              </a:defRPr>
            </a:lvl2pPr>
            <a:lvl3pPr>
              <a:defRPr sz="1600">
                <a:solidFill>
                  <a:srgbClr val="53565A"/>
                </a:solidFill>
                <a:latin typeface="Arial" panose="020B0604020202020204"/>
                <a:cs typeface="Arial" panose="020B0604020202020204"/>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6" name="Title Placeholder 1"/>
          <p:cNvSpPr>
            <a:spLocks noGrp="1"/>
          </p:cNvSpPr>
          <p:nvPr>
            <p:ph type="title" hasCustomPrompt="1"/>
          </p:nvPr>
        </p:nvSpPr>
        <p:spPr>
          <a:xfrm>
            <a:off x="457200" y="705206"/>
            <a:ext cx="8238319" cy="418645"/>
          </a:xfrm>
          <a:prstGeom prst="rect">
            <a:avLst/>
          </a:prstGeom>
        </p:spPr>
        <p:txBody>
          <a:bodyPr rtlCol="0">
            <a:noAutofit/>
          </a:bodyPr>
          <a:lstStyle>
            <a:lvl1pPr>
              <a:defRPr b="0"/>
            </a:lvl1pPr>
          </a:lstStyle>
          <a:p>
            <a:r>
              <a:rPr lang="en-US" dirty="0"/>
              <a:t>Title of Slid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dirty="0" smtClean="0">
                <a:solidFill>
                  <a:prstClr val="white"/>
                </a:solidFill>
              </a:rPr>
            </a:fld>
            <a:endParaRPr lang="en-US" dirty="0">
              <a:solidFill>
                <a:prstClr val="white"/>
              </a:solidFill>
            </a:endParaRPr>
          </a:p>
        </p:txBody>
      </p:sp>
      <p:sp>
        <p:nvSpPr>
          <p:cNvPr id="13" name="Title Placeholder 1"/>
          <p:cNvSpPr>
            <a:spLocks noGrp="1"/>
          </p:cNvSpPr>
          <p:nvPr>
            <p:ph type="title" hasCustomPrompt="1"/>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endParaRPr lang="en-US" dirty="0"/>
          </a:p>
        </p:txBody>
      </p:sp>
      <p:sp>
        <p:nvSpPr>
          <p:cNvPr id="12"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fld>
            <a:endParaRPr lang="en-US" dirty="0">
              <a:solidFill>
                <a:prstClr val="white"/>
              </a:solidFill>
            </a:endParaRPr>
          </a:p>
        </p:txBody>
      </p:sp>
      <p:sp>
        <p:nvSpPr>
          <p:cNvPr id="13" name="Title Placeholder 1"/>
          <p:cNvSpPr>
            <a:spLocks noGrp="1"/>
          </p:cNvSpPr>
          <p:nvPr>
            <p:ph type="title" hasCustomPrompt="1"/>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38349" y="6430719"/>
            <a:ext cx="1455108" cy="164286"/>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endParaRPr lang="en-US" dirty="0"/>
          </a:p>
          <a:p>
            <a:endParaRPr lang="en-US" dirty="0"/>
          </a:p>
        </p:txBody>
      </p:sp>
      <p:sp>
        <p:nvSpPr>
          <p:cNvPr id="8"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fld>
            <a:endParaRPr lang="en-US" dirty="0">
              <a:solidFill>
                <a:prstClr val="white"/>
              </a:solidFill>
            </a:endParaRPr>
          </a:p>
        </p:txBody>
      </p:sp>
      <p:sp>
        <p:nvSpPr>
          <p:cNvPr id="14"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panose="020B0604020202020204"/>
              <a:buNone/>
              <a:defRPr sz="1800">
                <a:solidFill>
                  <a:schemeClr val="accent1"/>
                </a:solidFill>
              </a:defRPr>
            </a:lvl1pPr>
          </a:lstStyle>
          <a:p>
            <a:r>
              <a:rPr lang="en-US" sz="1800" dirty="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panose="020B0604020202020204"/>
                <a:cs typeface="Arial" panose="020B0604020202020204"/>
              </a:defRPr>
            </a:lvl2pPr>
          </a:lstStyle>
          <a:p>
            <a:pPr lvl="0"/>
            <a:r>
              <a:rPr lang="en-US" dirty="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38349" y="6430719"/>
            <a:ext cx="1455108" cy="164286"/>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panose="020B0604020202020204"/>
                <a:cs typeface="Arial" panose="020B0604020202020204"/>
              </a:defRPr>
            </a:lvl1pPr>
            <a:lvl2pPr>
              <a:defRPr sz="1800">
                <a:solidFill>
                  <a:srgbClr val="53565A"/>
                </a:solidFill>
                <a:latin typeface="Arial" panose="020B0604020202020204"/>
                <a:cs typeface="Arial" panose="020B0604020202020204"/>
              </a:defRPr>
            </a:lvl2pPr>
            <a:lvl3pPr>
              <a:defRPr sz="1600">
                <a:solidFill>
                  <a:srgbClr val="53565A"/>
                </a:solidFill>
                <a:latin typeface="Arial" panose="020B0604020202020204"/>
                <a:cs typeface="Arial" panose="020B0604020202020204"/>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5"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fld>
            <a:endParaRPr lang="en-US" dirty="0">
              <a:solidFill>
                <a:prstClr val="white"/>
              </a:solidFill>
            </a:endParaRPr>
          </a:p>
        </p:txBody>
      </p:sp>
      <p:sp>
        <p:nvSpPr>
          <p:cNvPr id="6"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endParaRPr lang="en-US" dirty="0"/>
          </a:p>
          <a:p>
            <a:endParaRPr lang="en-US" dirty="0"/>
          </a:p>
        </p:txBody>
      </p:sp>
      <p:sp>
        <p:nvSpPr>
          <p:cNvPr id="8"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   |   </a:t>
            </a:r>
            <a:fld id="{DA15E891-66B8-4B28-AB8F-05A4B1DE573C}" type="slidenum">
              <a:rPr lang="en-US" dirty="0" smtClean="0"/>
            </a:fld>
            <a:endParaRPr lang="en-US" dirty="0"/>
          </a:p>
        </p:txBody>
      </p:sp>
      <p:sp>
        <p:nvSpPr>
          <p:cNvPr id="14"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panose="020B0604020202020204"/>
              <a:buNone/>
              <a:defRPr sz="1800">
                <a:solidFill>
                  <a:schemeClr val="accent1"/>
                </a:solidFill>
              </a:defRPr>
            </a:lvl1pPr>
          </a:lstStyle>
          <a:p>
            <a:r>
              <a:rPr lang="en-US" sz="1800" dirty="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panose="020B0604020202020204"/>
                <a:cs typeface="Arial" panose="020B0604020202020204"/>
              </a:defRPr>
            </a:lvl2pPr>
          </a:lstStyle>
          <a:p>
            <a:pPr lvl="0"/>
            <a:r>
              <a:rPr lang="en-US" dirty="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endParaRPr lang="en-US" dirty="0"/>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dirty="0" smtClean="0">
                <a:solidFill>
                  <a:prstClr val="white"/>
                </a:solidFill>
              </a:rPr>
            </a:fld>
            <a:endParaRPr lang="en-US" dirty="0">
              <a:solidFill>
                <a:prstClr val="white"/>
              </a:solidFill>
            </a:endParaRPr>
          </a:p>
        </p:txBody>
      </p:sp>
      <p:sp>
        <p:nvSpPr>
          <p:cNvPr id="8"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4" name="Slide Number Placeholder 7"/>
          <p:cNvSpPr txBox="1"/>
          <p:nvPr userDrawn="1"/>
        </p:nvSpPr>
        <p:spPr>
          <a:xfrm>
            <a:off x="8474076" y="-7938"/>
            <a:ext cx="587375" cy="354013"/>
          </a:xfrm>
          <a:prstGeom prst="rect">
            <a:avLst/>
          </a:prstGeom>
        </p:spPr>
        <p:txBody>
          <a:bodyPr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spcBef>
                <a:spcPct val="0"/>
              </a:spcBef>
              <a:spcAft>
                <a:spcPct val="0"/>
              </a:spcAft>
              <a:defRPr/>
            </a:pPr>
            <a:r>
              <a:rPr lang="en-US">
                <a:solidFill>
                  <a:prstClr val="white"/>
                </a:solidFill>
              </a:rPr>
              <a:t>   |   </a:t>
            </a:r>
            <a:fld id="{839A9DFF-A543-419C-9BEF-1DE98E7837DB}" type="slidenum">
              <a:rPr lang="en-US" smtClean="0">
                <a:solidFill>
                  <a:prstClr val="white"/>
                </a:solidFill>
              </a:rPr>
            </a:fld>
            <a:endParaRPr lang="en-US" dirty="0">
              <a:solidFill>
                <a:prstClr val="white"/>
              </a:solidFill>
            </a:endParaRPr>
          </a:p>
        </p:txBody>
      </p:sp>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panose="020B0604020202020204"/>
                <a:cs typeface="Arial" panose="020B0604020202020204"/>
              </a:defRPr>
            </a:lvl1pPr>
            <a:lvl2pPr>
              <a:defRPr sz="1800">
                <a:solidFill>
                  <a:srgbClr val="53565A"/>
                </a:solidFill>
                <a:latin typeface="Arial" panose="020B0604020202020204"/>
                <a:cs typeface="Arial" panose="020B0604020202020204"/>
              </a:defRPr>
            </a:lvl2pPr>
            <a:lvl3pPr>
              <a:defRPr sz="1600">
                <a:solidFill>
                  <a:srgbClr val="53565A"/>
                </a:solidFill>
                <a:latin typeface="Arial" panose="020B0604020202020204"/>
                <a:cs typeface="Arial" panose="020B0604020202020204"/>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6" name="Title Placeholder 1"/>
          <p:cNvSpPr>
            <a:spLocks noGrp="1"/>
          </p:cNvSpPr>
          <p:nvPr>
            <p:ph type="title" hasCustomPrompt="1"/>
          </p:nvPr>
        </p:nvSpPr>
        <p:spPr>
          <a:xfrm>
            <a:off x="457200" y="705206"/>
            <a:ext cx="8238319" cy="418645"/>
          </a:xfrm>
          <a:prstGeom prst="rect">
            <a:avLst/>
          </a:prstGeom>
        </p:spPr>
        <p:txBody>
          <a:bodyPr rtlCol="0">
            <a:noAutofit/>
          </a:bodyPr>
          <a:lstStyle>
            <a:lvl1pPr>
              <a:defRPr b="0"/>
            </a:lvl1pPr>
          </a:lstStyle>
          <a:p>
            <a:r>
              <a:rPr lang="en-US" dirty="0"/>
              <a:t>Title of Slide</a:t>
            </a:r>
            <a:endParaRPr lang="en-US" dirty="0"/>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86688" y="6537960"/>
            <a:ext cx="1008830" cy="130555"/>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a:t>Click to edit title</a:t>
            </a:r>
            <a:endParaRPr lang="en-US" dirty="0"/>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Content: Full Page Photo">
    <p:spTree>
      <p:nvGrpSpPr>
        <p:cNvPr id="1" name=""/>
        <p:cNvGrpSpPr/>
        <p:nvPr/>
      </p:nvGrpSpPr>
      <p:grpSpPr>
        <a:xfrm>
          <a:off x="0" y="0"/>
          <a:ext cx="0" cy="0"/>
          <a:chOff x="0" y="0"/>
          <a:chExt cx="0" cy="0"/>
        </a:xfrm>
      </p:grpSpPr>
      <p:sp>
        <p:nvSpPr>
          <p:cNvPr id="3" name="Content Placeholder 2"/>
          <p:cNvSpPr>
            <a:spLocks noGrp="1"/>
          </p:cNvSpPr>
          <p:nvPr>
            <p:ph idx="1"/>
          </p:nvPr>
        </p:nvSpPr>
        <p:spPr>
          <a:xfrm>
            <a:off x="1093788" y="5894615"/>
            <a:ext cx="7429500" cy="759278"/>
          </a:xfrm>
          <a:prstGeom prst="rect">
            <a:avLst/>
          </a:prstGeom>
        </p:spPr>
        <p:txBody>
          <a:bodyPr>
            <a:normAutofit/>
          </a:bodyPr>
          <a:lstStyle>
            <a:lvl1pPr>
              <a:defRPr sz="900" b="0">
                <a:solidFill>
                  <a:srgbClr val="75787B"/>
                </a:solidFill>
                <a:latin typeface="Arial" panose="020B0604020202020204" pitchFamily="34" charset="0"/>
                <a:ea typeface="Arial" panose="020B0604020202020204"/>
                <a:cs typeface="Arial" panose="020B0604020202020204" pitchFamily="34" charset="0"/>
              </a:defRPr>
            </a:lvl1pPr>
            <a:lvl2pPr>
              <a:defRPr sz="975">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2pPr>
            <a:lvl3pPr>
              <a:defRPr sz="825">
                <a:solidFill>
                  <a:srgbClr val="75787B"/>
                </a:solidFill>
                <a:latin typeface="Lucida Sans Unicode" panose="020B0602030504020204" pitchFamily="34" charset="0"/>
                <a:ea typeface="Verdana" panose="020B0604030504040204" pitchFamily="34" charset="0"/>
                <a:cs typeface="Lucida Sans Unicode" panose="020B0602030504020204" pitchFamily="34" charset="0"/>
              </a:defRPr>
            </a:lvl3pPr>
            <a:lvl4pPr>
              <a:defRPr sz="790">
                <a:latin typeface="Lucida Sans Unicode" panose="020B0602030504020204" pitchFamily="34" charset="0"/>
                <a:ea typeface="Verdana" panose="020B0604030504040204" pitchFamily="34" charset="0"/>
                <a:cs typeface="Lucida Sans Unicode" panose="020B0602030504020204" pitchFamily="34" charset="0"/>
              </a:defRPr>
            </a:lvl4pPr>
            <a:lvl5pPr>
              <a:defRPr sz="790">
                <a:latin typeface="Lucida Sans Unicode" panose="020B0602030504020204" pitchFamily="34" charset="0"/>
                <a:ea typeface="Verdana" panose="020B0604030504040204" pitchFamily="34" charset="0"/>
                <a:cs typeface="Lucida Sans Unicode" panose="020B0602030504020204" pitchFamily="34" charset="0"/>
              </a:defRPr>
            </a:lvl5pPr>
          </a:lstStyle>
          <a:p>
            <a:pPr lvl="0"/>
            <a:r>
              <a:rPr lang="en-US" dirty="0"/>
              <a:t>Click to edit Master text styles</a:t>
            </a:r>
            <a:endParaRPr lang="en-US" dirty="0"/>
          </a:p>
        </p:txBody>
      </p:sp>
      <p:sp>
        <p:nvSpPr>
          <p:cNvPr id="14" name="Text Placeholder 13"/>
          <p:cNvSpPr>
            <a:spLocks noGrp="1"/>
          </p:cNvSpPr>
          <p:nvPr>
            <p:ph type="body" sz="quarter" idx="10" hasCustomPrompt="1"/>
          </p:nvPr>
        </p:nvSpPr>
        <p:spPr>
          <a:xfrm>
            <a:off x="1093788" y="954767"/>
            <a:ext cx="7429500" cy="285750"/>
          </a:xfrm>
        </p:spPr>
        <p:txBody>
          <a:bodyPr>
            <a:noAutofit/>
          </a:bodyPr>
          <a:lstStyle>
            <a:lvl1pPr marL="0" indent="0">
              <a:buNone/>
              <a:defRPr sz="1350" baseline="0">
                <a:solidFill>
                  <a:srgbClr val="007398"/>
                </a:solidFill>
                <a:latin typeface="Arial" panose="020B0604020202020204" pitchFamily="34" charset="0"/>
                <a:cs typeface="Arial" panose="020B0604020202020204" pitchFamily="34" charset="0"/>
              </a:defRPr>
            </a:lvl1pPr>
          </a:lstStyle>
          <a:p>
            <a:pPr lvl="0"/>
            <a:r>
              <a:rPr lang="en-US" dirty="0"/>
              <a:t>Title of Slide</a:t>
            </a:r>
            <a:endParaRPr lang="en-US" dirty="0"/>
          </a:p>
        </p:txBody>
      </p:sp>
      <p:sp>
        <p:nvSpPr>
          <p:cNvPr id="4" name="Picture Placeholder 3"/>
          <p:cNvSpPr>
            <a:spLocks noGrp="1"/>
          </p:cNvSpPr>
          <p:nvPr>
            <p:ph type="pic" sz="quarter" idx="11"/>
          </p:nvPr>
        </p:nvSpPr>
        <p:spPr>
          <a:xfrm>
            <a:off x="0" y="1445079"/>
            <a:ext cx="9144000" cy="4278085"/>
          </a:xfrm>
        </p:spPr>
        <p:txBody>
          <a:bodyPr/>
          <a:lstStyle>
            <a:lvl1pPr>
              <a:defRPr>
                <a:latin typeface="Arial" panose="020B0604020202020204" pitchFamily="34" charset="0"/>
                <a:cs typeface="Arial" panose="020B0604020202020204" pitchFamily="34" charset="0"/>
              </a:defRPr>
            </a:lvl1pPr>
          </a:lstStyle>
          <a:p>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5" name="Content Placeholder 1"/>
          <p:cNvSpPr>
            <a:spLocks noGrp="1"/>
          </p:cNvSpPr>
          <p:nvPr>
            <p:ph idx="1"/>
          </p:nvPr>
        </p:nvSpPr>
        <p:spPr>
          <a:xfrm>
            <a:off x="393030" y="1500110"/>
            <a:ext cx="8238319" cy="4898146"/>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a:t>Click to edit Master title style</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a:p>
        </p:txBody>
      </p:sp>
      <p:sp>
        <p:nvSpPr>
          <p:cNvPr id="3" name="Text Placeholder 22"/>
          <p:cNvSpPr>
            <a:spLocks noGrp="1"/>
          </p:cNvSpPr>
          <p:nvPr>
            <p:ph type="body" sz="quarter" idx="16" hasCustomPrompt="1"/>
          </p:nvPr>
        </p:nvSpPr>
        <p:spPr>
          <a:xfrm>
            <a:off x="198599" y="6511446"/>
            <a:ext cx="6672263"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a:t>单击此处编辑母版标题样式</a:t>
            </a:r>
            <a:endParaRPr lang="zh-CN" altLang="en-US"/>
          </a:p>
        </p:txBody>
      </p:sp>
      <p:sp>
        <p:nvSpPr>
          <p:cNvPr id="3" name="Slide Number Placeholder 5"/>
          <p:cNvSpPr>
            <a:spLocks noGrp="1" noChangeArrowheads="1"/>
          </p:cNvSpPr>
          <p:nvPr>
            <p:ph type="sldNum" sz="quarter" idx="10"/>
          </p:nvPr>
        </p:nvSpPr>
        <p:spPr/>
        <p:txBody>
          <a:bodyPr/>
          <a:lstStyle>
            <a:lvl1pPr>
              <a:defRPr/>
            </a:lvl1pPr>
          </a:lstStyle>
          <a:p>
            <a:pPr>
              <a:defRPr/>
            </a:pPr>
            <a:fld id="{0C51AE8C-BF60-4263-BE86-E8E0FAD6A59F}" type="slidenum">
              <a:rPr lang="en-GB" altLang="en-US"/>
            </a:fld>
            <a:endParaRPr lang="en-GB" alt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cSld name="空白">
    <p:spTree>
      <p:nvGrpSpPr>
        <p:cNvPr id="1" name=""/>
        <p:cNvGrpSpPr/>
        <p:nvPr/>
      </p:nvGrpSpPr>
      <p:grpSpPr>
        <a:xfrm>
          <a:off x="0" y="0"/>
          <a:ext cx="0" cy="0"/>
          <a:chOff x="0" y="0"/>
          <a:chExt cx="0" cy="0"/>
        </a:xfrm>
      </p:grpSpPr>
      <p:sp>
        <p:nvSpPr>
          <p:cNvPr id="2" name="Slide Number Placeholder 5"/>
          <p:cNvSpPr>
            <a:spLocks noGrp="1" noChangeArrowheads="1"/>
          </p:cNvSpPr>
          <p:nvPr>
            <p:ph type="sldNum" sz="quarter" idx="10"/>
          </p:nvPr>
        </p:nvSpPr>
        <p:spPr>
          <a:xfrm>
            <a:off x="1285875" y="6215063"/>
            <a:ext cx="419100" cy="365125"/>
          </a:xfrm>
          <a:prstGeom prst="rect">
            <a:avLst/>
          </a:prstGeom>
        </p:spPr>
        <p:txBody>
          <a:bodyPr/>
          <a:lstStyle>
            <a:lvl1pPr>
              <a:defRPr/>
            </a:lvl1pPr>
          </a:lstStyle>
          <a:p>
            <a:pPr>
              <a:defRPr/>
            </a:pPr>
            <a:fld id="{6842DBCB-5B90-404D-B900-050ED4DE61EB}" type="slidenum">
              <a:rPr lang="en-GB" altLang="en-US">
                <a:solidFill>
                  <a:srgbClr val="FF8200"/>
                </a:solidFill>
              </a:rPr>
            </a:fld>
            <a:endParaRPr lang="en-GB" altLang="en-US">
              <a:solidFill>
                <a:srgbClr val="FF8200"/>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panose="020B0604020202020204"/>
                <a:cs typeface="Arial" panose="020B0604020202020204"/>
              </a:defRPr>
            </a:lvl1pPr>
            <a:lvl2pPr>
              <a:defRPr sz="1800">
                <a:solidFill>
                  <a:srgbClr val="53565A"/>
                </a:solidFill>
                <a:latin typeface="Arial" panose="020B0604020202020204"/>
                <a:cs typeface="Arial" panose="020B0604020202020204"/>
              </a:defRPr>
            </a:lvl2pPr>
            <a:lvl3pPr>
              <a:defRPr sz="1600">
                <a:solidFill>
                  <a:srgbClr val="53565A"/>
                </a:solidFill>
                <a:latin typeface="Arial" panose="020B0604020202020204"/>
                <a:cs typeface="Arial" panose="020B0604020202020204"/>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5"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   |   </a:t>
            </a:r>
            <a:fld id="{DA15E891-66B8-4B28-AB8F-05A4B1DE573C}" type="slidenum">
              <a:rPr lang="en-US" dirty="0" smtClean="0"/>
            </a:fld>
            <a:endParaRPr lang="en-US" dirty="0"/>
          </a:p>
        </p:txBody>
      </p:sp>
      <p:sp>
        <p:nvSpPr>
          <p:cNvPr id="6"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One Column">
    <p:spTree>
      <p:nvGrpSpPr>
        <p:cNvPr id="1" name=""/>
        <p:cNvGrpSpPr/>
        <p:nvPr/>
      </p:nvGrpSpPr>
      <p:grpSpPr>
        <a:xfrm>
          <a:off x="0" y="0"/>
          <a:ext cx="0" cy="0"/>
          <a:chOff x="0" y="0"/>
          <a:chExt cx="0" cy="0"/>
        </a:xfrm>
      </p:grpSpPr>
      <p:sp>
        <p:nvSpPr>
          <p:cNvPr id="12" name="Title 11"/>
          <p:cNvSpPr>
            <a:spLocks noGrp="1"/>
          </p:cNvSpPr>
          <p:nvPr>
            <p:ph type="title"/>
          </p:nvPr>
        </p:nvSpPr>
        <p:spPr>
          <a:xfrm>
            <a:off x="457200" y="527250"/>
            <a:ext cx="8229600" cy="749808"/>
          </a:xfrm>
          <a:prstGeom prst="rect">
            <a:avLst/>
          </a:prstGeom>
        </p:spPr>
        <p:txBody>
          <a:bodyPr lIns="0" tIns="0"/>
          <a:lstStyle>
            <a:lvl1pPr>
              <a:defRPr sz="2800"/>
            </a:lvl1pPr>
          </a:lstStyle>
          <a:p>
            <a:r>
              <a:rPr lang="en-US" dirty="0"/>
              <a:t>Click to edit Master title style</a:t>
            </a:r>
            <a:endParaRPr lang="en-US" dirty="0"/>
          </a:p>
        </p:txBody>
      </p:sp>
      <p:sp>
        <p:nvSpPr>
          <p:cNvPr id="6" name="Rectangle 5"/>
          <p:cNvSpPr/>
          <p:nvPr userDrawn="1"/>
        </p:nvSpPr>
        <p:spPr>
          <a:xfrm>
            <a:off x="4710113" y="1597025"/>
            <a:ext cx="3979863" cy="4510733"/>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accent1"/>
              </a:solidFill>
            </a:endParaRPr>
          </a:p>
        </p:txBody>
      </p:sp>
      <p:sp>
        <p:nvSpPr>
          <p:cNvPr id="5" name="Text Placeholder 13"/>
          <p:cNvSpPr>
            <a:spLocks noGrp="1"/>
          </p:cNvSpPr>
          <p:nvPr>
            <p:ph type="body" idx="11"/>
          </p:nvPr>
        </p:nvSpPr>
        <p:spPr>
          <a:xfrm>
            <a:off x="457200" y="1863125"/>
            <a:ext cx="4024538" cy="1895475"/>
          </a:xfrm>
          <a:prstGeom prst="rect">
            <a:avLst/>
          </a:prstGeom>
        </p:spPr>
        <p:txBody>
          <a:bodyPr lIns="0" tIns="0"/>
          <a:lstStyle>
            <a:lvl1pPr>
              <a:defRPr sz="2000"/>
            </a:lvl1pPr>
            <a:lvl2pPr marL="460375" indent="-228600">
              <a:defRPr sz="1800"/>
            </a:lvl2pPr>
            <a:lvl3pPr marL="741680" indent="-228600">
              <a:defRPr sz="1800"/>
            </a:lvl3pPr>
            <a:lvl4pPr marL="1030605" indent="-228600">
              <a:defRPr sz="1800"/>
            </a:lvl4pPr>
            <a:lvl5pPr marL="1319530" indent="-228600">
              <a:defRPr sz="1800"/>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a:prstGeom prst="rect">
            <a:avLst/>
          </a:prstGeom>
        </p:spPr>
        <p:txBody>
          <a:bodyPr anchor="b"/>
          <a:lstStyle>
            <a:lvl1pPr algn="ctr">
              <a:defRPr sz="45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a:prstGeom prst="rect">
            <a:avLst/>
          </a:prstGeo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p:cNvSpPr>
            <a:spLocks noGrp="1"/>
          </p:cNvSpPr>
          <p:nvPr>
            <p:ph type="dt" sz="half" idx="10"/>
          </p:nvPr>
        </p:nvSpPr>
        <p:spPr>
          <a:xfrm>
            <a:off x="628650" y="6356351"/>
            <a:ext cx="2057400" cy="365125"/>
          </a:xfrm>
          <a:prstGeom prst="rect">
            <a:avLst/>
          </a:prstGeom>
        </p:spPr>
        <p:txBody>
          <a:bodyPr/>
          <a:lstStyle/>
          <a:p>
            <a:fld id="{EEA683B8-7BDD-4292-8288-A2F9BC9101E0}" type="datetimeFigureOut">
              <a:rPr lang="en-GB" smtClean="0"/>
            </a:fld>
            <a:endParaRPr lang="en-GB"/>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DEBFA7DD-B979-4EF9-B7BF-8EB51708021A}" type="slidenum">
              <a:rPr lang="en-GB" smtClean="0"/>
            </a:fld>
            <a:endParaRPr lang="en-GB"/>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t"/>
          <a:lstStyle/>
          <a:p>
            <a:pPr lvl="0"/>
            <a:r>
              <a:rPr lang="en-US"/>
              <a:t>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dirty="0"/>
          </a:p>
        </p:txBody>
      </p:sp>
      <p:sp>
        <p:nvSpPr>
          <p:cNvPr id="4" name="Date Placeholder 3"/>
          <p:cNvSpPr>
            <a:spLocks noGrp="1"/>
          </p:cNvSpPr>
          <p:nvPr>
            <p:ph type="dt" sz="half" idx="10"/>
          </p:nvPr>
        </p:nvSpPr>
        <p:spPr/>
        <p:txBody>
          <a:bodyPr/>
          <a:lstStyle/>
          <a:p>
            <a:fld id="{B61BEF0D-F0BB-DE4B-95CE-6DB70DBA9567}" type="datetimeFigureOut">
              <a:rPr lang="en-US" smtClean="0"/>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fld>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End Slide">
    <p:spTree>
      <p:nvGrpSpPr>
        <p:cNvPr id="1" name=""/>
        <p:cNvGrpSpPr/>
        <p:nvPr/>
      </p:nvGrpSpPr>
      <p:grpSpPr>
        <a:xfrm>
          <a:off x="0" y="0"/>
          <a:ext cx="0" cy="0"/>
          <a:chOff x="0" y="0"/>
          <a:chExt cx="0" cy="0"/>
        </a:xfrm>
      </p:grpSpPr>
      <p:sp>
        <p:nvSpPr>
          <p:cNvPr id="12" name="Rectangle 11"/>
          <p:cNvSpPr/>
          <p:nvPr/>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4" name="Picture 24"/>
          <p:cNvPicPr>
            <a:picLocks noChangeAspect="1"/>
          </p:cNvPicPr>
          <p:nvPr/>
        </p:nvPicPr>
        <p:blipFill>
          <a:blip r:embed="rId2" cstate="screen"/>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Rectangle 20"/>
          <p:cNvSpPr/>
          <p:nvPr/>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0" name="Rectangle 9"/>
          <p:cNvSpPr/>
          <p:nvPr/>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End slide</a:t>
            </a:r>
            <a:endParaRPr lang="en-GB" dirty="0"/>
          </a:p>
        </p:txBody>
      </p:sp>
      <p:sp>
        <p:nvSpPr>
          <p:cNvPr id="9" name="Rectangle 8"/>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24"/>
          <p:cNvPicPr>
            <a:picLocks noChangeAspect="1"/>
          </p:cNvPicPr>
          <p:nvPr userDrawn="1"/>
        </p:nvPicPr>
        <p:blipFill>
          <a:blip r:embed="rId2" cstate="screen"/>
          <a:srcRect/>
          <a:stretch>
            <a:fillRect/>
          </a:stretch>
        </p:blipFill>
        <p:spPr bwMode="auto">
          <a:xfrm>
            <a:off x="6831807" y="1049338"/>
            <a:ext cx="2303462"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p:cNvSpPr/>
          <p:nvPr userDrawn="1"/>
        </p:nvSpPr>
        <p:spPr>
          <a:xfrm>
            <a:off x="6794500"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17" name="Rectangle 16"/>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Main Title Slide">
    <p:spTree>
      <p:nvGrpSpPr>
        <p:cNvPr id="1" name=""/>
        <p:cNvGrpSpPr/>
        <p:nvPr/>
      </p:nvGrpSpPr>
      <p:grpSpPr>
        <a:xfrm>
          <a:off x="0" y="0"/>
          <a:ext cx="0" cy="0"/>
          <a:chOff x="0" y="0"/>
          <a:chExt cx="0" cy="0"/>
        </a:xfrm>
      </p:grpSpPr>
      <p:sp>
        <p:nvSpPr>
          <p:cNvPr id="11" name="Rectangle 10"/>
          <p:cNvSpPr/>
          <p:nvPr userDrawn="1"/>
        </p:nvSpPr>
        <p:spPr>
          <a:xfrm>
            <a:off x="6917465" y="1215025"/>
            <a:ext cx="2228028"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6" name="Picture 5"/>
          <p:cNvPicPr>
            <a:picLocks noChangeAspect="1"/>
          </p:cNvPicPr>
          <p:nvPr userDrawn="1"/>
        </p:nvPicPr>
        <p:blipFill>
          <a:blip r:embed="rId2"/>
          <a:stretch>
            <a:fillRect/>
          </a:stretch>
        </p:blipFill>
        <p:spPr>
          <a:xfrm>
            <a:off x="6821072" y="1334264"/>
            <a:ext cx="2304488" cy="5096698"/>
          </a:xfrm>
          <a:prstGeom prst="rect">
            <a:avLst/>
          </a:prstGeom>
        </p:spPr>
      </p:pic>
      <p:pic>
        <p:nvPicPr>
          <p:cNvPr id="7" name="Picture 6"/>
          <p:cNvPicPr>
            <a:picLocks noChangeAspect="1"/>
          </p:cNvPicPr>
          <p:nvPr userDrawn="1"/>
        </p:nvPicPr>
        <p:blipFill rotWithShape="1">
          <a:blip r:embed="rId3" cstate="screen"/>
          <a:srcRect/>
          <a:stretch>
            <a:fillRect/>
          </a:stretch>
        </p:blipFill>
        <p:spPr>
          <a:xfrm>
            <a:off x="6932598" y="1215024"/>
            <a:ext cx="2209588" cy="4836526"/>
          </a:xfrm>
          <a:prstGeom prst="rect">
            <a:avLst/>
          </a:prstGeom>
        </p:spPr>
      </p:pic>
      <p:sp>
        <p:nvSpPr>
          <p:cNvPr id="18" name="Rectangle 17"/>
          <p:cNvSpPr/>
          <p:nvPr userDrawn="1"/>
        </p:nvSpPr>
        <p:spPr>
          <a:xfrm>
            <a:off x="6842031" y="1215024"/>
            <a:ext cx="2303462"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pic>
        <p:nvPicPr>
          <p:cNvPr id="27" name="Picture 3" descr="Elsevier_W_Research_Information_1b_aw.eps"/>
          <p:cNvPicPr/>
          <p:nvPr userDrawn="1"/>
        </p:nvPicPr>
        <p:blipFill>
          <a:blip r:embed="rId2" cstate="screen"/>
          <a:srcRect/>
          <a:stretch>
            <a:fillRect/>
          </a:stretch>
        </p:blipFill>
        <p:spPr bwMode="auto">
          <a:xfrm>
            <a:off x="7429890" y="2658533"/>
            <a:ext cx="1717200" cy="1717200"/>
          </a:xfrm>
          <a:prstGeom prst="rect">
            <a:avLst/>
          </a:prstGeom>
          <a:noFill/>
          <a:ln>
            <a:noFill/>
          </a:ln>
        </p:spPr>
      </p:pic>
      <p:sp>
        <p:nvSpPr>
          <p:cNvPr id="8" name="Text Placeholder 7"/>
          <p:cNvSpPr>
            <a:spLocks noGrp="1"/>
          </p:cNvSpPr>
          <p:nvPr>
            <p:ph type="body" sz="quarter" idx="17" hasCustomPrompt="1"/>
          </p:nvPr>
        </p:nvSpPr>
        <p:spPr>
          <a:xfrm>
            <a:off x="257175" y="4709826"/>
            <a:ext cx="5483225" cy="527050"/>
          </a:xfrm>
          <a:prstGeom prst="rect">
            <a:avLst/>
          </a:prstGeom>
        </p:spPr>
        <p:txBody>
          <a:bodyPr>
            <a:normAutofit/>
          </a:bodyPr>
          <a:lstStyle>
            <a:lvl1pPr marL="0" indent="0">
              <a:buNone/>
              <a:defRPr sz="2000"/>
            </a:lvl1pPr>
          </a:lstStyle>
          <a:p>
            <a:pPr lvl="0"/>
            <a:r>
              <a:rPr lang="en-US" dirty="0"/>
              <a:t>Click to add author’s name and job title</a:t>
            </a:r>
            <a:endParaRPr lang="en-GB" dirty="0"/>
          </a:p>
        </p:txBody>
      </p:sp>
      <p:sp>
        <p:nvSpPr>
          <p:cNvPr id="13" name="Rectangle 12"/>
          <p:cNvSpPr/>
          <p:nvPr userDrawn="1"/>
        </p:nvSpPr>
        <p:spPr>
          <a:xfrm>
            <a:off x="-18440" y="26612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2" name="Picture 11"/>
          <p:cNvPicPr>
            <a:picLocks noChangeAspect="1"/>
          </p:cNvPicPr>
          <p:nvPr userDrawn="1"/>
        </p:nvPicPr>
        <p:blipFill>
          <a:blip r:embed="rId2" cstate="screen"/>
          <a:stretch>
            <a:fillRect/>
          </a:stretch>
        </p:blipFill>
        <p:spPr>
          <a:xfrm>
            <a:off x="7432449" y="2658533"/>
            <a:ext cx="1714500" cy="1714500"/>
          </a:xfrm>
          <a:prstGeom prst="rect">
            <a:avLst/>
          </a:prstGeom>
        </p:spPr>
      </p:pic>
      <p:sp>
        <p:nvSpPr>
          <p:cNvPr id="15" name="Title 1"/>
          <p:cNvSpPr>
            <a:spLocks noGrp="1"/>
          </p:cNvSpPr>
          <p:nvPr>
            <p:ph type="ctrTitle" hasCustomPrompt="1"/>
          </p:nvPr>
        </p:nvSpPr>
        <p:spPr>
          <a:xfrm>
            <a:off x="257174" y="2781300"/>
            <a:ext cx="7032625"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GB" dirty="0"/>
              <a:t>Click to edit</a:t>
            </a:r>
            <a:endParaRPr lang="en-US" dirty="0"/>
          </a:p>
        </p:txBody>
      </p:sp>
      <p:pic>
        <p:nvPicPr>
          <p:cNvPr id="2050" name="Picture 2" descr="C:\Users\jamesc\Documents\Product Information\ERI General\Artfile Archive\Product Logos\Product Logos\Solution Suite Wordmarks 151 Orange\Ppt and Web\ELS_RI_Wordmark_151_RGB.png"/>
          <p:cNvPicPr>
            <a:picLocks noChangeAspect="1" noChangeArrowheads="1"/>
          </p:cNvPicPr>
          <p:nvPr userDrawn="1"/>
        </p:nvPicPr>
        <p:blipFill>
          <a:blip r:embed="rId2" cstate="screen"/>
          <a:srcRect/>
          <a:stretch>
            <a:fillRect/>
          </a:stretch>
        </p:blipFill>
        <p:spPr bwMode="auto">
          <a:xfrm>
            <a:off x="419099" y="2186256"/>
            <a:ext cx="3453293" cy="264536"/>
          </a:xfrm>
          <a:prstGeom prst="rect">
            <a:avLst/>
          </a:prstGeom>
          <a:noFill/>
        </p:spPr>
      </p:pic>
      <p:sp>
        <p:nvSpPr>
          <p:cNvPr id="2" name="Rectangle 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16" name="Picture 13"/>
          <p:cNvPicPr>
            <a:picLocks noChangeAspect="1"/>
          </p:cNvPicPr>
          <p:nvPr userDrawn="1"/>
        </p:nvPicPr>
        <p:blipFill>
          <a:blip r:embed="rId2" cstate="screen"/>
          <a:srcRect/>
          <a:stretch>
            <a:fillRect/>
          </a:stretch>
        </p:blipFill>
        <p:spPr bwMode="auto">
          <a:xfrm>
            <a:off x="7317695" y="6438105"/>
            <a:ext cx="1574800" cy="160338"/>
          </a:xfrm>
          <a:prstGeom prst="rect">
            <a:avLst/>
          </a:prstGeom>
          <a:noFill/>
          <a:ln>
            <a:noFill/>
          </a:ln>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2" cstate="screen"/>
          <a:srcRect/>
          <a:stretch>
            <a:fillRect/>
          </a:stretch>
        </p:blipFill>
        <p:spPr bwMode="auto">
          <a:xfrm>
            <a:off x="8171266" y="223121"/>
            <a:ext cx="648468" cy="716218"/>
          </a:xfrm>
          <a:prstGeom prst="rect">
            <a:avLst/>
          </a:prstGeom>
          <a:noFill/>
        </p:spPr>
      </p:pic>
      <p:sp>
        <p:nvSpPr>
          <p:cNvPr id="10" name="Text Placeholder 9"/>
          <p:cNvSpPr>
            <a:spLocks noGrp="1"/>
          </p:cNvSpPr>
          <p:nvPr>
            <p:ph type="body" sz="quarter" idx="18" hasCustomPrompt="1"/>
          </p:nvPr>
        </p:nvSpPr>
        <p:spPr>
          <a:xfrm>
            <a:off x="257175" y="5303344"/>
            <a:ext cx="3508375" cy="440748"/>
          </a:xfrm>
          <a:prstGeom prst="rect">
            <a:avLst/>
          </a:prstGeom>
        </p:spPr>
        <p:txBody>
          <a:bodyPr/>
          <a:lstStyle>
            <a:lvl1pPr marL="0" indent="0">
              <a:buNone/>
              <a:defRPr sz="1400" b="0"/>
            </a:lvl1pPr>
          </a:lstStyle>
          <a:p>
            <a:pPr lvl="0"/>
            <a:r>
              <a:rPr lang="en-US" dirty="0"/>
              <a:t>Click to add date</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457199" y="705204"/>
            <a:ext cx="8238319" cy="418645"/>
          </a:xfrm>
        </p:spPr>
        <p:txBody>
          <a:bodyPr/>
          <a:lstStyle/>
          <a:p>
            <a:r>
              <a:rPr lang="en-US" dirty="0"/>
              <a:t>Click to edit Master title style</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 Box Content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1"/>
            </a:lvl1pPr>
          </a:lstStyle>
          <a:p>
            <a:r>
              <a:rPr lang="en-US" dirty="0"/>
              <a:t>Title of Slide</a:t>
            </a:r>
            <a:endParaRPr lang="en-US" dirty="0"/>
          </a:p>
        </p:txBody>
      </p:sp>
      <p:sp>
        <p:nvSpPr>
          <p:cNvPr id="5" name="Content Placeholder 1"/>
          <p:cNvSpPr>
            <a:spLocks noGrp="1"/>
          </p:cNvSpPr>
          <p:nvPr>
            <p:ph idx="1"/>
          </p:nvPr>
        </p:nvSpPr>
        <p:spPr>
          <a:xfrm>
            <a:off x="457198" y="1500110"/>
            <a:ext cx="8238319" cy="4898146"/>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dirty="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panose="020B0604020202020204"/>
              <a:buNone/>
              <a:defRPr sz="1800">
                <a:solidFill>
                  <a:schemeClr val="accent1"/>
                </a:solidFill>
              </a:defRPr>
            </a:lvl1pPr>
          </a:lstStyle>
          <a:p>
            <a:r>
              <a:rPr lang="en-US" sz="1800" dirty="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53565A"/>
                </a:solidFill>
              </a:defRPr>
            </a:lvl1pPr>
            <a:lvl2pPr marL="457200" indent="0">
              <a:buNone/>
              <a:defRPr sz="1600">
                <a:latin typeface="Arial" panose="020B0604020202020204"/>
                <a:cs typeface="Arial" panose="020B0604020202020204"/>
              </a:defRPr>
            </a:lvl2pPr>
          </a:lstStyle>
          <a:p>
            <a:pPr lvl="0"/>
            <a:r>
              <a:rPr lang="en-US" dirty="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53565A"/>
                </a:solidFill>
              </a:defRPr>
            </a:lvl1pPr>
          </a:lstStyle>
          <a:p>
            <a:pPr lvl="0"/>
            <a:r>
              <a:rPr lang="en-US" dirty="0"/>
              <a:t>Click to edit text</a:t>
            </a:r>
            <a:endParaRPr lang="en-US" dirty="0"/>
          </a:p>
        </p:txBody>
      </p:sp>
      <p:sp>
        <p:nvSpPr>
          <p:cNvPr id="10" name="Content Placeholder 1"/>
          <p:cNvSpPr>
            <a:spLocks noGrp="1"/>
          </p:cNvSpPr>
          <p:nvPr>
            <p:ph idx="17"/>
          </p:nvPr>
        </p:nvSpPr>
        <p:spPr>
          <a:xfrm>
            <a:off x="457198" y="1943072"/>
            <a:ext cx="8238319" cy="3765589"/>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a:blip r:embed="rId2" cstate="screen"/>
          <a:stretch>
            <a:fillRect/>
          </a:stretch>
        </p:blipFill>
        <p:spPr bwMode="auto">
          <a:xfrm>
            <a:off x="6400383" y="1390900"/>
            <a:ext cx="2743616" cy="4597567"/>
          </a:xfrm>
          <a:prstGeom prst="rect">
            <a:avLst/>
          </a:prstGeom>
          <a:noFill/>
          <a:ln>
            <a:noFill/>
          </a:ln>
          <a:effectLst/>
        </p:spPr>
      </p:pic>
      <p:sp>
        <p:nvSpPr>
          <p:cNvPr id="8" name="Title 11"/>
          <p:cNvSpPr>
            <a:spLocks noGrp="1"/>
          </p:cNvSpPr>
          <p:nvPr>
            <p:ph type="title" hasCustomPrompt="1"/>
          </p:nvPr>
        </p:nvSpPr>
        <p:spPr>
          <a:xfrm>
            <a:off x="292099" y="497304"/>
            <a:ext cx="8514275" cy="593559"/>
          </a:xfrm>
          <a:prstGeom prst="rect">
            <a:avLst/>
          </a:prstGeom>
        </p:spPr>
        <p:txBody>
          <a:bodyPr/>
          <a:lstStyle>
            <a:lvl1pPr>
              <a:defRPr sz="2400" b="1"/>
            </a:lvl1pPr>
          </a:lstStyle>
          <a:p>
            <a:r>
              <a:rPr lang="en-US" dirty="0"/>
              <a:t>Click to edit title</a:t>
            </a:r>
            <a:endParaRPr lang="en-US" dirty="0"/>
          </a:p>
        </p:txBody>
      </p:sp>
      <p:sp>
        <p:nvSpPr>
          <p:cNvPr id="11" name="Text Placeholder 13"/>
          <p:cNvSpPr>
            <a:spLocks noGrp="1"/>
          </p:cNvSpPr>
          <p:nvPr>
            <p:ph type="body" sz="quarter" idx="18" hasCustomPrompt="1"/>
          </p:nvPr>
        </p:nvSpPr>
        <p:spPr>
          <a:xfrm>
            <a:off x="292100" y="1279525"/>
            <a:ext cx="5939888" cy="4882124"/>
          </a:xfrm>
          <a:prstGeom prst="rect">
            <a:avLst/>
          </a:prstGeom>
        </p:spPr>
        <p:txBody>
          <a:bodyPr/>
          <a:lstStyle>
            <a:lvl1pPr marL="0" indent="0">
              <a:buNone/>
              <a:defRPr sz="2000" b="0" baseline="0">
                <a:solidFill>
                  <a:srgbClr val="53565A"/>
                </a:solidFill>
              </a:defRPr>
            </a:lvl1pPr>
          </a:lstStyle>
          <a:p>
            <a:pPr lvl="0"/>
            <a:r>
              <a:rPr lang="en-GB" dirty="0"/>
              <a:t>Click to add summary</a:t>
            </a:r>
            <a:endParaRPr lang="en-GB" dirty="0"/>
          </a:p>
        </p:txBody>
      </p:sp>
      <p:pic>
        <p:nvPicPr>
          <p:cNvPr id="6" name="Picture 5"/>
          <p:cNvPicPr>
            <a:picLocks noChangeAspect="1"/>
          </p:cNvPicPr>
          <p:nvPr userDrawn="1"/>
        </p:nvPicPr>
        <p:blipFill>
          <a:blip r:embed="rId3" cstate="screen"/>
          <a:stretch>
            <a:fillRect/>
          </a:stretch>
        </p:blipFill>
        <p:spPr>
          <a:xfrm>
            <a:off x="7338351" y="6430719"/>
            <a:ext cx="1455103" cy="164286"/>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aptop photo and text">
    <p:spTree>
      <p:nvGrpSpPr>
        <p:cNvPr id="1" name=""/>
        <p:cNvGrpSpPr/>
        <p:nvPr/>
      </p:nvGrpSpPr>
      <p:grpSpPr>
        <a:xfrm>
          <a:off x="0" y="0"/>
          <a:ext cx="0" cy="0"/>
          <a:chOff x="0" y="0"/>
          <a:chExt cx="0" cy="0"/>
        </a:xfrm>
      </p:grpSpPr>
      <p:sp>
        <p:nvSpPr>
          <p:cNvPr id="12" name="Title Placeholder 1"/>
          <p:cNvSpPr>
            <a:spLocks noGrp="1"/>
          </p:cNvSpPr>
          <p:nvPr>
            <p:ph type="title" hasCustomPrompt="1"/>
          </p:nvPr>
        </p:nvSpPr>
        <p:spPr>
          <a:xfrm>
            <a:off x="457199" y="705204"/>
            <a:ext cx="8269613" cy="418645"/>
          </a:xfrm>
          <a:prstGeom prst="rect">
            <a:avLst/>
          </a:prstGeom>
        </p:spPr>
        <p:txBody>
          <a:bodyPr vert="horz" lIns="91440" tIns="45720" rIns="91440" bIns="45720" rtlCol="0" anchor="ctr">
            <a:noAutofit/>
          </a:bodyPr>
          <a:lstStyle>
            <a:lvl1pPr>
              <a:defRPr b="1"/>
            </a:lvl1pPr>
          </a:lstStyle>
          <a:p>
            <a:r>
              <a:rPr lang="en-US" dirty="0"/>
              <a:t>Title of Slide</a:t>
            </a:r>
            <a:endParaRPr lang="en-US" dirty="0"/>
          </a:p>
        </p:txBody>
      </p:sp>
      <p:sp>
        <p:nvSpPr>
          <p:cNvPr id="6"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endParaRPr lang="en-US" dirty="0"/>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t>   |   </a:t>
            </a:r>
            <a:fld id="{DA15E891-66B8-4B28-AB8F-05A4B1DE573C}" type="slidenum">
              <a:rPr lang="en-US" dirty="0" smtClean="0"/>
            </a:fld>
            <a:endParaRPr lang="en-US" dirty="0"/>
          </a:p>
        </p:txBody>
      </p:sp>
      <p:sp>
        <p:nvSpPr>
          <p:cNvPr id="8"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 slide to righ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stretch>
            <a:fillRect/>
          </a:stretch>
        </p:blipFill>
        <p:spPr>
          <a:xfrm>
            <a:off x="4643440" y="1508124"/>
            <a:ext cx="4251321" cy="4890132"/>
          </a:xfrm>
          <a:prstGeom prst="rect">
            <a:avLst/>
          </a:prstGeom>
        </p:spPr>
      </p:pic>
      <p:sp>
        <p:nvSpPr>
          <p:cNvPr id="9" name="Picture Placeholder 8"/>
          <p:cNvSpPr>
            <a:spLocks noGrp="1"/>
          </p:cNvSpPr>
          <p:nvPr>
            <p:ph type="pic" sz="quarter" idx="17"/>
          </p:nvPr>
        </p:nvSpPr>
        <p:spPr>
          <a:xfrm>
            <a:off x="4775200" y="1636711"/>
            <a:ext cx="4000500" cy="4619756"/>
          </a:xfrm>
          <a:prstGeom prst="rect">
            <a:avLst/>
          </a:prstGeom>
        </p:spPr>
        <p:txBody>
          <a:bodyPr/>
          <a:lstStyle/>
          <a:p>
            <a:endParaRPr lang="en-GB" dirty="0"/>
          </a:p>
        </p:txBody>
      </p:sp>
      <p:sp>
        <p:nvSpPr>
          <p:cNvPr id="6"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endParaRPr lang="en-US" dirty="0"/>
          </a:p>
        </p:txBody>
      </p:sp>
      <p:sp>
        <p:nvSpPr>
          <p:cNvPr id="8" name="Content Placeholder 1"/>
          <p:cNvSpPr>
            <a:spLocks noGrp="1"/>
          </p:cNvSpPr>
          <p:nvPr>
            <p:ph idx="1"/>
          </p:nvPr>
        </p:nvSpPr>
        <p:spPr>
          <a:xfrm>
            <a:off x="457199" y="1500110"/>
            <a:ext cx="4012006" cy="4898146"/>
          </a:xfrm>
          <a:prstGeom prst="rect">
            <a:avLst/>
          </a:prstGeo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sp>
        <p:nvSpPr>
          <p:cNvPr id="7" name="Rectangle 6"/>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3" name="Picture 2"/>
          <p:cNvPicPr>
            <a:picLocks noChangeAspect="1"/>
          </p:cNvPicPr>
          <p:nvPr userDrawn="1"/>
        </p:nvPicPr>
        <p:blipFill rotWithShape="1">
          <a:blip r:embed="rId2" cstate="screen"/>
          <a:srcRect/>
          <a:stretch>
            <a:fillRect/>
          </a:stretch>
        </p:blipFill>
        <p:spPr>
          <a:xfrm>
            <a:off x="-17463" y="-8313"/>
            <a:ext cx="6866313" cy="6866313"/>
          </a:xfrm>
          <a:prstGeom prst="rect">
            <a:avLst/>
          </a:prstGeom>
        </p:spPr>
      </p:pic>
      <p:sp>
        <p:nvSpPr>
          <p:cNvPr id="8" name="Rectangle 7"/>
          <p:cNvSpPr/>
          <p:nvPr userDrawn="1"/>
        </p:nvSpPr>
        <p:spPr>
          <a:xfrm>
            <a:off x="-17462" y="2658533"/>
            <a:ext cx="9161462"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14" name="Picture 13"/>
          <p:cNvPicPr/>
          <p:nvPr userDrawn="1"/>
        </p:nvPicPr>
        <p:blipFill>
          <a:blip r:embed="rId2" cstate="screen"/>
          <a:stretch>
            <a:fillRect/>
          </a:stretch>
        </p:blipFill>
        <p:spPr>
          <a:xfrm>
            <a:off x="7444800" y="2658534"/>
            <a:ext cx="1717200" cy="1717200"/>
          </a:xfrm>
          <a:prstGeom prst="rect">
            <a:avLst/>
          </a:prstGeom>
        </p:spPr>
      </p:pic>
      <p:pic>
        <p:nvPicPr>
          <p:cNvPr id="9" name="Picture 13"/>
          <p:cNvPicPr>
            <a:picLocks noChangeAspect="1"/>
          </p:cNvPicPr>
          <p:nvPr userDrawn="1"/>
        </p:nvPicPr>
        <p:blipFill>
          <a:blip r:embed="rId2" cstate="screen"/>
          <a:srcRect/>
          <a:stretch>
            <a:fillRect/>
          </a:stretch>
        </p:blipFill>
        <p:spPr bwMode="auto">
          <a:xfrm>
            <a:off x="7317695" y="6438105"/>
            <a:ext cx="1574800" cy="160338"/>
          </a:xfrm>
          <a:prstGeom prst="rect">
            <a:avLst/>
          </a:prstGeom>
          <a:noFill/>
          <a:ln>
            <a:noFill/>
          </a:ln>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userDrawn="1"/>
        </p:nvPicPr>
        <p:blipFill>
          <a:blip r:embed="rId2" cstate="screen"/>
          <a:srcRect/>
          <a:stretch>
            <a:fillRect/>
          </a:stretch>
        </p:blipFill>
        <p:spPr bwMode="auto">
          <a:xfrm>
            <a:off x="8171266" y="223121"/>
            <a:ext cx="648468" cy="716218"/>
          </a:xfrm>
          <a:prstGeom prst="rect">
            <a:avLst/>
          </a:prstGeom>
          <a:noFill/>
        </p:spPr>
      </p:pic>
      <p:sp>
        <p:nvSpPr>
          <p:cNvPr id="11"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endParaRPr lang="en-GB"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8" name="Picture 24"/>
          <p:cNvPicPr>
            <a:picLocks noChangeAspect="1"/>
          </p:cNvPicPr>
          <p:nvPr userDrawn="1"/>
        </p:nvPicPr>
        <p:blipFill>
          <a:blip r:embed="rId2" cstate="screen"/>
          <a:srcRect/>
          <a:stretch>
            <a:fillRect/>
          </a:stretch>
        </p:blipFill>
        <p:spPr bwMode="auto">
          <a:xfrm>
            <a:off x="6831807" y="1049338"/>
            <a:ext cx="2303462" cy="5094287"/>
          </a:xfrm>
          <a:prstGeom prst="rect">
            <a:avLst/>
          </a:prstGeom>
          <a:noFill/>
          <a:ln>
            <a:noFill/>
          </a:ln>
        </p:spPr>
      </p:pic>
      <p:sp>
        <p:nvSpPr>
          <p:cNvPr id="12" name="Rectangle 11"/>
          <p:cNvSpPr/>
          <p:nvPr userDrawn="1"/>
        </p:nvSpPr>
        <p:spPr>
          <a:xfrm>
            <a:off x="0" y="-8313"/>
            <a:ext cx="9144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userDrawn="1"/>
        </p:nvSpPr>
        <p:spPr>
          <a:xfrm>
            <a:off x="6811961" y="1049338"/>
            <a:ext cx="2368154"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prstClr val="white"/>
              </a:solidFill>
            </a:endParaRPr>
          </a:p>
        </p:txBody>
      </p:sp>
      <p:sp>
        <p:nvSpPr>
          <p:cNvPr id="10" name="Rectangle 9"/>
          <p:cNvSpPr/>
          <p:nvPr userDrawn="1"/>
        </p:nvSpPr>
        <p:spPr>
          <a:xfrm>
            <a:off x="0" y="2658533"/>
            <a:ext cx="9144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sp>
        <p:nvSpPr>
          <p:cNvPr id="13" name="Text Placeholder 21"/>
          <p:cNvSpPr>
            <a:spLocks noGrp="1"/>
          </p:cNvSpPr>
          <p:nvPr>
            <p:ph type="body" sz="quarter" idx="13" hasCustomPrompt="1"/>
          </p:nvPr>
        </p:nvSpPr>
        <p:spPr>
          <a:xfrm>
            <a:off x="300038" y="2768138"/>
            <a:ext cx="6511923"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End slide</a:t>
            </a:r>
            <a:endParaRPr lang="en-GB"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a:t>Click to edit title</a:t>
            </a:r>
            <a:endParaRPr lang="en-US" dirty="0"/>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dirty="0" smtClean="0">
                <a:solidFill>
                  <a:prstClr val="white"/>
                </a:solidFill>
              </a:rPr>
            </a:fld>
            <a:endParaRPr lang="en-US" dirty="0">
              <a:solidFill>
                <a:prstClr val="white"/>
              </a:solidFill>
            </a:endParaRPr>
          </a:p>
        </p:txBody>
      </p:sp>
      <p:sp>
        <p:nvSpPr>
          <p:cNvPr id="13" name="Title Placeholder 1"/>
          <p:cNvSpPr>
            <a:spLocks noGrp="1"/>
          </p:cNvSpPr>
          <p:nvPr>
            <p:ph type="title" hasCustomPrompt="1"/>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endParaRPr lang="en-US" dirty="0"/>
          </a:p>
        </p:txBody>
      </p:sp>
      <p:sp>
        <p:nvSpPr>
          <p:cNvPr id="12"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fld>
            <a:endParaRPr lang="en-US" dirty="0">
              <a:solidFill>
                <a:prstClr val="white"/>
              </a:solidFill>
            </a:endParaRPr>
          </a:p>
        </p:txBody>
      </p:sp>
      <p:sp>
        <p:nvSpPr>
          <p:cNvPr id="13" name="Title Placeholder 1"/>
          <p:cNvSpPr>
            <a:spLocks noGrp="1"/>
          </p:cNvSpPr>
          <p:nvPr>
            <p:ph type="title" hasCustomPrompt="1"/>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endParaRPr lang="en-US" dirty="0"/>
          </a:p>
        </p:txBody>
      </p:sp>
      <p:pic>
        <p:nvPicPr>
          <p:cNvPr id="11" name="Picture 10"/>
          <p:cNvPicPr>
            <a:picLocks noChangeAspect="1"/>
          </p:cNvPicPr>
          <p:nvPr userDrawn="1"/>
        </p:nvPicPr>
        <p:blipFill>
          <a:blip r:embed="rId2" cstate="screen"/>
          <a:stretch>
            <a:fillRect/>
          </a:stretch>
        </p:blipFill>
        <p:spPr>
          <a:xfrm>
            <a:off x="7338351" y="6430719"/>
            <a:ext cx="1455103" cy="164286"/>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endParaRPr lang="en-US" dirty="0"/>
          </a:p>
          <a:p>
            <a:endParaRPr lang="en-US" dirty="0"/>
          </a:p>
        </p:txBody>
      </p:sp>
      <p:sp>
        <p:nvSpPr>
          <p:cNvPr id="8"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fld>
            <a:endParaRPr lang="en-US" dirty="0">
              <a:solidFill>
                <a:prstClr val="white"/>
              </a:solidFill>
            </a:endParaRPr>
          </a:p>
        </p:txBody>
      </p:sp>
      <p:sp>
        <p:nvSpPr>
          <p:cNvPr id="14"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panose="020B0604020202020204"/>
              <a:buNone/>
              <a:defRPr sz="1800">
                <a:solidFill>
                  <a:schemeClr val="accent1"/>
                </a:solidFill>
              </a:defRPr>
            </a:lvl1pPr>
          </a:lstStyle>
          <a:p>
            <a:r>
              <a:rPr lang="en-US" sz="1800" dirty="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panose="020B0604020202020204"/>
                <a:cs typeface="Arial" panose="020B0604020202020204"/>
              </a:defRPr>
            </a:lvl2pPr>
          </a:lstStyle>
          <a:p>
            <a:pPr lvl="0"/>
            <a:r>
              <a:rPr lang="en-US" dirty="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endParaRPr lang="en-US" dirty="0"/>
          </a:p>
        </p:txBody>
      </p:sp>
      <p:pic>
        <p:nvPicPr>
          <p:cNvPr id="11" name="Picture 10"/>
          <p:cNvPicPr>
            <a:picLocks noChangeAspect="1"/>
          </p:cNvPicPr>
          <p:nvPr userDrawn="1"/>
        </p:nvPicPr>
        <p:blipFill>
          <a:blip r:embed="rId2" cstate="screen"/>
          <a:stretch>
            <a:fillRect/>
          </a:stretch>
        </p:blipFill>
        <p:spPr>
          <a:xfrm>
            <a:off x="7338351" y="6430719"/>
            <a:ext cx="1455103" cy="164286"/>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panose="020B0604020202020204"/>
                <a:cs typeface="Arial" panose="020B0604020202020204"/>
              </a:defRPr>
            </a:lvl1pPr>
            <a:lvl2pPr>
              <a:defRPr sz="1800">
                <a:solidFill>
                  <a:srgbClr val="53565A"/>
                </a:solidFill>
                <a:latin typeface="Arial" panose="020B0604020202020204"/>
                <a:cs typeface="Arial" panose="020B0604020202020204"/>
              </a:defRPr>
            </a:lvl2pPr>
            <a:lvl3pPr>
              <a:defRPr sz="1600">
                <a:solidFill>
                  <a:srgbClr val="53565A"/>
                </a:solidFill>
                <a:latin typeface="Arial" panose="020B0604020202020204"/>
                <a:cs typeface="Arial" panose="020B0604020202020204"/>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5"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solidFill>
                  <a:prstClr val="white"/>
                </a:solidFill>
              </a:rPr>
              <a:t>   |   </a:t>
            </a:r>
            <a:fld id="{DA15E891-66B8-4B28-AB8F-05A4B1DE573C}" type="slidenum">
              <a:rPr lang="en-US" smtClean="0">
                <a:solidFill>
                  <a:prstClr val="white"/>
                </a:solidFill>
              </a:rPr>
            </a:fld>
            <a:endParaRPr lang="en-US" dirty="0">
              <a:solidFill>
                <a:prstClr val="white"/>
              </a:solidFill>
            </a:endParaRPr>
          </a:p>
        </p:txBody>
      </p:sp>
      <p:sp>
        <p:nvSpPr>
          <p:cNvPr id="6"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endParaRPr lang="en-US" dirty="0"/>
          </a:p>
        </p:txBody>
      </p:sp>
      <p:pic>
        <p:nvPicPr>
          <p:cNvPr id="9" name="Picture 8"/>
          <p:cNvPicPr>
            <a:picLocks noChangeAspect="1"/>
          </p:cNvPicPr>
          <p:nvPr userDrawn="1"/>
        </p:nvPicPr>
        <p:blipFill>
          <a:blip r:embed="rId2" cstate="screen"/>
          <a:stretch>
            <a:fillRect/>
          </a:stretch>
        </p:blipFill>
        <p:spPr>
          <a:xfrm>
            <a:off x="7338351" y="6430719"/>
            <a:ext cx="1455103" cy="164286"/>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endParaRPr lang="en-US" dirty="0"/>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dirty="0" smtClean="0">
                <a:solidFill>
                  <a:prstClr val="white"/>
                </a:solidFill>
              </a:rPr>
            </a:fld>
            <a:endParaRPr lang="en-US" dirty="0">
              <a:solidFill>
                <a:prstClr val="white"/>
              </a:solidFill>
            </a:endParaRPr>
          </a:p>
        </p:txBody>
      </p:sp>
      <p:sp>
        <p:nvSpPr>
          <p:cNvPr id="8"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endParaRPr lang="en-US" dirty="0"/>
          </a:p>
        </p:txBody>
      </p:sp>
      <p:pic>
        <p:nvPicPr>
          <p:cNvPr id="11" name="Picture 10"/>
          <p:cNvPicPr>
            <a:picLocks noChangeAspect="1"/>
          </p:cNvPicPr>
          <p:nvPr userDrawn="1"/>
        </p:nvPicPr>
        <p:blipFill>
          <a:blip r:embed="rId2" cstate="screen"/>
          <a:stretch>
            <a:fillRect/>
          </a:stretch>
        </p:blipFill>
        <p:spPr>
          <a:xfrm>
            <a:off x="7338351" y="6430719"/>
            <a:ext cx="1455103" cy="164286"/>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7" name="Picture 6" descr="Illust_Section_1.png"/>
          <p:cNvPicPr>
            <a:picLocks noChangeAspect="1"/>
          </p:cNvPicPr>
          <p:nvPr userDrawn="1"/>
        </p:nvPicPr>
        <p:blipFill>
          <a:blip r:embed="rId2"/>
          <a:stretch>
            <a:fillRect/>
          </a:stretch>
        </p:blipFill>
        <p:spPr>
          <a:xfrm>
            <a:off x="0" y="-1"/>
            <a:ext cx="4754822" cy="6886211"/>
          </a:xfrm>
          <a:prstGeom prst="rect">
            <a:avLst/>
          </a:prstGeom>
        </p:spPr>
      </p:pic>
      <p:pic>
        <p:nvPicPr>
          <p:cNvPr id="6" name="Picture 5" descr="Elsevier_Tree_Logo_2C.png"/>
          <p:cNvPicPr>
            <a:picLocks noChangeAspect="1"/>
          </p:cNvPicPr>
          <p:nvPr userDrawn="1"/>
        </p:nvPicPr>
        <p:blipFill>
          <a:blip r:embed="rId2"/>
          <a:stretch>
            <a:fillRect/>
          </a:stretch>
        </p:blipFill>
        <p:spPr>
          <a:xfrm>
            <a:off x="8104655" y="359801"/>
            <a:ext cx="688802" cy="798523"/>
          </a:xfrm>
          <a:prstGeom prst="rect">
            <a:avLst/>
          </a:prstGeom>
        </p:spPr>
      </p:pic>
      <p:sp>
        <p:nvSpPr>
          <p:cNvPr id="3" name="Text Placeholder 2"/>
          <p:cNvSpPr>
            <a:spLocks noGrp="1"/>
          </p:cNvSpPr>
          <p:nvPr>
            <p:ph type="body" sz="quarter" idx="10" hasCustomPrompt="1"/>
          </p:nvPr>
        </p:nvSpPr>
        <p:spPr>
          <a:xfrm>
            <a:off x="5105400" y="2600326"/>
            <a:ext cx="3687763" cy="1929954"/>
          </a:xfrm>
          <a:prstGeom prst="rect">
            <a:avLst/>
          </a:prstGeom>
        </p:spPr>
        <p:txBody>
          <a:bodyPr vert="horz" anchor="ctr"/>
          <a:lstStyle>
            <a:lvl1pPr marL="0" indent="0">
              <a:buNone/>
              <a:defRPr sz="3200" baseline="0"/>
            </a:lvl1pPr>
          </a:lstStyle>
          <a:p>
            <a:r>
              <a:rPr lang="en-US" sz="3600" dirty="0">
                <a:solidFill>
                  <a:schemeClr val="tx1"/>
                </a:solidFill>
              </a:rPr>
              <a:t>Section Title And Multiple Lines If</a:t>
            </a:r>
            <a:r>
              <a:rPr lang="en-US" sz="3600" baseline="0" dirty="0">
                <a:solidFill>
                  <a:schemeClr val="tx1"/>
                </a:solidFill>
              </a:rPr>
              <a:t> Necessary</a:t>
            </a:r>
            <a:endParaRPr lang="en-US" sz="3600" dirty="0">
              <a:solidFill>
                <a:schemeClr val="tx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7" name="Picture 6"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60616" cy="6870462"/>
          </a:xfrm>
          <a:prstGeom prst="rect">
            <a:avLst/>
          </a:prstGeom>
        </p:spPr>
      </p:pic>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1"/>
                </a:solidFill>
              </a:defRPr>
            </a:lvl1pPr>
          </a:lstStyle>
          <a:p>
            <a:r>
              <a:rPr lang="en-US" dirty="0"/>
              <a:t>Cover Slide Title and Multiple Lines If Necessary</a:t>
            </a:r>
            <a:endParaRPr lang="en-US" dirty="0"/>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panose="020B0604020202020204"/>
                <a:cs typeface="Arial" panose="020B0604020202020204"/>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endParaRPr lang="en-US" dirty="0"/>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9"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5"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cSld name="Body Content slide">
    <p:spTree>
      <p:nvGrpSpPr>
        <p:cNvPr id="1" name=""/>
        <p:cNvGrpSpPr/>
        <p:nvPr/>
      </p:nvGrpSpPr>
      <p:grpSpPr>
        <a:xfrm>
          <a:off x="0" y="0"/>
          <a:ext cx="0" cy="0"/>
          <a:chOff x="0" y="0"/>
          <a:chExt cx="0" cy="0"/>
        </a:xfrm>
      </p:grpSpPr>
      <p:sp>
        <p:nvSpPr>
          <p:cNvPr id="6" name="Title 11"/>
          <p:cNvSpPr>
            <a:spLocks noGrp="1"/>
          </p:cNvSpPr>
          <p:nvPr>
            <p:ph type="title" hasCustomPrompt="1"/>
          </p:nvPr>
        </p:nvSpPr>
        <p:spPr>
          <a:xfrm>
            <a:off x="425885" y="497304"/>
            <a:ext cx="7678455" cy="593559"/>
          </a:xfrm>
          <a:prstGeom prst="rect">
            <a:avLst/>
          </a:prstGeom>
        </p:spPr>
        <p:txBody>
          <a:bodyPr/>
          <a:lstStyle>
            <a:lvl1pPr>
              <a:defRPr sz="2400" b="1"/>
            </a:lvl1pPr>
          </a:lstStyle>
          <a:p>
            <a:r>
              <a:rPr lang="en-US" dirty="0"/>
              <a:t>Click to edit title</a:t>
            </a:r>
            <a:endParaRPr lang="en-US" dirty="0"/>
          </a:p>
        </p:txBody>
      </p:sp>
      <p:sp>
        <p:nvSpPr>
          <p:cNvPr id="3" name="Text Placeholder 2"/>
          <p:cNvSpPr>
            <a:spLocks noGrp="1"/>
          </p:cNvSpPr>
          <p:nvPr>
            <p:ph type="body" sz="quarter" idx="12"/>
          </p:nvPr>
        </p:nvSpPr>
        <p:spPr>
          <a:xfrm>
            <a:off x="425885" y="1271848"/>
            <a:ext cx="7678455" cy="4729942"/>
          </a:xfrm>
          <a:prstGeom prst="rect">
            <a:avLst/>
          </a:prstGeom>
        </p:spPr>
        <p:txBody>
          <a:bodyPr/>
          <a:lstStyle>
            <a:lvl1pPr>
              <a:defRPr b="0">
                <a:solidFill>
                  <a:schemeClr val="accent2"/>
                </a:solidFill>
              </a:defRPr>
            </a:lvl1pPr>
            <a:lvl2pPr>
              <a:defRPr>
                <a:solidFill>
                  <a:schemeClr val="accent2"/>
                </a:solidFill>
              </a:defRPr>
            </a:lvl2pPr>
            <a:lvl3pPr>
              <a:defRPr>
                <a:solidFill>
                  <a:schemeClr val="accent2"/>
                </a:solidFill>
              </a:defRPr>
            </a:lvl3pPr>
            <a:lvl4pPr>
              <a:defRPr sz="1600">
                <a:solidFill>
                  <a:schemeClr val="accent2"/>
                </a:solidFill>
                <a:latin typeface="Arial" panose="020B0604020202020204" pitchFamily="34" charset="0"/>
                <a:cs typeface="Arial" panose="020B0604020202020204" pitchFamily="34" charset="0"/>
              </a:defRPr>
            </a:lvl4pPr>
            <a:lvl5pPr>
              <a:defRPr sz="1600">
                <a:solidFill>
                  <a:schemeClr val="accent2"/>
                </a:solidFill>
                <a:latin typeface="Arial" panose="020B0604020202020204" pitchFamily="34" charset="0"/>
                <a:cs typeface="Arial" panose="020B0604020202020204" pitchFamily="34" charset="0"/>
              </a:defRPr>
            </a:lvl5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p:txBody>
      </p:sp>
    </p:spTree>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dirty="0" smtClean="0">
                <a:solidFill>
                  <a:prstClr val="white"/>
                </a:solidFill>
              </a:rPr>
            </a:fld>
            <a:endParaRPr lang="en-US" dirty="0">
              <a:solidFill>
                <a:prstClr val="white"/>
              </a:solidFill>
            </a:endParaRPr>
          </a:p>
        </p:txBody>
      </p:sp>
      <p:sp>
        <p:nvSpPr>
          <p:cNvPr id="13" name="Title Placeholder 1"/>
          <p:cNvSpPr>
            <a:spLocks noGrp="1"/>
          </p:cNvSpPr>
          <p:nvPr>
            <p:ph type="title" hasCustomPrompt="1"/>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endParaRPr lang="en-US" dirty="0"/>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endParaRPr lang="en-US" dirty="0"/>
          </a:p>
        </p:txBody>
      </p:sp>
      <p:sp>
        <p:nvSpPr>
          <p:cNvPr id="12"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dirty="0" smtClean="0">
                <a:solidFill>
                  <a:prstClr val="white"/>
                </a:solidFill>
              </a:rPr>
            </a:fld>
            <a:endParaRPr lang="en-US" dirty="0">
              <a:solidFill>
                <a:prstClr val="white"/>
              </a:solidFill>
            </a:endParaRPr>
          </a:p>
        </p:txBody>
      </p:sp>
      <p:sp>
        <p:nvSpPr>
          <p:cNvPr id="13" name="Title Placeholder 1"/>
          <p:cNvSpPr>
            <a:spLocks noGrp="1"/>
          </p:cNvSpPr>
          <p:nvPr>
            <p:ph type="title" hasCustomPrompt="1"/>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endParaRPr lang="en-US" dirty="0"/>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endParaRPr lang="en-US" dirty="0"/>
          </a:p>
          <a:p>
            <a:endParaRPr lang="en-US" dirty="0"/>
          </a:p>
        </p:txBody>
      </p:sp>
      <p:sp>
        <p:nvSpPr>
          <p:cNvPr id="8"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dirty="0" smtClean="0">
                <a:solidFill>
                  <a:prstClr val="white"/>
                </a:solidFill>
              </a:rPr>
            </a:fld>
            <a:endParaRPr lang="en-US" dirty="0">
              <a:solidFill>
                <a:prstClr val="white"/>
              </a:solidFill>
            </a:endParaRPr>
          </a:p>
        </p:txBody>
      </p:sp>
      <p:sp>
        <p:nvSpPr>
          <p:cNvPr id="14"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panose="020B0604020202020204"/>
              <a:buNone/>
              <a:defRPr sz="1800">
                <a:solidFill>
                  <a:schemeClr val="accent1"/>
                </a:solidFill>
              </a:defRPr>
            </a:lvl1pPr>
          </a:lstStyle>
          <a:p>
            <a:r>
              <a:rPr lang="en-US" sz="1800" dirty="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panose="020B0604020202020204"/>
                <a:cs typeface="Arial" panose="020B0604020202020204"/>
              </a:defRPr>
            </a:lvl2pPr>
          </a:lstStyle>
          <a:p>
            <a:pPr lvl="0"/>
            <a:r>
              <a:rPr lang="en-US" dirty="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endParaRPr lang="en-US" dirty="0"/>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panose="020B0604020202020204"/>
                <a:cs typeface="Arial" panose="020B0604020202020204"/>
              </a:defRPr>
            </a:lvl1pPr>
            <a:lvl2pPr>
              <a:defRPr sz="1800">
                <a:solidFill>
                  <a:srgbClr val="53565A"/>
                </a:solidFill>
                <a:latin typeface="Arial" panose="020B0604020202020204"/>
                <a:cs typeface="Arial" panose="020B0604020202020204"/>
              </a:defRPr>
            </a:lvl2pPr>
            <a:lvl3pPr>
              <a:defRPr sz="1600">
                <a:solidFill>
                  <a:srgbClr val="53565A"/>
                </a:solidFill>
                <a:latin typeface="Arial" panose="020B0604020202020204"/>
                <a:cs typeface="Arial" panose="020B0604020202020204"/>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5"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dirty="0" smtClean="0">
                <a:solidFill>
                  <a:prstClr val="white"/>
                </a:solidFill>
              </a:rPr>
            </a:fld>
            <a:endParaRPr lang="en-US" dirty="0">
              <a:solidFill>
                <a:prstClr val="white"/>
              </a:solidFill>
            </a:endParaRPr>
          </a:p>
        </p:txBody>
      </p:sp>
      <p:sp>
        <p:nvSpPr>
          <p:cNvPr id="6"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endParaRPr lang="en-US" dirty="0"/>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endParaRPr lang="en-US" dirty="0"/>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dirty="0" smtClean="0">
                <a:solidFill>
                  <a:prstClr val="white"/>
                </a:solidFill>
              </a:rPr>
            </a:fld>
            <a:endParaRPr lang="en-US" dirty="0">
              <a:solidFill>
                <a:prstClr val="white"/>
              </a:solidFill>
            </a:endParaRPr>
          </a:p>
        </p:txBody>
      </p:sp>
      <p:sp>
        <p:nvSpPr>
          <p:cNvPr id="8"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endParaRPr lang="en-US" dirty="0"/>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6" name="Content Placeholder 1"/>
          <p:cNvSpPr>
            <a:spLocks noGrp="1"/>
          </p:cNvSpPr>
          <p:nvPr>
            <p:ph idx="1"/>
          </p:nvPr>
        </p:nvSpPr>
        <p:spPr>
          <a:xfrm>
            <a:off x="458851" y="3688074"/>
            <a:ext cx="2570262" cy="2381549"/>
          </a:xfrm>
        </p:spPr>
        <p:txBody>
          <a:bodyPr/>
          <a:lstStyle/>
          <a:p>
            <a:endParaRPr lang="en-US" dirty="0"/>
          </a:p>
        </p:txBody>
      </p:sp>
      <p:sp>
        <p:nvSpPr>
          <p:cNvPr id="17" name="Picture Placeholder 4"/>
          <p:cNvSpPr>
            <a:spLocks noGrp="1"/>
          </p:cNvSpPr>
          <p:nvPr>
            <p:ph type="pic" sz="quarter" idx="11"/>
          </p:nvPr>
        </p:nvSpPr>
        <p:spPr>
          <a:xfrm>
            <a:off x="458851" y="1500110"/>
            <a:ext cx="2570260" cy="2041724"/>
          </a:xfrm>
        </p:spPr>
      </p:sp>
      <p:sp>
        <p:nvSpPr>
          <p:cNvPr id="18" name="Picture Placeholder 5"/>
          <p:cNvSpPr>
            <a:spLocks noGrp="1"/>
          </p:cNvSpPr>
          <p:nvPr>
            <p:ph type="pic" sz="quarter" idx="12"/>
          </p:nvPr>
        </p:nvSpPr>
        <p:spPr>
          <a:xfrm>
            <a:off x="3248072" y="1500110"/>
            <a:ext cx="2645627" cy="2041724"/>
          </a:xfrm>
        </p:spPr>
      </p:sp>
      <p:sp>
        <p:nvSpPr>
          <p:cNvPr id="19" name="Picture Placeholder 6"/>
          <p:cNvSpPr>
            <a:spLocks noGrp="1"/>
          </p:cNvSpPr>
          <p:nvPr>
            <p:ph type="pic" sz="quarter" idx="13"/>
          </p:nvPr>
        </p:nvSpPr>
        <p:spPr>
          <a:xfrm>
            <a:off x="6128074" y="1500109"/>
            <a:ext cx="2570260" cy="2041724"/>
          </a:xfrm>
        </p:spPr>
      </p:sp>
      <p:sp>
        <p:nvSpPr>
          <p:cNvPr id="20" name="Content Placeholder 7"/>
          <p:cNvSpPr>
            <a:spLocks noGrp="1"/>
          </p:cNvSpPr>
          <p:nvPr>
            <p:ph idx="14"/>
          </p:nvPr>
        </p:nvSpPr>
        <p:spPr>
          <a:xfrm>
            <a:off x="3265312" y="3688074"/>
            <a:ext cx="2628388" cy="2381549"/>
          </a:xfrm>
        </p:spPr>
        <p:txBody>
          <a:bodyPr/>
          <a:lstStyle/>
          <a:p>
            <a:endParaRPr lang="en-US" dirty="0"/>
          </a:p>
        </p:txBody>
      </p:sp>
      <p:sp>
        <p:nvSpPr>
          <p:cNvPr id="21" name="Content Placeholder 8"/>
          <p:cNvSpPr>
            <a:spLocks noGrp="1"/>
          </p:cNvSpPr>
          <p:nvPr>
            <p:ph idx="15"/>
          </p:nvPr>
        </p:nvSpPr>
        <p:spPr>
          <a:xfrm>
            <a:off x="6128074" y="3688074"/>
            <a:ext cx="2570262" cy="2381549"/>
          </a:xfrm>
        </p:spPr>
        <p:txBody>
          <a:bodyPr/>
          <a:lstStyle/>
          <a:p>
            <a:endParaRPr lang="en-US" dirty="0"/>
          </a:p>
        </p:txBody>
      </p:sp>
      <p:sp>
        <p:nvSpPr>
          <p:cNvPr id="12"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dirty="0" smtClean="0">
                <a:solidFill>
                  <a:prstClr val="white"/>
                </a:solidFill>
              </a:rPr>
            </a:fld>
            <a:endParaRPr lang="en-US" dirty="0">
              <a:solidFill>
                <a:prstClr val="white"/>
              </a:solidFill>
            </a:endParaRPr>
          </a:p>
        </p:txBody>
      </p:sp>
      <p:sp>
        <p:nvSpPr>
          <p:cNvPr id="13" name="Title Placeholder 1"/>
          <p:cNvSpPr>
            <a:spLocks noGrp="1"/>
          </p:cNvSpPr>
          <p:nvPr>
            <p:ph type="title" hasCustomPrompt="1"/>
          </p:nvPr>
        </p:nvSpPr>
        <p:spPr>
          <a:xfrm>
            <a:off x="457199" y="705204"/>
            <a:ext cx="8241135" cy="418645"/>
          </a:xfrm>
          <a:prstGeom prst="rect">
            <a:avLst/>
          </a:prstGeom>
        </p:spPr>
        <p:txBody>
          <a:bodyPr vert="horz" lIns="91440" tIns="45720" rIns="91440" bIns="45720" rtlCol="0" anchor="ctr">
            <a:noAutofit/>
          </a:bodyPr>
          <a:lstStyle>
            <a:lvl1pPr>
              <a:defRPr b="0"/>
            </a:lvl1pPr>
          </a:lstStyle>
          <a:p>
            <a:r>
              <a:rPr lang="en-US" dirty="0"/>
              <a:t>Title of Slide</a:t>
            </a:r>
            <a:endParaRPr lang="en-US" dirty="0"/>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9" y="1500110"/>
            <a:ext cx="4012006" cy="4898146"/>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endParaRPr lang="en-US" dirty="0"/>
          </a:p>
        </p:txBody>
      </p:sp>
      <p:sp>
        <p:nvSpPr>
          <p:cNvPr id="8" name="Content Placeholder 4"/>
          <p:cNvSpPr>
            <a:spLocks noGrp="1"/>
          </p:cNvSpPr>
          <p:nvPr>
            <p:ph idx="11"/>
          </p:nvPr>
        </p:nvSpPr>
        <p:spPr>
          <a:xfrm>
            <a:off x="4698217" y="1500110"/>
            <a:ext cx="4028595" cy="4898146"/>
          </a:xfrm>
        </p:spPr>
        <p:txBody>
          <a:bodyPr/>
          <a:lstStyle>
            <a:lvl1pPr>
              <a:defRPr>
                <a:solidFill>
                  <a:srgbClr val="53565A"/>
                </a:solidFill>
                <a:latin typeface="Arial" panose="020B0604020202020204"/>
                <a:cs typeface="Arial" panose="020B0604020202020204"/>
              </a:defRPr>
            </a:lvl1pPr>
            <a:lvl2pPr>
              <a:defRPr>
                <a:solidFill>
                  <a:srgbClr val="53565A"/>
                </a:solidFill>
                <a:latin typeface="Arial" panose="020B0604020202020204"/>
                <a:cs typeface="Arial" panose="020B0604020202020204"/>
              </a:defRPr>
            </a:lvl2pPr>
            <a:lvl3pPr>
              <a:defRPr>
                <a:solidFill>
                  <a:srgbClr val="53565A"/>
                </a:solidFill>
                <a:latin typeface="Arial" panose="020B0604020202020204"/>
                <a:cs typeface="Arial" panose="020B0604020202020204"/>
              </a:defRPr>
            </a:lvl3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endParaRPr lang="en-US" dirty="0"/>
          </a:p>
        </p:txBody>
      </p:sp>
      <p:sp>
        <p:nvSpPr>
          <p:cNvPr id="12"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dirty="0" smtClean="0">
                <a:solidFill>
                  <a:prstClr val="white"/>
                </a:solidFill>
              </a:rPr>
            </a:fld>
            <a:endParaRPr lang="en-US" dirty="0">
              <a:solidFill>
                <a:prstClr val="white"/>
              </a:solidFill>
            </a:endParaRPr>
          </a:p>
        </p:txBody>
      </p:sp>
      <p:sp>
        <p:nvSpPr>
          <p:cNvPr id="13" name="Title Placeholder 1"/>
          <p:cNvSpPr>
            <a:spLocks noGrp="1"/>
          </p:cNvSpPr>
          <p:nvPr>
            <p:ph type="title" hasCustomPrompt="1"/>
          </p:nvPr>
        </p:nvSpPr>
        <p:spPr>
          <a:xfrm>
            <a:off x="457199" y="705204"/>
            <a:ext cx="8269613" cy="418645"/>
          </a:xfrm>
          <a:prstGeom prst="rect">
            <a:avLst/>
          </a:prstGeom>
        </p:spPr>
        <p:txBody>
          <a:bodyPr vert="horz" lIns="91440" tIns="45720" rIns="91440" bIns="45720" rtlCol="0" anchor="ctr">
            <a:noAutofit/>
          </a:bodyPr>
          <a:lstStyle>
            <a:lvl1pPr>
              <a:defRPr b="0"/>
            </a:lvl1pPr>
          </a:lstStyle>
          <a:p>
            <a:r>
              <a:rPr lang="en-US" dirty="0"/>
              <a:t>Title of Slide</a:t>
            </a:r>
            <a:endParaRPr lang="en-US" dirty="0"/>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7" name="Content Placeholder 1"/>
          <p:cNvSpPr>
            <a:spLocks noGrp="1"/>
          </p:cNvSpPr>
          <p:nvPr>
            <p:ph idx="1"/>
          </p:nvPr>
        </p:nvSpPr>
        <p:spPr>
          <a:xfrm>
            <a:off x="457198" y="1943072"/>
            <a:ext cx="8238320" cy="3765589"/>
          </a:xfrm>
        </p:spPr>
        <p:txBody>
          <a:bodyPr/>
          <a:lstStyle>
            <a:lvl1pPr marL="0" indent="0">
              <a:buNone/>
              <a:defRPr>
                <a:solidFill>
                  <a:srgbClr val="53565A"/>
                </a:solidFill>
              </a:defRPr>
            </a:lvl1pPr>
          </a:lstStyle>
          <a:p>
            <a:pPr lvl="0"/>
            <a:r>
              <a:rPr lang="en-US" dirty="0"/>
              <a:t>Click to edit Master text styles</a:t>
            </a:r>
            <a:endParaRPr lang="en-US" dirty="0"/>
          </a:p>
          <a:p>
            <a:endParaRPr lang="en-US" dirty="0"/>
          </a:p>
        </p:txBody>
      </p:sp>
      <p:sp>
        <p:nvSpPr>
          <p:cNvPr id="8"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dirty="0" smtClean="0">
                <a:solidFill>
                  <a:prstClr val="white"/>
                </a:solidFill>
              </a:rPr>
            </a:fld>
            <a:endParaRPr lang="en-US" dirty="0">
              <a:solidFill>
                <a:prstClr val="white"/>
              </a:solidFill>
            </a:endParaRPr>
          </a:p>
        </p:txBody>
      </p:sp>
      <p:sp>
        <p:nvSpPr>
          <p:cNvPr id="14"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solidFill>
                  <a:schemeClr val="accent1"/>
                </a:solidFill>
              </a:defRPr>
            </a:lvl1pPr>
          </a:lstStyle>
          <a:p>
            <a:r>
              <a:rPr lang="en-US" dirty="0"/>
              <a:t>Title of Slide</a:t>
            </a:r>
            <a:endParaRPr lang="en-US" dirty="0"/>
          </a:p>
        </p:txBody>
      </p:sp>
      <p:sp>
        <p:nvSpPr>
          <p:cNvPr id="5" name="Text Placeholder 4"/>
          <p:cNvSpPr>
            <a:spLocks noGrp="1"/>
          </p:cNvSpPr>
          <p:nvPr>
            <p:ph type="body" sz="quarter" idx="10" hasCustomPrompt="1"/>
          </p:nvPr>
        </p:nvSpPr>
        <p:spPr>
          <a:xfrm>
            <a:off x="457200" y="1241714"/>
            <a:ext cx="8238318" cy="350590"/>
          </a:xfrm>
        </p:spPr>
        <p:txBody>
          <a:bodyPr/>
          <a:lstStyle>
            <a:lvl1pPr marL="0" marR="0" indent="0" algn="l" defTabSz="457200" rtl="0" eaLnBrk="1" fontAlgn="auto" latinLnBrk="0" hangingPunct="1">
              <a:lnSpc>
                <a:spcPct val="100000"/>
              </a:lnSpc>
              <a:spcBef>
                <a:spcPct val="20000"/>
              </a:spcBef>
              <a:spcAft>
                <a:spcPts val="0"/>
              </a:spcAft>
              <a:buClrTx/>
              <a:buSzTx/>
              <a:buFont typeface="Arial" panose="020B0604020202020204"/>
              <a:buNone/>
              <a:defRPr sz="1800">
                <a:solidFill>
                  <a:schemeClr val="accent1"/>
                </a:solidFill>
              </a:defRPr>
            </a:lvl1pPr>
          </a:lstStyle>
          <a:p>
            <a:r>
              <a:rPr lang="en-US" sz="1800" dirty="0"/>
              <a:t>Subtitle of Slide</a:t>
            </a:r>
            <a:endParaRPr lang="en-US" sz="1800" dirty="0"/>
          </a:p>
        </p:txBody>
      </p:sp>
      <p:sp>
        <p:nvSpPr>
          <p:cNvPr id="9" name="Text Placeholder 8"/>
          <p:cNvSpPr>
            <a:spLocks noGrp="1"/>
          </p:cNvSpPr>
          <p:nvPr>
            <p:ph type="body" sz="quarter" idx="11" hasCustomPrompt="1"/>
          </p:nvPr>
        </p:nvSpPr>
        <p:spPr>
          <a:xfrm>
            <a:off x="457198" y="5794654"/>
            <a:ext cx="8238320" cy="370435"/>
          </a:xfrm>
        </p:spPr>
        <p:txBody>
          <a:bodyPr>
            <a:normAutofit/>
          </a:bodyPr>
          <a:lstStyle>
            <a:lvl1pPr marL="0" indent="0">
              <a:buNone/>
              <a:defRPr sz="1300">
                <a:solidFill>
                  <a:srgbClr val="A7A8AA"/>
                </a:solidFill>
              </a:defRPr>
            </a:lvl1pPr>
            <a:lvl2pPr marL="457200" indent="0">
              <a:buNone/>
              <a:defRPr sz="1600">
                <a:latin typeface="Arial" panose="020B0604020202020204"/>
                <a:cs typeface="Arial" panose="020B0604020202020204"/>
              </a:defRPr>
            </a:lvl2pPr>
          </a:lstStyle>
          <a:p>
            <a:pPr lvl="0"/>
            <a:r>
              <a:rPr lang="en-US" dirty="0"/>
              <a:t>Author Name</a:t>
            </a:r>
            <a:endParaRPr lang="en-US" dirty="0"/>
          </a:p>
        </p:txBody>
      </p:sp>
      <p:sp>
        <p:nvSpPr>
          <p:cNvPr id="18" name="Text Placeholder 17"/>
          <p:cNvSpPr>
            <a:spLocks noGrp="1"/>
          </p:cNvSpPr>
          <p:nvPr>
            <p:ph type="body" sz="quarter" idx="12" hasCustomPrompt="1"/>
          </p:nvPr>
        </p:nvSpPr>
        <p:spPr>
          <a:xfrm>
            <a:off x="457198" y="6165090"/>
            <a:ext cx="8238318" cy="357432"/>
          </a:xfrm>
        </p:spPr>
        <p:txBody>
          <a:bodyPr>
            <a:normAutofit/>
          </a:bodyPr>
          <a:lstStyle>
            <a:lvl1pPr marL="0" indent="0">
              <a:buNone/>
              <a:defRPr sz="1300">
                <a:solidFill>
                  <a:srgbClr val="A7A8AA"/>
                </a:solidFill>
              </a:defRPr>
            </a:lvl1pPr>
          </a:lstStyle>
          <a:p>
            <a:pPr lvl="0"/>
            <a:r>
              <a:rPr lang="en-US" dirty="0"/>
              <a:t>Click to edit text</a:t>
            </a:r>
            <a:endParaRPr lang="en-US" dirty="0"/>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500110"/>
            <a:ext cx="8238318" cy="4898146"/>
          </a:xfrm>
          <a:prstGeom prst="rect">
            <a:avLst/>
          </a:prstGeom>
        </p:spPr>
        <p:txBody>
          <a:bodyPr/>
          <a:lstStyle>
            <a:lvl1pPr>
              <a:defRPr sz="2000">
                <a:solidFill>
                  <a:srgbClr val="53565A"/>
                </a:solidFill>
                <a:latin typeface="Arial" panose="020B0604020202020204"/>
                <a:cs typeface="Arial" panose="020B0604020202020204"/>
              </a:defRPr>
            </a:lvl1pPr>
            <a:lvl2pPr>
              <a:defRPr sz="1800">
                <a:solidFill>
                  <a:srgbClr val="53565A"/>
                </a:solidFill>
                <a:latin typeface="Arial" panose="020B0604020202020204"/>
                <a:cs typeface="Arial" panose="020B0604020202020204"/>
              </a:defRPr>
            </a:lvl2pPr>
            <a:lvl3pPr>
              <a:defRPr sz="1600">
                <a:solidFill>
                  <a:srgbClr val="53565A"/>
                </a:solidFill>
                <a:latin typeface="Arial" panose="020B0604020202020204"/>
                <a:cs typeface="Arial" panose="020B0604020202020204"/>
              </a:defRPr>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p:txBody>
      </p:sp>
      <p:sp>
        <p:nvSpPr>
          <p:cNvPr id="5"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dirty="0" smtClean="0">
                <a:solidFill>
                  <a:prstClr val="white"/>
                </a:solidFill>
              </a:rPr>
            </a:fld>
            <a:endParaRPr lang="en-US" dirty="0">
              <a:solidFill>
                <a:prstClr val="white"/>
              </a:solidFill>
            </a:endParaRPr>
          </a:p>
        </p:txBody>
      </p:sp>
      <p:sp>
        <p:nvSpPr>
          <p:cNvPr id="6"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12" name="Picture 11" descr="140324_el_ppt_layout_illust.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659"/>
            <a:ext cx="9144000" cy="6870462"/>
          </a:xfrm>
          <a:prstGeom prst="rect">
            <a:avLst/>
          </a:prstGeom>
        </p:spPr>
      </p:pic>
      <p:sp>
        <p:nvSpPr>
          <p:cNvPr id="14" name="Picture Placeholder 2"/>
          <p:cNvSpPr>
            <a:spLocks noGrp="1"/>
          </p:cNvSpPr>
          <p:nvPr>
            <p:ph type="pic" idx="12" hasCustomPrompt="1"/>
          </p:nvPr>
        </p:nvSpPr>
        <p:spPr>
          <a:xfrm>
            <a:off x="4822825" y="5551714"/>
            <a:ext cx="3912178" cy="49447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endParaRPr lang="en-US" dirty="0"/>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endParaRPr lang="en-US" dirty="0"/>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53565A"/>
                </a:solidFill>
                <a:latin typeface="Arial" panose="020B0604020202020204"/>
                <a:cs typeface="Arial" panose="020B0604020202020204"/>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 and Multiple Lines If Necessary</a:t>
            </a:r>
            <a:endParaRPr lang="en-US" dirty="0"/>
          </a:p>
        </p:txBody>
      </p:sp>
      <p:pic>
        <p:nvPicPr>
          <p:cNvPr id="10" name="Picture 9" descr="Elsevier_Tree_Logo_2C.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15"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16"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457198" y="5683662"/>
            <a:ext cx="8238320" cy="714593"/>
          </a:xfrm>
          <a:prstGeom prst="rect">
            <a:avLst/>
          </a:prstGeom>
        </p:spPr>
        <p:txBody>
          <a:bodyPr/>
          <a:lstStyle>
            <a:lvl1pPr>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endParaRPr lang="en-US" dirty="0"/>
          </a:p>
        </p:txBody>
      </p:sp>
      <p:sp>
        <p:nvSpPr>
          <p:cNvPr id="12" name="Picture Placeholder 2"/>
          <p:cNvSpPr>
            <a:spLocks noGrp="1"/>
          </p:cNvSpPr>
          <p:nvPr>
            <p:ph type="pic" idx="1" hasCustomPrompt="1"/>
          </p:nvPr>
        </p:nvSpPr>
        <p:spPr>
          <a:xfrm>
            <a:off x="457198" y="1500110"/>
            <a:ext cx="8238320" cy="3878033"/>
          </a:xfrm>
          <a:prstGeom prst="rect">
            <a:avLst/>
          </a:prstGeom>
        </p:spPr>
        <p:txBody>
          <a:bodyPr>
            <a:normAutofit/>
          </a:bodyPr>
          <a:lstStyle>
            <a:lvl1pPr marL="0" indent="0" algn="ctr">
              <a:buNone/>
              <a:defRPr sz="24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icture here</a:t>
            </a:r>
            <a:endParaRPr lang="en-US" dirty="0"/>
          </a:p>
        </p:txBody>
      </p:sp>
      <p:sp>
        <p:nvSpPr>
          <p:cNvPr id="7" name="Slide Number Placeholder 7"/>
          <p:cNvSpPr>
            <a:spLocks noGrp="1"/>
          </p:cNvSpPr>
          <p:nvPr>
            <p:ph type="sldNum" sz="quarter" idx="10"/>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dirty="0" smtClean="0">
                <a:solidFill>
                  <a:prstClr val="white"/>
                </a:solidFill>
              </a:rPr>
            </a:fld>
            <a:endParaRPr lang="en-US" dirty="0">
              <a:solidFill>
                <a:prstClr val="white"/>
              </a:solidFill>
            </a:endParaRPr>
          </a:p>
        </p:txBody>
      </p:sp>
      <p:sp>
        <p:nvSpPr>
          <p:cNvPr id="8" name="Title Placeholder 1"/>
          <p:cNvSpPr>
            <a:spLocks noGrp="1"/>
          </p:cNvSpPr>
          <p:nvPr>
            <p:ph type="title" hasCustomPrompt="1"/>
          </p:nvPr>
        </p:nvSpPr>
        <p:spPr>
          <a:xfrm>
            <a:off x="457199" y="705204"/>
            <a:ext cx="8238319" cy="418645"/>
          </a:xfrm>
          <a:prstGeom prst="rect">
            <a:avLst/>
          </a:prstGeom>
        </p:spPr>
        <p:txBody>
          <a:bodyPr vert="horz" lIns="91440" tIns="45720" rIns="91440" bIns="45720" rtlCol="0" anchor="ctr">
            <a:noAutofit/>
          </a:bodyPr>
          <a:lstStyle>
            <a:lvl1pPr>
              <a:defRPr b="0"/>
            </a:lvl1pPr>
          </a:lstStyle>
          <a:p>
            <a:r>
              <a:rPr lang="en-US" dirty="0"/>
              <a:t>Title of Slide</a:t>
            </a:r>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823118" y="2046612"/>
            <a:ext cx="3912176" cy="1664799"/>
          </a:xfrm>
          <a:prstGeom prst="rect">
            <a:avLst/>
          </a:prstGeom>
        </p:spPr>
        <p:txBody>
          <a:bodyPr/>
          <a:lstStyle>
            <a:lvl1pPr algn="l">
              <a:lnSpc>
                <a:spcPct val="90000"/>
              </a:lnSpc>
              <a:defRPr sz="3600" baseline="0">
                <a:solidFill>
                  <a:schemeClr val="tx1"/>
                </a:solidFill>
              </a:defRPr>
            </a:lvl1pPr>
          </a:lstStyle>
          <a:p>
            <a:r>
              <a:rPr lang="en-US" dirty="0"/>
              <a:t>Cover Slide Title and Multiple Lines If Necessary</a:t>
            </a:r>
            <a:endParaRPr lang="en-US" dirty="0"/>
          </a:p>
        </p:txBody>
      </p:sp>
      <p:sp>
        <p:nvSpPr>
          <p:cNvPr id="3" name="Subtitle 2"/>
          <p:cNvSpPr>
            <a:spLocks noGrp="1"/>
          </p:cNvSpPr>
          <p:nvPr>
            <p:ph type="subTitle" idx="1" hasCustomPrompt="1"/>
          </p:nvPr>
        </p:nvSpPr>
        <p:spPr>
          <a:xfrm>
            <a:off x="4823116" y="3835859"/>
            <a:ext cx="3912177" cy="1284154"/>
          </a:xfrm>
          <a:prstGeom prst="rect">
            <a:avLst/>
          </a:prstGeom>
        </p:spPr>
        <p:txBody>
          <a:bodyPr/>
          <a:lstStyle>
            <a:lvl1pPr marL="0" indent="0" algn="l">
              <a:buNone/>
              <a:defRPr sz="1600">
                <a:solidFill>
                  <a:srgbClr val="53565A"/>
                </a:solidFill>
                <a:latin typeface="Arial" panose="020B0604020202020204"/>
                <a:cs typeface="Arial" panose="020B0604020202020204"/>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Subtitle of Presentation</a:t>
            </a:r>
            <a:endParaRPr lang="en-US" dirty="0"/>
          </a:p>
        </p:txBody>
      </p:sp>
      <p:pic>
        <p:nvPicPr>
          <p:cNvPr id="10" name="Picture 9"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6"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7" name="Text Placeholder 4"/>
          <p:cNvSpPr>
            <a:spLocks noGrp="1"/>
          </p:cNvSpPr>
          <p:nvPr>
            <p:ph type="body" sz="quarter" idx="11"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endParaRPr lang="en-US" dirty="0"/>
          </a:p>
        </p:txBody>
      </p:sp>
      <p:pic>
        <p:nvPicPr>
          <p:cNvPr id="11" name="Picture 10" descr="placeholder-vector.png"/>
          <p:cNvPicPr>
            <a:picLocks noChangeAspect="1"/>
          </p:cNvPicPr>
          <p:nvPr userDrawn="1"/>
        </p:nvPicPr>
        <p:blipFill>
          <a:blip r:embed="rId3"/>
          <a:stretch>
            <a:fillRect/>
          </a:stretch>
        </p:blipFill>
        <p:spPr>
          <a:xfrm>
            <a:off x="0" y="0"/>
            <a:ext cx="4572000" cy="68580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sp>
        <p:nvSpPr>
          <p:cNvPr id="14" name="Picture Placeholder 2"/>
          <p:cNvSpPr>
            <a:spLocks noGrp="1"/>
          </p:cNvSpPr>
          <p:nvPr>
            <p:ph type="pic" idx="12" hasCustomPrompt="1"/>
          </p:nvPr>
        </p:nvSpPr>
        <p:spPr>
          <a:xfrm>
            <a:off x="4822825" y="5527524"/>
            <a:ext cx="3912178" cy="51866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Place Product </a:t>
            </a:r>
            <a:r>
              <a:rPr lang="en-US" dirty="0" err="1"/>
              <a:t>Wordmark</a:t>
            </a:r>
            <a:r>
              <a:rPr lang="en-US" dirty="0"/>
              <a:t> here</a:t>
            </a:r>
            <a:endParaRPr lang="en-US" dirty="0"/>
          </a:p>
        </p:txBody>
      </p:sp>
      <p:sp>
        <p:nvSpPr>
          <p:cNvPr id="13" name="Picture Placeholder 2"/>
          <p:cNvSpPr>
            <a:spLocks noGrp="1"/>
          </p:cNvSpPr>
          <p:nvPr>
            <p:ph type="pic" idx="11" hasCustomPrompt="1"/>
          </p:nvPr>
        </p:nvSpPr>
        <p:spPr>
          <a:xfrm>
            <a:off x="4891024" y="2007810"/>
            <a:ext cx="3912176" cy="504303"/>
          </a:xfrm>
          <a:prstGeom prst="rect">
            <a:avLst/>
          </a:prstGeom>
        </p:spPr>
        <p:txBody>
          <a:bodyPr/>
          <a:lstStyle>
            <a:lvl1pPr marL="0" indent="0">
              <a:buNone/>
              <a:defRPr sz="20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Solution Suite </a:t>
            </a:r>
            <a:r>
              <a:rPr lang="en-US" dirty="0" err="1"/>
              <a:t>Wordmark</a:t>
            </a:r>
            <a:r>
              <a:rPr lang="en-US" dirty="0"/>
              <a:t> here</a:t>
            </a:r>
            <a:endParaRPr lang="en-US" dirty="0"/>
          </a:p>
        </p:txBody>
      </p:sp>
      <p:sp>
        <p:nvSpPr>
          <p:cNvPr id="3" name="Subtitle 2"/>
          <p:cNvSpPr>
            <a:spLocks noGrp="1"/>
          </p:cNvSpPr>
          <p:nvPr>
            <p:ph type="subTitle" idx="1" hasCustomPrompt="1"/>
          </p:nvPr>
        </p:nvSpPr>
        <p:spPr>
          <a:xfrm>
            <a:off x="4891022" y="2626076"/>
            <a:ext cx="3912177" cy="1849348"/>
          </a:xfrm>
          <a:prstGeom prst="rect">
            <a:avLst/>
          </a:prstGeom>
        </p:spPr>
        <p:txBody>
          <a:bodyPr/>
          <a:lstStyle>
            <a:lvl1pPr marL="0" indent="0" algn="l">
              <a:buNone/>
              <a:defRPr sz="3600" baseline="0">
                <a:solidFill>
                  <a:srgbClr val="53565A"/>
                </a:solidFill>
                <a:latin typeface="Arial" panose="020B0604020202020204"/>
                <a:cs typeface="Arial" panose="020B0604020202020204"/>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over Slide Title and Multiple Lines If Necessary</a:t>
            </a:r>
            <a:endParaRPr lang="en-US" dirty="0"/>
          </a:p>
        </p:txBody>
      </p:sp>
      <p:pic>
        <p:nvPicPr>
          <p:cNvPr id="10" name="Picture 9" descr="Elsevier_Tree_Logo_2C.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104655" y="359801"/>
            <a:ext cx="688802" cy="798523"/>
          </a:xfrm>
          <a:prstGeom prst="rect">
            <a:avLst/>
          </a:prstGeom>
        </p:spPr>
      </p:pic>
      <p:sp>
        <p:nvSpPr>
          <p:cNvPr id="7" name="Text Placeholder 6"/>
          <p:cNvSpPr>
            <a:spLocks noGrp="1"/>
          </p:cNvSpPr>
          <p:nvPr>
            <p:ph type="body" sz="quarter" idx="10" hasCustomPrompt="1"/>
          </p:nvPr>
        </p:nvSpPr>
        <p:spPr>
          <a:xfrm>
            <a:off x="4822825" y="6096000"/>
            <a:ext cx="3913188" cy="302381"/>
          </a:xfrm>
          <a:prstGeom prst="rect">
            <a:avLst/>
          </a:prstGeom>
        </p:spPr>
        <p:txBody>
          <a:bodyPr/>
          <a:lstStyle>
            <a:lvl1pPr marL="0" indent="0">
              <a:buNone/>
              <a:defRPr sz="1100">
                <a:solidFill>
                  <a:schemeClr val="tx2"/>
                </a:solidFill>
                <a:latin typeface="Arial" panose="020B0604020202020204"/>
                <a:cs typeface="Arial" panose="020B0604020202020204"/>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Presented by </a:t>
            </a:r>
            <a:r>
              <a:rPr lang="en-US" dirty="0" err="1"/>
              <a:t>Firstname</a:t>
            </a:r>
            <a:r>
              <a:rPr lang="en-US" dirty="0"/>
              <a:t> </a:t>
            </a:r>
            <a:r>
              <a:rPr lang="en-US" dirty="0" err="1"/>
              <a:t>Lastname</a:t>
            </a:r>
            <a:endParaRPr lang="en-US" dirty="0"/>
          </a:p>
        </p:txBody>
      </p:sp>
      <p:sp>
        <p:nvSpPr>
          <p:cNvPr id="8" name="Text Placeholder 4"/>
          <p:cNvSpPr>
            <a:spLocks noGrp="1"/>
          </p:cNvSpPr>
          <p:nvPr>
            <p:ph type="body" sz="quarter" idx="13" hasCustomPrompt="1"/>
          </p:nvPr>
        </p:nvSpPr>
        <p:spPr>
          <a:xfrm>
            <a:off x="4822825" y="6397625"/>
            <a:ext cx="3913188" cy="266700"/>
          </a:xfrm>
          <a:prstGeom prst="rect">
            <a:avLst/>
          </a:prstGeom>
        </p:spPr>
        <p:txBody>
          <a:bodyPr vert="horz"/>
          <a:lstStyle>
            <a:lvl1pPr marL="0" indent="0">
              <a:buNone/>
              <a:defRPr sz="1100">
                <a:solidFill>
                  <a:srgbClr val="53565A"/>
                </a:solidFill>
                <a:latin typeface="Arial" panose="020B0604020202020204"/>
                <a:cs typeface="Arial" panose="020B0604020202020204"/>
              </a:defRPr>
            </a:lvl1pPr>
          </a:lstStyle>
          <a:p>
            <a:pPr lvl="0"/>
            <a:r>
              <a:rPr lang="en-US" dirty="0"/>
              <a:t>Date XX_XX_XX</a:t>
            </a:r>
            <a:endParaRPr lang="en-US" dirty="0"/>
          </a:p>
        </p:txBody>
      </p:sp>
      <p:pic>
        <p:nvPicPr>
          <p:cNvPr id="15" name="Picture 14" descr="placeholder-vector.png"/>
          <p:cNvPicPr>
            <a:picLocks noChangeAspect="1"/>
          </p:cNvPicPr>
          <p:nvPr userDrawn="1"/>
        </p:nvPicPr>
        <p:blipFill>
          <a:blip r:embed="rId3"/>
          <a:stretch>
            <a:fillRect/>
          </a:stretch>
        </p:blipFill>
        <p:spPr>
          <a:xfrm>
            <a:off x="0" y="0"/>
            <a:ext cx="4572000" cy="68580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image" Target="../media/image1.jpeg"/><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14.xml"/><Relationship Id="rId8" Type="http://schemas.openxmlformats.org/officeDocument/2006/relationships/slideLayout" Target="../slideLayouts/slideLayout13.xml"/><Relationship Id="rId7" Type="http://schemas.openxmlformats.org/officeDocument/2006/relationships/slideLayout" Target="../slideLayouts/slideLayout12.xml"/><Relationship Id="rId6" Type="http://schemas.openxmlformats.org/officeDocument/2006/relationships/slideLayout" Target="../slideLayouts/slideLayout11.xml"/><Relationship Id="rId5" Type="http://schemas.openxmlformats.org/officeDocument/2006/relationships/slideLayout" Target="../slideLayouts/slideLayout10.xml"/><Relationship Id="rId4" Type="http://schemas.openxmlformats.org/officeDocument/2006/relationships/slideLayout" Target="../slideLayouts/slideLayout9.xml"/><Relationship Id="rId3" Type="http://schemas.openxmlformats.org/officeDocument/2006/relationships/slideLayout" Target="../slideLayouts/slideLayout8.xml"/><Relationship Id="rId21" Type="http://schemas.openxmlformats.org/officeDocument/2006/relationships/theme" Target="../theme/theme2.xml"/><Relationship Id="rId20" Type="http://schemas.openxmlformats.org/officeDocument/2006/relationships/slideLayout" Target="../slideLayouts/slideLayout25.xml"/><Relationship Id="rId2" Type="http://schemas.openxmlformats.org/officeDocument/2006/relationships/slideLayout" Target="../slideLayouts/slideLayout7.xml"/><Relationship Id="rId19" Type="http://schemas.openxmlformats.org/officeDocument/2006/relationships/slideLayout" Target="../slideLayouts/slideLayout24.xml"/><Relationship Id="rId18" Type="http://schemas.openxmlformats.org/officeDocument/2006/relationships/slideLayout" Target="../slideLayouts/slideLayout23.xml"/><Relationship Id="rId17" Type="http://schemas.openxmlformats.org/officeDocument/2006/relationships/slideLayout" Target="../slideLayouts/slideLayout22.xml"/><Relationship Id="rId16" Type="http://schemas.openxmlformats.org/officeDocument/2006/relationships/slideLayout" Target="../slideLayouts/slideLayout21.xml"/><Relationship Id="rId15" Type="http://schemas.openxmlformats.org/officeDocument/2006/relationships/slideLayout" Target="../slideLayouts/slideLayout20.xml"/><Relationship Id="rId14" Type="http://schemas.openxmlformats.org/officeDocument/2006/relationships/slideLayout" Target="../slideLayouts/slideLayout19.xml"/><Relationship Id="rId13" Type="http://schemas.openxmlformats.org/officeDocument/2006/relationships/slideLayout" Target="../slideLayouts/slideLayout18.xml"/><Relationship Id="rId12" Type="http://schemas.openxmlformats.org/officeDocument/2006/relationships/slideLayout" Target="../slideLayouts/slideLayout17.xml"/><Relationship Id="rId11" Type="http://schemas.openxmlformats.org/officeDocument/2006/relationships/slideLayout" Target="../slideLayouts/slideLayout16.xml"/><Relationship Id="rId10" Type="http://schemas.openxmlformats.org/officeDocument/2006/relationships/slideLayout" Target="../slideLayouts/slideLayout15.xml"/><Relationship Id="rId1"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34.xml"/><Relationship Id="rId8" Type="http://schemas.openxmlformats.org/officeDocument/2006/relationships/slideLayout" Target="../slideLayouts/slideLayout33.xml"/><Relationship Id="rId7" Type="http://schemas.openxmlformats.org/officeDocument/2006/relationships/slideLayout" Target="../slideLayouts/slideLayout32.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 Id="rId3" Type="http://schemas.openxmlformats.org/officeDocument/2006/relationships/slideLayout" Target="../slideLayouts/slideLayout28.xml"/><Relationship Id="rId20" Type="http://schemas.openxmlformats.org/officeDocument/2006/relationships/theme" Target="../theme/theme3.xml"/><Relationship Id="rId2" Type="http://schemas.openxmlformats.org/officeDocument/2006/relationships/slideLayout" Target="../slideLayouts/slideLayout27.xml"/><Relationship Id="rId19" Type="http://schemas.openxmlformats.org/officeDocument/2006/relationships/image" Target="../media/image1.jpeg"/><Relationship Id="rId18" Type="http://schemas.openxmlformats.org/officeDocument/2006/relationships/slideLayout" Target="../slideLayouts/slideLayout43.xml"/><Relationship Id="rId17" Type="http://schemas.openxmlformats.org/officeDocument/2006/relationships/slideLayout" Target="../slideLayouts/slideLayout42.xml"/><Relationship Id="rId16" Type="http://schemas.openxmlformats.org/officeDocument/2006/relationships/slideLayout" Target="../slideLayouts/slideLayout41.xml"/><Relationship Id="rId15" Type="http://schemas.openxmlformats.org/officeDocument/2006/relationships/slideLayout" Target="../slideLayouts/slideLayout40.xml"/><Relationship Id="rId14" Type="http://schemas.openxmlformats.org/officeDocument/2006/relationships/slideLayout" Target="../slideLayouts/slideLayout39.xml"/><Relationship Id="rId13" Type="http://schemas.openxmlformats.org/officeDocument/2006/relationships/slideLayout" Target="../slideLayouts/slideLayout38.xml"/><Relationship Id="rId12" Type="http://schemas.openxmlformats.org/officeDocument/2006/relationships/slideLayout" Target="../slideLayouts/slideLayout37.xml"/><Relationship Id="rId11" Type="http://schemas.openxmlformats.org/officeDocument/2006/relationships/slideLayout" Target="../slideLayouts/slideLayout36.xml"/><Relationship Id="rId10" Type="http://schemas.openxmlformats.org/officeDocument/2006/relationships/slideLayout" Target="../slideLayouts/slideLayout35.xml"/><Relationship Id="rId1"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52.xml"/><Relationship Id="rId8" Type="http://schemas.openxmlformats.org/officeDocument/2006/relationships/slideLayout" Target="../slideLayouts/slideLayout51.xml"/><Relationship Id="rId7" Type="http://schemas.openxmlformats.org/officeDocument/2006/relationships/slideLayout" Target="../slideLayouts/slideLayout50.xml"/><Relationship Id="rId6" Type="http://schemas.openxmlformats.org/officeDocument/2006/relationships/slideLayout" Target="../slideLayouts/slideLayout49.xml"/><Relationship Id="rId5" Type="http://schemas.openxmlformats.org/officeDocument/2006/relationships/slideLayout" Target="../slideLayouts/slideLayout48.xml"/><Relationship Id="rId4" Type="http://schemas.openxmlformats.org/officeDocument/2006/relationships/slideLayout" Target="../slideLayouts/slideLayout47.xml"/><Relationship Id="rId3" Type="http://schemas.openxmlformats.org/officeDocument/2006/relationships/slideLayout" Target="../slideLayouts/slideLayout46.xml"/><Relationship Id="rId2" Type="http://schemas.openxmlformats.org/officeDocument/2006/relationships/slideLayout" Target="../slideLayouts/slideLayout45.xml"/><Relationship Id="rId12" Type="http://schemas.openxmlformats.org/officeDocument/2006/relationships/theme" Target="../theme/theme4.xml"/><Relationship Id="rId11" Type="http://schemas.openxmlformats.org/officeDocument/2006/relationships/image" Target="../media/image17.png"/><Relationship Id="rId10" Type="http://schemas.openxmlformats.org/officeDocument/2006/relationships/slideLayout" Target="../slideLayouts/slideLayout53.xml"/><Relationship Id="rId1"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9" Type="http://schemas.openxmlformats.org/officeDocument/2006/relationships/theme" Target="../theme/theme5.xml"/><Relationship Id="rId8" Type="http://schemas.openxmlformats.org/officeDocument/2006/relationships/image" Target="../media/image17.png"/><Relationship Id="rId7" Type="http://schemas.openxmlformats.org/officeDocument/2006/relationships/slideLayout" Target="../slideLayouts/slideLayout60.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 Id="rId3" Type="http://schemas.openxmlformats.org/officeDocument/2006/relationships/slideLayout" Target="../slideLayouts/slideLayout56.xml"/><Relationship Id="rId2" Type="http://schemas.openxmlformats.org/officeDocument/2006/relationships/slideLayout" Target="../slideLayouts/slideLayout55.xml"/><Relationship Id="rId1" Type="http://schemas.openxmlformats.org/officeDocument/2006/relationships/slideLayout" Target="../slideLayouts/slideLayout54.xml"/></Relationships>
</file>

<file path=ppt/slideMasters/_rels/slideMaster6.xml.rels><?xml version="1.0" encoding="UTF-8" standalone="yes"?>
<Relationships xmlns="http://schemas.openxmlformats.org/package/2006/relationships"><Relationship Id="rId7" Type="http://schemas.openxmlformats.org/officeDocument/2006/relationships/theme" Target="../theme/theme6.xml"/><Relationship Id="rId6" Type="http://schemas.openxmlformats.org/officeDocument/2006/relationships/image" Target="../media/image1.jpeg"/><Relationship Id="rId5" Type="http://schemas.openxmlformats.org/officeDocument/2006/relationships/slideLayout" Target="../slideLayouts/slideLayout65.xml"/><Relationship Id="rId4" Type="http://schemas.openxmlformats.org/officeDocument/2006/relationships/slideLayout" Target="../slideLayouts/slideLayout64.xml"/><Relationship Id="rId3" Type="http://schemas.openxmlformats.org/officeDocument/2006/relationships/slideLayout" Target="../slideLayouts/slideLayout63.xml"/><Relationship Id="rId2" Type="http://schemas.openxmlformats.org/officeDocument/2006/relationships/slideLayout" Target="../slideLayouts/slideLayout62.xml"/><Relationship Id="rId1" Type="http://schemas.openxmlformats.org/officeDocument/2006/relationships/slideLayout" Target="../slideLayouts/slideLayout61.xml"/></Relationships>
</file>

<file path=ppt/slideMasters/_rels/slideMaster7.xml.rels><?xml version="1.0" encoding="UTF-8" standalone="yes"?>
<Relationships xmlns="http://schemas.openxmlformats.org/package/2006/relationships"><Relationship Id="rId7" Type="http://schemas.openxmlformats.org/officeDocument/2006/relationships/theme" Target="../theme/theme7.xml"/><Relationship Id="rId6" Type="http://schemas.openxmlformats.org/officeDocument/2006/relationships/image" Target="../media/image1.jpeg"/><Relationship Id="rId5" Type="http://schemas.openxmlformats.org/officeDocument/2006/relationships/slideLayout" Target="../slideLayouts/slideLayout70.xml"/><Relationship Id="rId4" Type="http://schemas.openxmlformats.org/officeDocument/2006/relationships/slideLayout" Target="../slideLayouts/slideLayout69.xml"/><Relationship Id="rId3" Type="http://schemas.openxmlformats.org/officeDocument/2006/relationships/slideLayout" Target="../slideLayouts/slideLayout68.xml"/><Relationship Id="rId2" Type="http://schemas.openxmlformats.org/officeDocument/2006/relationships/slideLayout" Target="../slideLayouts/slideLayout67.xml"/><Relationship Id="rId1"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6"/>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t>   |   </a:t>
            </a:r>
            <a:fld id="{DA15E891-66B8-4B28-AB8F-05A4B1DE573C}" type="slidenum">
              <a:rPr lang="en-US" dirty="0" smtClean="0"/>
            </a:fld>
            <a:endParaRPr lang="en-US" dirty="0"/>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a:p>
            <a:pPr lvl="5"/>
            <a:r>
              <a:rPr lang="en-US" dirty="0"/>
              <a:t>Sixth level</a:t>
            </a:r>
            <a:endParaRPr lang="en-US" dirty="0"/>
          </a:p>
          <a:p>
            <a:pPr lvl="6"/>
            <a:r>
              <a:rPr lang="en-US" dirty="0"/>
              <a:t>Seventh level</a:t>
            </a:r>
            <a:endParaRPr lang="en-US" dirty="0"/>
          </a:p>
          <a:p>
            <a:pPr lvl="7"/>
            <a:r>
              <a:rPr lang="en-US" dirty="0"/>
              <a:t>Eighth level</a:t>
            </a:r>
            <a:endParaRPr lang="en-US" dirty="0"/>
          </a:p>
          <a:p>
            <a:pPr lvl="8"/>
            <a:r>
              <a:rPr lang="en-US" dirty="0"/>
              <a:t>Ninth level</a:t>
            </a:r>
            <a:endParaRPr lang="en-US" dirty="0"/>
          </a:p>
          <a:p>
            <a:pPr lvl="8"/>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55" r:id="rId1"/>
    <p:sldLayoutId id="2147483656" r:id="rId2"/>
    <p:sldLayoutId id="2147483657" r:id="rId3"/>
    <p:sldLayoutId id="2147483658" r:id="rId4"/>
    <p:sldLayoutId id="2147483659" r:id="rId5"/>
    <p:sldLayoutId id="2147483660" r:id="rId6"/>
    <p:sldLayoutId id="2147483661" r:id="rId7"/>
    <p:sldLayoutId id="2147483662" r:id="rId8"/>
    <p:sldLayoutId id="2147483663" r:id="rId9"/>
    <p:sldLayoutId id="2147483664" r:id="rId10"/>
    <p:sldLayoutId id="2147483665" r:id="rId11"/>
    <p:sldLayoutId id="2147483666" r:id="rId12"/>
    <p:sldLayoutId id="2147483667" r:id="rId13"/>
    <p:sldLayoutId id="2147483668" r:id="rId14"/>
    <p:sldLayoutId id="2147483669" r:id="rId15"/>
    <p:sldLayoutId id="2147483670" r:id="rId16"/>
    <p:sldLayoutId id="2147483671" r:id="rId17"/>
    <p:sldLayoutId id="2147483672" r:id="rId18"/>
    <p:sldLayoutId id="2147483673" r:id="rId19"/>
    <p:sldLayoutId id="2147483674" r:id="rId20"/>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xStyles>
    <p:titleStyle>
      <a:lvl1pPr algn="ctr" defTabSz="457200" rtl="0" eaLnBrk="1" latinLnBrk="0" hangingPunct="1">
        <a:spcBef>
          <a:spcPct val="0"/>
        </a:spcBef>
        <a:buNone/>
        <a:defRPr sz="4400" kern="1200">
          <a:solidFill>
            <a:schemeClr val="accent6"/>
          </a:solidFill>
          <a:latin typeface="Arial" panose="020B0604020202020204"/>
          <a:ea typeface="+mj-ea"/>
          <a:cs typeface="Arial" panose="020B0604020202020204"/>
        </a:defRPr>
      </a:lvl1pPr>
    </p:titleStyle>
    <p:bodyStyle>
      <a:lvl1pPr marL="342900" indent="-342900" algn="l" defTabSz="457200" rtl="0" eaLnBrk="1" latinLnBrk="0" hangingPunct="1">
        <a:spcBef>
          <a:spcPct val="20000"/>
        </a:spcBef>
        <a:buFont typeface="Arial" panose="020B0604020202020204"/>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panose="020B0604020202020204"/>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panose="020B0604020202020204"/>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panose="020B0604020202020204"/>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19"/>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dirty="0" smtClean="0">
                <a:solidFill>
                  <a:prstClr val="white"/>
                </a:solidFill>
              </a:rPr>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a:p>
            <a:pPr lvl="5"/>
            <a:r>
              <a:rPr lang="en-US" dirty="0"/>
              <a:t>Sixth level</a:t>
            </a:r>
            <a:endParaRPr lang="en-US" dirty="0"/>
          </a:p>
          <a:p>
            <a:pPr lvl="6"/>
            <a:r>
              <a:rPr lang="en-US" dirty="0"/>
              <a:t>Seventh level</a:t>
            </a:r>
            <a:endParaRPr lang="en-US" dirty="0"/>
          </a:p>
          <a:p>
            <a:pPr lvl="7"/>
            <a:r>
              <a:rPr lang="en-US" dirty="0"/>
              <a:t>Eighth level</a:t>
            </a:r>
            <a:endParaRPr lang="en-US" dirty="0"/>
          </a:p>
          <a:p>
            <a:pPr lvl="8"/>
            <a:r>
              <a:rPr lang="en-US" dirty="0"/>
              <a:t>Ninth level</a:t>
            </a:r>
            <a:endParaRPr lang="en-US" dirty="0"/>
          </a:p>
          <a:p>
            <a:pPr lvl="8"/>
            <a:endParaRPr lang="en-US" dirty="0"/>
          </a:p>
        </p:txBody>
      </p:sp>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11" cstate="screen"/>
          <a:stretch>
            <a:fillRect/>
          </a:stretch>
        </p:blipFill>
        <p:spPr>
          <a:xfrm>
            <a:off x="0" y="640"/>
            <a:ext cx="9144000" cy="347472"/>
          </a:xfrm>
          <a:prstGeom prst="rect">
            <a:avLst/>
          </a:prstGeom>
        </p:spPr>
      </p:pic>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a:p>
            <a:pPr lvl="5"/>
            <a:r>
              <a:rPr lang="en-US" dirty="0"/>
              <a:t>Sixth level</a:t>
            </a:r>
            <a:endParaRPr lang="en-US" dirty="0"/>
          </a:p>
          <a:p>
            <a:pPr lvl="6"/>
            <a:r>
              <a:rPr lang="en-US" dirty="0"/>
              <a:t>Seventh level</a:t>
            </a:r>
            <a:endParaRPr lang="en-US" dirty="0"/>
          </a:p>
          <a:p>
            <a:pPr lvl="7"/>
            <a:r>
              <a:rPr lang="en-US" dirty="0"/>
              <a:t>Eighth level</a:t>
            </a:r>
            <a:endParaRPr lang="en-US" dirty="0"/>
          </a:p>
          <a:p>
            <a:pPr lvl="8"/>
            <a:r>
              <a:rPr lang="en-US" dirty="0"/>
              <a:t>Ninth level</a:t>
            </a:r>
            <a:endParaRPr lang="en-US" dirty="0"/>
          </a:p>
          <a:p>
            <a:pPr lvl="8"/>
            <a:endParaRPr lang="en-US" dirty="0"/>
          </a:p>
        </p:txBody>
      </p:sp>
      <p:sp>
        <p:nvSpPr>
          <p:cNvPr id="7" name="Slide Number Placeholder 7"/>
          <p:cNvSpPr txBox="1"/>
          <p:nvPr userDrawn="1"/>
        </p:nvSpPr>
        <p:spPr>
          <a:xfrm>
            <a:off x="8474338" y="-7655"/>
            <a:ext cx="587784" cy="354522"/>
          </a:xfrm>
          <a:prstGeom prst="rect">
            <a:avLst/>
          </a:prstGeom>
        </p:spPr>
        <p:txBody>
          <a:bodyPr vert="horz" lIns="91440" tIns="45720" rIns="91440" bIns="45720" rtlCol="0" anchor="ctr"/>
          <a:lstStyle>
            <a:defPPr>
              <a:defRPr lang="en-US"/>
            </a:defPPr>
            <a:lvl1pPr marL="0" algn="r" defTabSz="457200" rtl="0" eaLnBrk="1" latinLnBrk="0" hangingPunct="1">
              <a:defRPr sz="7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solidFill>
                  <a:prstClr val="white"/>
                </a:solidFill>
              </a:rPr>
              <a:t>   |   </a:t>
            </a:r>
            <a:fld id="{DA15E891-66B8-4B28-AB8F-05A4B1DE573C}" type="slidenum">
              <a:rPr lang="en-US" dirty="0" smtClean="0">
                <a:solidFill>
                  <a:prstClr val="white"/>
                </a:solidFill>
              </a:rPr>
            </a:fld>
            <a:endParaRPr lang="en-US" dirty="0">
              <a:solidFill>
                <a:prstClr val="white"/>
              </a:solidFill>
            </a:endParaRPr>
          </a:p>
        </p:txBody>
      </p:sp>
    </p:spTree>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5905" algn="l" defTabSz="457200" rtl="0" eaLnBrk="1" latinLnBrk="0" hangingPunct="1">
        <a:spcBef>
          <a:spcPct val="20000"/>
        </a:spcBef>
        <a:buFont typeface="Arial" panose="020B0604020202020204"/>
        <a:buChar char="•"/>
        <a:defRPr sz="2000" kern="1200">
          <a:solidFill>
            <a:srgbClr val="53565A"/>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Arial" panose="020B0604020202020204" pitchFamily="34" charset="0"/>
        <a:buChar char="-"/>
        <a:defRPr sz="1800" kern="1200">
          <a:solidFill>
            <a:srgbClr val="53565A"/>
          </a:solidFill>
          <a:latin typeface="Arial" panose="020B0604020202020204"/>
          <a:ea typeface="+mn-ea"/>
          <a:cs typeface="+mn-cs"/>
        </a:defRPr>
      </a:lvl2pPr>
      <a:lvl3pPr marL="1143000" indent="-228600" algn="l" defTabSz="457200" rtl="0" eaLnBrk="1" latinLnBrk="0" hangingPunct="1">
        <a:spcBef>
          <a:spcPct val="20000"/>
        </a:spcBef>
        <a:buSzPct val="90000"/>
        <a:buFont typeface="Courier New" panose="02070309020205020404" pitchFamily="49" charset="0"/>
        <a:buChar char="o"/>
        <a:defRPr sz="1600" kern="1200">
          <a:solidFill>
            <a:srgbClr val="53565A"/>
          </a:solidFill>
          <a:latin typeface="Arial" panose="020B0604020202020204"/>
          <a:ea typeface="+mn-ea"/>
          <a:cs typeface="+mn-cs"/>
        </a:defRPr>
      </a:lvl3pPr>
      <a:lvl4pPr marL="1600200" indent="-228600" algn="l" defTabSz="457200" rtl="0" eaLnBrk="1" latinLnBrk="0" hangingPunct="1">
        <a:spcBef>
          <a:spcPct val="20000"/>
        </a:spcBef>
        <a:buSzPct val="90000"/>
        <a:buFont typeface="Courier New" panose="02070309020205020404"/>
        <a:buChar char="o"/>
        <a:defRPr sz="1600" kern="1200">
          <a:solidFill>
            <a:srgbClr val="53565A"/>
          </a:solidFill>
          <a:latin typeface="Arial" panose="020B0604020202020204"/>
          <a:ea typeface="+mn-ea"/>
          <a:cs typeface="+mn-cs"/>
        </a:defRPr>
      </a:lvl4pPr>
      <a:lvl5pPr marL="2057400" indent="-228600" algn="l" defTabSz="457200" rtl="0" eaLnBrk="1" latinLnBrk="0" hangingPunct="1">
        <a:spcBef>
          <a:spcPct val="20000"/>
        </a:spcBef>
        <a:buSzPct val="90000"/>
        <a:buFont typeface="Courier New" panose="02070309020205020404"/>
        <a:buChar char="o"/>
        <a:defRPr sz="1600" kern="1200">
          <a:solidFill>
            <a:srgbClr val="53565A"/>
          </a:solidFill>
          <a:latin typeface="Arial" panose="020B0604020202020204"/>
          <a:ea typeface="+mn-ea"/>
          <a:cs typeface="+mn-cs"/>
        </a:defRPr>
      </a:lvl5pPr>
      <a:lvl6pPr marL="2514600" indent="-228600" algn="l" defTabSz="457200" rtl="0" eaLnBrk="1" latinLnBrk="0" hangingPunct="1">
        <a:spcBef>
          <a:spcPct val="20000"/>
        </a:spcBef>
        <a:buSzPct val="90000"/>
        <a:buFont typeface="Courier New" panose="02070309020205020404"/>
        <a:buChar char="o"/>
        <a:defRPr sz="1600" kern="1200">
          <a:solidFill>
            <a:srgbClr val="53565A"/>
          </a:solidFill>
          <a:latin typeface="Arial" panose="020B0604020202020204"/>
          <a:ea typeface="+mn-ea"/>
          <a:cs typeface="+mn-cs"/>
        </a:defRPr>
      </a:lvl6pPr>
      <a:lvl7pPr marL="2971800" indent="-228600" algn="l" defTabSz="457200" rtl="0" eaLnBrk="1" latinLnBrk="0" hangingPunct="1">
        <a:spcBef>
          <a:spcPct val="20000"/>
        </a:spcBef>
        <a:buSzPct val="90000"/>
        <a:buFont typeface="Courier New" panose="02070309020205020404"/>
        <a:buChar char="o"/>
        <a:defRPr sz="1600" kern="1200">
          <a:solidFill>
            <a:srgbClr val="53565A"/>
          </a:solidFill>
          <a:latin typeface="Arial" panose="020B0604020202020204"/>
          <a:ea typeface="+mn-ea"/>
          <a:cs typeface="+mn-cs"/>
        </a:defRPr>
      </a:lvl7pPr>
      <a:lvl8pPr marL="3429000" indent="-228600" algn="l" defTabSz="457200" rtl="0" eaLnBrk="1" latinLnBrk="0" hangingPunct="1">
        <a:spcBef>
          <a:spcPct val="20000"/>
        </a:spcBef>
        <a:buSzPct val="90000"/>
        <a:buFont typeface="Courier New" panose="02070309020205020404"/>
        <a:buChar char="o"/>
        <a:defRPr sz="1600" kern="1200">
          <a:solidFill>
            <a:srgbClr val="53565A"/>
          </a:solidFill>
          <a:latin typeface="Arial" panose="020B0604020202020204"/>
          <a:ea typeface="+mn-ea"/>
          <a:cs typeface="+mn-cs"/>
        </a:defRPr>
      </a:lvl8pPr>
      <a:lvl9pPr marL="3886200" indent="-228600" algn="l" defTabSz="457200" rtl="0" eaLnBrk="1" latinLnBrk="0" hangingPunct="1">
        <a:spcBef>
          <a:spcPct val="20000"/>
        </a:spcBef>
        <a:buSzPct val="90000"/>
        <a:buFont typeface="Courier New" panose="02070309020205020404"/>
        <a:buChar char="o"/>
        <a:defRPr sz="1600" kern="1200">
          <a:solidFill>
            <a:srgbClr val="53565A"/>
          </a:solidFill>
          <a:latin typeface="Arial" panose="020B0604020202020204"/>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8" cstate="screen"/>
          <a:stretch>
            <a:fillRect/>
          </a:stretch>
        </p:blipFill>
        <p:spPr>
          <a:xfrm>
            <a:off x="0" y="640"/>
            <a:ext cx="9144000" cy="347472"/>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dirty="0" smtClean="0">
                <a:solidFill>
                  <a:prstClr val="white"/>
                </a:solidFill>
              </a:rPr>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a:p>
            <a:pPr lvl="5"/>
            <a:r>
              <a:rPr lang="en-US" dirty="0"/>
              <a:t>Sixth level</a:t>
            </a:r>
            <a:endParaRPr lang="en-US" dirty="0"/>
          </a:p>
          <a:p>
            <a:pPr lvl="6"/>
            <a:r>
              <a:rPr lang="en-US" dirty="0"/>
              <a:t>Seventh level</a:t>
            </a:r>
            <a:endParaRPr lang="en-US" dirty="0"/>
          </a:p>
          <a:p>
            <a:pPr lvl="7"/>
            <a:r>
              <a:rPr lang="en-US" dirty="0"/>
              <a:t>Eighth level</a:t>
            </a:r>
            <a:endParaRPr lang="en-US" dirty="0"/>
          </a:p>
          <a:p>
            <a:pPr lvl="8"/>
            <a:r>
              <a:rPr lang="en-US" dirty="0"/>
              <a:t>Ninth level</a:t>
            </a:r>
            <a:endParaRPr lang="en-US" dirty="0"/>
          </a:p>
          <a:p>
            <a:pPr lvl="8"/>
            <a:endParaRPr lang="en-US" dirty="0"/>
          </a:p>
        </p:txBody>
      </p:sp>
    </p:spTree>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6"/>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dirty="0" smtClean="0">
                <a:solidFill>
                  <a:prstClr val="white"/>
                </a:solidFill>
              </a:rPr>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a:p>
            <a:pPr lvl="5"/>
            <a:r>
              <a:rPr lang="en-US" dirty="0"/>
              <a:t>Sixth level</a:t>
            </a:r>
            <a:endParaRPr lang="en-US" dirty="0"/>
          </a:p>
          <a:p>
            <a:pPr lvl="6"/>
            <a:r>
              <a:rPr lang="en-US" dirty="0"/>
              <a:t>Seventh level</a:t>
            </a:r>
            <a:endParaRPr lang="en-US" dirty="0"/>
          </a:p>
          <a:p>
            <a:pPr lvl="7"/>
            <a:r>
              <a:rPr lang="en-US" dirty="0"/>
              <a:t>Eighth level</a:t>
            </a:r>
            <a:endParaRPr lang="en-US" dirty="0"/>
          </a:p>
          <a:p>
            <a:pPr lvl="8"/>
            <a:r>
              <a:rPr lang="en-US" dirty="0"/>
              <a:t>Ninth level</a:t>
            </a:r>
            <a:endParaRPr lang="en-US" dirty="0"/>
          </a:p>
          <a:p>
            <a:pPr lvl="8"/>
            <a:endParaRPr lang="en-US" dirty="0"/>
          </a:p>
        </p:txBody>
      </p:sp>
    </p:spTree>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header.jpg"/>
          <p:cNvPicPr>
            <a:picLocks noChangeAspect="1"/>
          </p:cNvPicPr>
          <p:nvPr userDrawn="1"/>
        </p:nvPicPr>
        <p:blipFill>
          <a:blip r:embed="rId6"/>
          <a:stretch>
            <a:fillRect/>
          </a:stretch>
        </p:blipFill>
        <p:spPr>
          <a:xfrm>
            <a:off x="0" y="0"/>
            <a:ext cx="9144000" cy="375646"/>
          </a:xfrm>
          <a:prstGeom prst="rect">
            <a:avLst/>
          </a:prstGeom>
        </p:spPr>
      </p:pic>
      <p:sp>
        <p:nvSpPr>
          <p:cNvPr id="9" name="Slide Number Placeholder 7"/>
          <p:cNvSpPr>
            <a:spLocks noGrp="1"/>
          </p:cNvSpPr>
          <p:nvPr>
            <p:ph type="sldNum" sz="quarter" idx="4"/>
          </p:nvPr>
        </p:nvSpPr>
        <p:spPr>
          <a:xfrm>
            <a:off x="8474338" y="-7655"/>
            <a:ext cx="587784" cy="354522"/>
          </a:xfrm>
          <a:prstGeom prst="rect">
            <a:avLst/>
          </a:prstGeom>
        </p:spPr>
        <p:txBody>
          <a:bodyPr vert="horz" lIns="91440" tIns="45720" rIns="91440" bIns="45720" rtlCol="0" anchor="ctr"/>
          <a:lstStyle>
            <a:lvl1pPr algn="r">
              <a:defRPr sz="700">
                <a:solidFill>
                  <a:schemeClr val="bg1"/>
                </a:solidFill>
                <a:latin typeface="Arial" panose="020B0604020202020204" pitchFamily="34" charset="0"/>
                <a:cs typeface="Arial" panose="020B0604020202020204" pitchFamily="34" charset="0"/>
              </a:defRPr>
            </a:lvl1pPr>
          </a:lstStyle>
          <a:p>
            <a:r>
              <a:rPr lang="en-US" dirty="0">
                <a:solidFill>
                  <a:prstClr val="white"/>
                </a:solidFill>
              </a:rPr>
              <a:t>   |   </a:t>
            </a:r>
            <a:fld id="{DA15E891-66B8-4B28-AB8F-05A4B1DE573C}" type="slidenum">
              <a:rPr lang="en-US" dirty="0" smtClean="0">
                <a:solidFill>
                  <a:prstClr val="white"/>
                </a:solidFill>
              </a:rPr>
            </a:fld>
            <a:endParaRPr lang="en-US" dirty="0">
              <a:solidFill>
                <a:prstClr val="white"/>
              </a:solidFill>
            </a:endParaRPr>
          </a:p>
        </p:txBody>
      </p:sp>
      <p:sp>
        <p:nvSpPr>
          <p:cNvPr id="13" name="Title Placeholder 1"/>
          <p:cNvSpPr>
            <a:spLocks noGrp="1"/>
          </p:cNvSpPr>
          <p:nvPr>
            <p:ph type="title"/>
          </p:nvPr>
        </p:nvSpPr>
        <p:spPr>
          <a:xfrm>
            <a:off x="457199" y="705204"/>
            <a:ext cx="8238319" cy="418645"/>
          </a:xfrm>
          <a:prstGeom prst="rect">
            <a:avLst/>
          </a:prstGeom>
        </p:spPr>
        <p:txBody>
          <a:bodyPr vert="horz" lIns="91440" tIns="45720" rIns="91440" bIns="45720" rtlCol="0" anchor="ctr">
            <a:noAutofit/>
          </a:bodyPr>
          <a:lstStyle/>
          <a:p>
            <a:r>
              <a:rPr lang="en-US" dirty="0"/>
              <a:t>Title of Slide</a:t>
            </a:r>
            <a:endParaRPr lang="en-US" dirty="0"/>
          </a:p>
        </p:txBody>
      </p:sp>
      <p:sp>
        <p:nvSpPr>
          <p:cNvPr id="14" name="Text Placeholder 8"/>
          <p:cNvSpPr>
            <a:spLocks noGrp="1"/>
          </p:cNvSpPr>
          <p:nvPr>
            <p:ph type="body" idx="1"/>
          </p:nvPr>
        </p:nvSpPr>
        <p:spPr>
          <a:xfrm>
            <a:off x="457200" y="1500110"/>
            <a:ext cx="8238318" cy="4898146"/>
          </a:xfrm>
          <a:prstGeom prst="rect">
            <a:avLst/>
          </a:prstGeom>
        </p:spPr>
        <p:txBody>
          <a:bodyPr vert="horz" lIns="91440" tIns="45720" rIns="91440" bIns="45720" rtlCol="0">
            <a:normAutofit/>
          </a:bodyPr>
          <a:lstStyle/>
          <a:p>
            <a:pPr lvl="0"/>
            <a:r>
              <a:rPr lang="en-US" dirty="0"/>
              <a:t>Click to 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en-US" dirty="0"/>
          </a:p>
          <a:p>
            <a:pPr lvl="5"/>
            <a:r>
              <a:rPr lang="en-US" dirty="0"/>
              <a:t>Sixth level</a:t>
            </a:r>
            <a:endParaRPr lang="en-US" dirty="0"/>
          </a:p>
          <a:p>
            <a:pPr lvl="6"/>
            <a:r>
              <a:rPr lang="en-US" dirty="0"/>
              <a:t>Seventh level</a:t>
            </a:r>
            <a:endParaRPr lang="en-US" dirty="0"/>
          </a:p>
          <a:p>
            <a:pPr lvl="7"/>
            <a:r>
              <a:rPr lang="en-US" dirty="0"/>
              <a:t>Eighth level</a:t>
            </a:r>
            <a:endParaRPr lang="en-US" dirty="0"/>
          </a:p>
          <a:p>
            <a:pPr lvl="8"/>
            <a:r>
              <a:rPr lang="en-US" dirty="0"/>
              <a:t>Ninth level</a:t>
            </a:r>
            <a:endParaRPr lang="en-US" dirty="0"/>
          </a:p>
          <a:p>
            <a:pPr lvl="8"/>
            <a:endParaRPr lang="en-US" dirty="0"/>
          </a:p>
        </p:txBody>
      </p:sp>
    </p:spTree>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Lst>
  <p:txStyles>
    <p:titleStyle>
      <a:lvl1pPr algn="l" defTabSz="457200" rtl="0" eaLnBrk="1" latinLnBrk="0" hangingPunct="1">
        <a:spcBef>
          <a:spcPct val="0"/>
        </a:spcBef>
        <a:buNone/>
        <a:defRPr sz="2400" b="1" i="0" kern="1200">
          <a:solidFill>
            <a:schemeClr val="accent1"/>
          </a:solidFill>
          <a:latin typeface="Arial Bold"/>
          <a:ea typeface="+mj-ea"/>
          <a:cs typeface="Arial Bold"/>
        </a:defRPr>
      </a:lvl1pPr>
    </p:titleStyle>
    <p:body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image" Target="../media/image18.png"/></Relationships>
</file>

<file path=ppt/slides/_rels/slide10.xml.rels><?xml version="1.0" encoding="UTF-8" standalone="yes"?>
<Relationships xmlns="http://schemas.openxmlformats.org/package/2006/relationships"><Relationship Id="rId9" Type="http://schemas.openxmlformats.org/officeDocument/2006/relationships/image" Target="../media/image94.jpeg"/><Relationship Id="rId8" Type="http://schemas.openxmlformats.org/officeDocument/2006/relationships/image" Target="../media/image93.jpeg"/><Relationship Id="rId7" Type="http://schemas.openxmlformats.org/officeDocument/2006/relationships/image" Target="../media/image92.jpeg"/><Relationship Id="rId6" Type="http://schemas.openxmlformats.org/officeDocument/2006/relationships/image" Target="../media/image91.jpeg"/><Relationship Id="rId5" Type="http://schemas.openxmlformats.org/officeDocument/2006/relationships/image" Target="../media/image90.png"/><Relationship Id="rId4" Type="http://schemas.openxmlformats.org/officeDocument/2006/relationships/image" Target="../media/image89.jpeg"/><Relationship Id="rId3" Type="http://schemas.openxmlformats.org/officeDocument/2006/relationships/image" Target="../media/image88.jpeg"/><Relationship Id="rId2" Type="http://schemas.openxmlformats.org/officeDocument/2006/relationships/image" Target="../media/image87.png"/><Relationship Id="rId19" Type="http://schemas.openxmlformats.org/officeDocument/2006/relationships/notesSlide" Target="../notesSlides/notesSlide5.xml"/><Relationship Id="rId18" Type="http://schemas.openxmlformats.org/officeDocument/2006/relationships/slideLayout" Target="../slideLayouts/slideLayout33.xml"/><Relationship Id="rId17" Type="http://schemas.openxmlformats.org/officeDocument/2006/relationships/image" Target="../media/image101.jpeg"/><Relationship Id="rId16" Type="http://schemas.openxmlformats.org/officeDocument/2006/relationships/image" Target="../media/image100.jpeg"/><Relationship Id="rId15" Type="http://schemas.openxmlformats.org/officeDocument/2006/relationships/image" Target="../media/image99.jpeg"/><Relationship Id="rId14" Type="http://schemas.openxmlformats.org/officeDocument/2006/relationships/image" Target="../media/image98.png"/><Relationship Id="rId13" Type="http://schemas.openxmlformats.org/officeDocument/2006/relationships/image" Target="../media/image97.png"/><Relationship Id="rId12" Type="http://schemas.openxmlformats.org/officeDocument/2006/relationships/image" Target="../media/image96.png"/><Relationship Id="rId11" Type="http://schemas.microsoft.com/office/2007/relationships/hdphoto" Target="../media/hdphoto1.wdp"/><Relationship Id="rId10" Type="http://schemas.openxmlformats.org/officeDocument/2006/relationships/image" Target="../media/image95.png"/><Relationship Id="rId1" Type="http://schemas.openxmlformats.org/officeDocument/2006/relationships/image" Target="../media/image86.GI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9.xml"/><Relationship Id="rId1" Type="http://schemas.openxmlformats.org/officeDocument/2006/relationships/image" Target="../media/image102.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9" Type="http://schemas.openxmlformats.org/officeDocument/2006/relationships/image" Target="../media/image105.GIF"/><Relationship Id="rId8" Type="http://schemas.microsoft.com/office/2007/relationships/hdphoto" Target="../media/hdphoto2.wdp"/><Relationship Id="rId7" Type="http://schemas.openxmlformats.org/officeDocument/2006/relationships/image" Target="../media/image104.png"/><Relationship Id="rId6" Type="http://schemas.openxmlformats.org/officeDocument/2006/relationships/image" Target="../media/image103.png"/><Relationship Id="rId5" Type="http://schemas.microsoft.com/office/2007/relationships/diagramDrawing" Target="../diagrams/drawing1.xml"/><Relationship Id="rId4" Type="http://schemas.openxmlformats.org/officeDocument/2006/relationships/diagramColors" Target="../diagrams/colors1.xml"/><Relationship Id="rId3" Type="http://schemas.openxmlformats.org/officeDocument/2006/relationships/diagramQuickStyle" Target="../diagrams/quickStyle1.xml"/><Relationship Id="rId2" Type="http://schemas.openxmlformats.org/officeDocument/2006/relationships/diagramLayout" Target="../diagrams/layout1.xml"/><Relationship Id="rId16" Type="http://schemas.openxmlformats.org/officeDocument/2006/relationships/notesSlide" Target="../notesSlides/notesSlide8.xml"/><Relationship Id="rId15" Type="http://schemas.openxmlformats.org/officeDocument/2006/relationships/slideLayout" Target="../slideLayouts/slideLayout29.xml"/><Relationship Id="rId14" Type="http://schemas.openxmlformats.org/officeDocument/2006/relationships/image" Target="../media/image110.png"/><Relationship Id="rId13" Type="http://schemas.openxmlformats.org/officeDocument/2006/relationships/image" Target="../media/image109.png"/><Relationship Id="rId12" Type="http://schemas.openxmlformats.org/officeDocument/2006/relationships/image" Target="../media/image108.png"/><Relationship Id="rId11" Type="http://schemas.openxmlformats.org/officeDocument/2006/relationships/image" Target="../media/image107.jpeg"/><Relationship Id="rId10" Type="http://schemas.openxmlformats.org/officeDocument/2006/relationships/image" Target="../media/image106.jpeg"/><Relationship Id="rId1" Type="http://schemas.openxmlformats.org/officeDocument/2006/relationships/diagramData" Target="../diagrams/data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2.xml"/><Relationship Id="rId1" Type="http://schemas.openxmlformats.org/officeDocument/2006/relationships/chart" Target="../charts/chart4.xml"/></Relationships>
</file>

<file path=ppt/slides/_rels/slide16.xml.rels><?xml version="1.0" encoding="UTF-8" standalone="yes"?>
<Relationships xmlns="http://schemas.openxmlformats.org/package/2006/relationships"><Relationship Id="rId9" Type="http://schemas.openxmlformats.org/officeDocument/2006/relationships/tags" Target="../tags/tag50.xml"/><Relationship Id="rId8" Type="http://schemas.openxmlformats.org/officeDocument/2006/relationships/tags" Target="../tags/tag49.xml"/><Relationship Id="rId7" Type="http://schemas.openxmlformats.org/officeDocument/2006/relationships/tags" Target="../tags/tag48.xml"/><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tags" Target="../tags/tag45.xml"/><Relationship Id="rId3" Type="http://schemas.openxmlformats.org/officeDocument/2006/relationships/tags" Target="../tags/tag44.xml"/><Relationship Id="rId23" Type="http://schemas.openxmlformats.org/officeDocument/2006/relationships/notesSlide" Target="../notesSlides/notesSlide10.xml"/><Relationship Id="rId22" Type="http://schemas.openxmlformats.org/officeDocument/2006/relationships/slideLayout" Target="../slideLayouts/slideLayout35.xml"/><Relationship Id="rId21" Type="http://schemas.openxmlformats.org/officeDocument/2006/relationships/tags" Target="../tags/tag62.xml"/><Relationship Id="rId20" Type="http://schemas.openxmlformats.org/officeDocument/2006/relationships/tags" Target="../tags/tag61.xml"/><Relationship Id="rId2" Type="http://schemas.openxmlformats.org/officeDocument/2006/relationships/tags" Target="../tags/tag43.xml"/><Relationship Id="rId19" Type="http://schemas.openxmlformats.org/officeDocument/2006/relationships/tags" Target="../tags/tag60.xml"/><Relationship Id="rId18" Type="http://schemas.openxmlformats.org/officeDocument/2006/relationships/tags" Target="../tags/tag59.xml"/><Relationship Id="rId17" Type="http://schemas.openxmlformats.org/officeDocument/2006/relationships/tags" Target="../tags/tag58.xml"/><Relationship Id="rId16" Type="http://schemas.openxmlformats.org/officeDocument/2006/relationships/tags" Target="../tags/tag57.xml"/><Relationship Id="rId15" Type="http://schemas.openxmlformats.org/officeDocument/2006/relationships/tags" Target="../tags/tag56.xml"/><Relationship Id="rId14" Type="http://schemas.openxmlformats.org/officeDocument/2006/relationships/tags" Target="../tags/tag55.xml"/><Relationship Id="rId13" Type="http://schemas.openxmlformats.org/officeDocument/2006/relationships/tags" Target="../tags/tag54.xml"/><Relationship Id="rId12" Type="http://schemas.openxmlformats.org/officeDocument/2006/relationships/tags" Target="../tags/tag53.xml"/><Relationship Id="rId11" Type="http://schemas.openxmlformats.org/officeDocument/2006/relationships/tags" Target="../tags/tag52.xml"/><Relationship Id="rId10" Type="http://schemas.openxmlformats.org/officeDocument/2006/relationships/tags" Target="../tags/tag51.xml"/><Relationship Id="rId1" Type="http://schemas.openxmlformats.org/officeDocument/2006/relationships/tags" Target="../tags/tag4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image" Target="../media/image112.png"/><Relationship Id="rId1" Type="http://schemas.openxmlformats.org/officeDocument/2006/relationships/image" Target="../media/image111.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5" Type="http://schemas.openxmlformats.org/officeDocument/2006/relationships/slideLayout" Target="../slideLayouts/slideLayout34.xml"/><Relationship Id="rId4" Type="http://schemas.openxmlformats.org/officeDocument/2006/relationships/image" Target="../media/image115.png"/><Relationship Id="rId3" Type="http://schemas.openxmlformats.org/officeDocument/2006/relationships/image" Target="../media/image114.png"/><Relationship Id="rId2" Type="http://schemas.openxmlformats.org/officeDocument/2006/relationships/image" Target="../media/image113.png"/><Relationship Id="rId1" Type="http://schemas.openxmlformats.org/officeDocument/2006/relationships/image" Target="../media/image1.tif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image" Target="../media/image117.png"/><Relationship Id="rId1" Type="http://schemas.openxmlformats.org/officeDocument/2006/relationships/image" Target="../media/image116.png"/></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29.xml"/><Relationship Id="rId1" Type="http://schemas.openxmlformats.org/officeDocument/2006/relationships/image" Target="../media/image118.png"/></Relationships>
</file>

<file path=ppt/slides/_rels/slide22.xml.rels><?xml version="1.0" encoding="UTF-8" standalone="yes"?>
<Relationships xmlns="http://schemas.openxmlformats.org/package/2006/relationships"><Relationship Id="rId9" Type="http://schemas.openxmlformats.org/officeDocument/2006/relationships/slideLayout" Target="../slideLayouts/slideLayout29.xml"/><Relationship Id="rId8" Type="http://schemas.openxmlformats.org/officeDocument/2006/relationships/tags" Target="../tags/tag69.xml"/><Relationship Id="rId7" Type="http://schemas.openxmlformats.org/officeDocument/2006/relationships/tags" Target="../tags/tag68.xml"/><Relationship Id="rId6" Type="http://schemas.openxmlformats.org/officeDocument/2006/relationships/tags" Target="../tags/tag67.xml"/><Relationship Id="rId5" Type="http://schemas.openxmlformats.org/officeDocument/2006/relationships/tags" Target="../tags/tag66.xml"/><Relationship Id="rId4" Type="http://schemas.openxmlformats.org/officeDocument/2006/relationships/tags" Target="../tags/tag65.xml"/><Relationship Id="rId3" Type="http://schemas.openxmlformats.org/officeDocument/2006/relationships/tags" Target="../tags/tag64.xml"/><Relationship Id="rId2" Type="http://schemas.openxmlformats.org/officeDocument/2006/relationships/tags" Target="../tags/tag63.xml"/><Relationship Id="rId10" Type="http://schemas.openxmlformats.org/officeDocument/2006/relationships/notesSlide" Target="../notesSlides/notesSlide11.xml"/><Relationship Id="rId1" Type="http://schemas.openxmlformats.org/officeDocument/2006/relationships/image" Target="../media/image119.png"/></Relationships>
</file>

<file path=ppt/slides/_rels/slide23.xml.rels><?xml version="1.0" encoding="UTF-8" standalone="yes"?>
<Relationships xmlns="http://schemas.openxmlformats.org/package/2006/relationships"><Relationship Id="rId5" Type="http://schemas.openxmlformats.org/officeDocument/2006/relationships/slideLayout" Target="../slideLayouts/slideLayout39.xml"/><Relationship Id="rId4" Type="http://schemas.openxmlformats.org/officeDocument/2006/relationships/image" Target="../media/image123.png"/><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image" Target="../media/image120.png"/></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39.xml"/><Relationship Id="rId1" Type="http://schemas.openxmlformats.org/officeDocument/2006/relationships/image" Target="../media/image124.png"/></Relationships>
</file>

<file path=ppt/slides/_rels/slide25.xml.rels><?xml version="1.0" encoding="UTF-8" standalone="yes"?>
<Relationships xmlns="http://schemas.openxmlformats.org/package/2006/relationships"><Relationship Id="rId6" Type="http://schemas.openxmlformats.org/officeDocument/2006/relationships/slideLayout" Target="../slideLayouts/slideLayout39.xml"/><Relationship Id="rId5" Type="http://schemas.openxmlformats.org/officeDocument/2006/relationships/image" Target="../media/image128.png"/><Relationship Id="rId4" Type="http://schemas.openxmlformats.org/officeDocument/2006/relationships/image" Target="../media/image127.png"/><Relationship Id="rId3" Type="http://schemas.openxmlformats.org/officeDocument/2006/relationships/image" Target="../media/image126.png"/><Relationship Id="rId2" Type="http://schemas.openxmlformats.org/officeDocument/2006/relationships/image" Target="../media/image2.tiff"/><Relationship Id="rId1" Type="http://schemas.openxmlformats.org/officeDocument/2006/relationships/image" Target="../media/image125.png"/></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image" Target="../media/image117.png"/><Relationship Id="rId1" Type="http://schemas.openxmlformats.org/officeDocument/2006/relationships/image" Target="../media/image129.png"/></Relationships>
</file>

<file path=ppt/slides/_rels/slide27.xml.rels><?xml version="1.0" encoding="UTF-8" standalone="yes"?>
<Relationships xmlns="http://schemas.openxmlformats.org/package/2006/relationships"><Relationship Id="rId4" Type="http://schemas.openxmlformats.org/officeDocument/2006/relationships/slideLayout" Target="../slideLayouts/slideLayout39.xml"/><Relationship Id="rId3" Type="http://schemas.openxmlformats.org/officeDocument/2006/relationships/image" Target="../media/image117.png"/><Relationship Id="rId2" Type="http://schemas.openxmlformats.org/officeDocument/2006/relationships/image" Target="../media/image131.png"/><Relationship Id="rId1" Type="http://schemas.openxmlformats.org/officeDocument/2006/relationships/image" Target="../media/image130.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image" Target="../media/image117.png"/><Relationship Id="rId1" Type="http://schemas.openxmlformats.org/officeDocument/2006/relationships/image" Target="../media/image132.png"/></Relationships>
</file>

<file path=ppt/slides/_rels/slide29.xml.rels><?xml version="1.0" encoding="UTF-8" standalone="yes"?>
<Relationships xmlns="http://schemas.openxmlformats.org/package/2006/relationships"><Relationship Id="rId2" Type="http://schemas.openxmlformats.org/officeDocument/2006/relationships/slideLayout" Target="../slideLayouts/slideLayout39.xml"/><Relationship Id="rId1" Type="http://schemas.openxmlformats.org/officeDocument/2006/relationships/image" Target="../media/image11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39.xml"/><Relationship Id="rId1" Type="http://schemas.openxmlformats.org/officeDocument/2006/relationships/image" Target="../media/image117.png"/></Relationships>
</file>

<file path=ppt/slides/_rels/slide31.xml.rels><?xml version="1.0" encoding="UTF-8" standalone="yes"?>
<Relationships xmlns="http://schemas.openxmlformats.org/package/2006/relationships"><Relationship Id="rId9" Type="http://schemas.openxmlformats.org/officeDocument/2006/relationships/diagramColors" Target="../diagrams/colors3.xml"/><Relationship Id="rId8" Type="http://schemas.openxmlformats.org/officeDocument/2006/relationships/diagramQuickStyle" Target="../diagrams/quickStyle3.xml"/><Relationship Id="rId7" Type="http://schemas.openxmlformats.org/officeDocument/2006/relationships/diagramLayout" Target="../diagrams/layout3.xml"/><Relationship Id="rId6" Type="http://schemas.openxmlformats.org/officeDocument/2006/relationships/diagramData" Target="../diagrams/data3.xml"/><Relationship Id="rId5" Type="http://schemas.microsoft.com/office/2007/relationships/diagramDrawing" Target="../diagrams/drawing2.xml"/><Relationship Id="rId4" Type="http://schemas.openxmlformats.org/officeDocument/2006/relationships/diagramColors" Target="../diagrams/colors2.xml"/><Relationship Id="rId3" Type="http://schemas.openxmlformats.org/officeDocument/2006/relationships/diagramQuickStyle" Target="../diagrams/quickStyle2.xml"/><Relationship Id="rId2" Type="http://schemas.openxmlformats.org/officeDocument/2006/relationships/diagramLayout" Target="../diagrams/layout2.xml"/><Relationship Id="rId12" Type="http://schemas.openxmlformats.org/officeDocument/2006/relationships/slideLayout" Target="../slideLayouts/slideLayout39.xml"/><Relationship Id="rId11" Type="http://schemas.openxmlformats.org/officeDocument/2006/relationships/image" Target="../media/image117.png"/><Relationship Id="rId10" Type="http://schemas.microsoft.com/office/2007/relationships/diagramDrawing" Target="../diagrams/drawing3.xml"/><Relationship Id="rId1" Type="http://schemas.openxmlformats.org/officeDocument/2006/relationships/diagramData" Target="../diagrams/data2.xml"/></Relationships>
</file>

<file path=ppt/slides/_rels/slide32.xml.rels><?xml version="1.0" encoding="UTF-8" standalone="yes"?>
<Relationships xmlns="http://schemas.openxmlformats.org/package/2006/relationships"><Relationship Id="rId6" Type="http://schemas.openxmlformats.org/officeDocument/2006/relationships/notesSlide" Target="../notesSlides/notesSlide12.xml"/><Relationship Id="rId5" Type="http://schemas.openxmlformats.org/officeDocument/2006/relationships/slideLayout" Target="../slideLayouts/slideLayout34.xml"/><Relationship Id="rId4" Type="http://schemas.openxmlformats.org/officeDocument/2006/relationships/image" Target="../media/image136.png"/><Relationship Id="rId3" Type="http://schemas.openxmlformats.org/officeDocument/2006/relationships/image" Target="../media/image135.png"/><Relationship Id="rId2" Type="http://schemas.openxmlformats.org/officeDocument/2006/relationships/image" Target="../media/image134.png"/><Relationship Id="rId1" Type="http://schemas.openxmlformats.org/officeDocument/2006/relationships/image" Target="../media/image133.png"/></Relationships>
</file>

<file path=ppt/slides/_rels/slide33.xml.rels><?xml version="1.0" encoding="UTF-8" standalone="yes"?>
<Relationships xmlns="http://schemas.openxmlformats.org/package/2006/relationships"><Relationship Id="rId4" Type="http://schemas.openxmlformats.org/officeDocument/2006/relationships/notesSlide" Target="../notesSlides/notesSlide13.xml"/><Relationship Id="rId3" Type="http://schemas.openxmlformats.org/officeDocument/2006/relationships/slideLayout" Target="../slideLayouts/slideLayout34.xml"/><Relationship Id="rId2" Type="http://schemas.openxmlformats.org/officeDocument/2006/relationships/image" Target="../media/image138.png"/><Relationship Id="rId1" Type="http://schemas.openxmlformats.org/officeDocument/2006/relationships/image" Target="../media/image137.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39.xml"/><Relationship Id="rId1" Type="http://schemas.openxmlformats.org/officeDocument/2006/relationships/image" Target="../media/image139.png"/></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39.xml"/><Relationship Id="rId1" Type="http://schemas.openxmlformats.org/officeDocument/2006/relationships/image" Target="../media/image140.png"/></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39.xml"/><Relationship Id="rId1" Type="http://schemas.openxmlformats.org/officeDocument/2006/relationships/image" Target="../media/image141.png"/></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39.xml"/><Relationship Id="rId1" Type="http://schemas.openxmlformats.org/officeDocument/2006/relationships/image" Target="../media/image142.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image" Target="../media/image20.jpeg"/><Relationship Id="rId1" Type="http://schemas.openxmlformats.org/officeDocument/2006/relationships/image" Target="../media/image19.png"/></Relationships>
</file>

<file path=ppt/slides/_rels/slide40.xml.rels><?xml version="1.0" encoding="UTF-8" standalone="yes"?>
<Relationships xmlns="http://schemas.openxmlformats.org/package/2006/relationships"><Relationship Id="rId4" Type="http://schemas.openxmlformats.org/officeDocument/2006/relationships/slideLayout" Target="../slideLayouts/slideLayout42.xml"/><Relationship Id="rId3" Type="http://schemas.openxmlformats.org/officeDocument/2006/relationships/image" Target="../media/image144.png"/><Relationship Id="rId2" Type="http://schemas.openxmlformats.org/officeDocument/2006/relationships/image" Target="../media/image143.png"/><Relationship Id="rId1" Type="http://schemas.openxmlformats.org/officeDocument/2006/relationships/hyperlink" Target="http://www.mendeley.com/groups/" TargetMode="Externa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hyperlink" Target="http://www.mendeley.com/groups/" TargetMode="External"/><Relationship Id="rId1" Type="http://schemas.openxmlformats.org/officeDocument/2006/relationships/image" Target="../media/image145.png"/></Relationships>
</file>

<file path=ppt/slides/_rels/slide42.xml.rels><?xml version="1.0" encoding="UTF-8" standalone="yes"?>
<Relationships xmlns="http://schemas.openxmlformats.org/package/2006/relationships"><Relationship Id="rId7" Type="http://schemas.openxmlformats.org/officeDocument/2006/relationships/slideLayout" Target="../slideLayouts/slideLayout42.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8.png"/><Relationship Id="rId3" Type="http://schemas.openxmlformats.org/officeDocument/2006/relationships/image" Target="../media/image147.png"/><Relationship Id="rId2" Type="http://schemas.openxmlformats.org/officeDocument/2006/relationships/image" Target="../media/image146.png"/><Relationship Id="rId1" Type="http://schemas.openxmlformats.org/officeDocument/2006/relationships/hyperlink" Target="http://www.mendeley.com/groups/" TargetMode="Externa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4.xml.rels><?xml version="1.0" encoding="UTF-8" standalone="yes"?>
<Relationships xmlns="http://schemas.openxmlformats.org/package/2006/relationships"><Relationship Id="rId2" Type="http://schemas.openxmlformats.org/officeDocument/2006/relationships/slideLayout" Target="../slideLayouts/slideLayout39.xml"/><Relationship Id="rId1" Type="http://schemas.openxmlformats.org/officeDocument/2006/relationships/image" Target="../media/image151.pn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image" Target="../media/image153.png"/><Relationship Id="rId1" Type="http://schemas.openxmlformats.org/officeDocument/2006/relationships/image" Target="../media/image152.png"/></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39.xml"/><Relationship Id="rId1" Type="http://schemas.openxmlformats.org/officeDocument/2006/relationships/image" Target="../media/image154.png"/></Relationships>
</file>

<file path=ppt/slides/_rels/slide47.xml.rels><?xml version="1.0" encoding="UTF-8" standalone="yes"?>
<Relationships xmlns="http://schemas.openxmlformats.org/package/2006/relationships"><Relationship Id="rId2" Type="http://schemas.openxmlformats.org/officeDocument/2006/relationships/slideLayout" Target="../slideLayouts/slideLayout39.xml"/><Relationship Id="rId1" Type="http://schemas.openxmlformats.org/officeDocument/2006/relationships/image" Target="../media/image155.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9.xml.rels><?xml version="1.0" encoding="UTF-8" standalone="yes"?>
<Relationships xmlns="http://schemas.openxmlformats.org/package/2006/relationships"><Relationship Id="rId6" Type="http://schemas.openxmlformats.org/officeDocument/2006/relationships/notesSlide" Target="../notesSlides/notesSlide14.xml"/><Relationship Id="rId5" Type="http://schemas.openxmlformats.org/officeDocument/2006/relationships/slideLayout" Target="../slideLayouts/slideLayout29.xml"/><Relationship Id="rId4" Type="http://schemas.openxmlformats.org/officeDocument/2006/relationships/image" Target="../media/image159.jpeg"/><Relationship Id="rId3" Type="http://schemas.openxmlformats.org/officeDocument/2006/relationships/image" Target="../media/image158.emf"/><Relationship Id="rId2" Type="http://schemas.openxmlformats.org/officeDocument/2006/relationships/image" Target="../media/image157.png"/><Relationship Id="rId1" Type="http://schemas.openxmlformats.org/officeDocument/2006/relationships/image" Target="../media/image156.png"/></Relationships>
</file>

<file path=ppt/slides/_rels/slide5.xml.rels><?xml version="1.0" encoding="UTF-8" standalone="yes"?>
<Relationships xmlns="http://schemas.openxmlformats.org/package/2006/relationships"><Relationship Id="rId5" Type="http://schemas.openxmlformats.org/officeDocument/2006/relationships/notesSlide" Target="../notesSlides/notesSlide1.xml"/><Relationship Id="rId4" Type="http://schemas.openxmlformats.org/officeDocument/2006/relationships/slideLayout" Target="../slideLayouts/slideLayout34.xml"/><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hyperlink" Target="https://www.elsevier.com/solutions/scopus/content" TargetMode="Externa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5.xml"/><Relationship Id="rId1" Type="http://schemas.openxmlformats.org/officeDocument/2006/relationships/image" Target="../media/image160.png"/></Relationships>
</file>

<file path=ppt/slides/_rels/slide52.xml.rels><?xml version="1.0" encoding="UTF-8" standalone="yes"?>
<Relationships xmlns="http://schemas.openxmlformats.org/package/2006/relationships"><Relationship Id="rId4" Type="http://schemas.openxmlformats.org/officeDocument/2006/relationships/slideLayout" Target="../slideLayouts/slideLayout35.xml"/><Relationship Id="rId3" Type="http://schemas.openxmlformats.org/officeDocument/2006/relationships/image" Target="../media/image162.png"/><Relationship Id="rId2" Type="http://schemas.openxmlformats.org/officeDocument/2006/relationships/tags" Target="../tags/tag70.xml"/><Relationship Id="rId1" Type="http://schemas.openxmlformats.org/officeDocument/2006/relationships/image" Target="../media/image161.png"/></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image" Target="../media/image162.png"/><Relationship Id="rId1" Type="http://schemas.openxmlformats.org/officeDocument/2006/relationships/image" Target="../media/image163.png"/></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71.xml"/><Relationship Id="rId1" Type="http://schemas.openxmlformats.org/officeDocument/2006/relationships/image" Target="../media/image164.png"/></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image" Target="../media/image162.png"/><Relationship Id="rId1" Type="http://schemas.openxmlformats.org/officeDocument/2006/relationships/image" Target="../media/image165.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0.xml"/><Relationship Id="rId1" Type="http://schemas.openxmlformats.org/officeDocument/2006/relationships/image" Target="../media/image166.pn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0.xml"/><Relationship Id="rId1" Type="http://schemas.openxmlformats.org/officeDocument/2006/relationships/chart" Target="../charts/chart5.xml"/></Relationships>
</file>

<file path=ppt/slides/_rels/slide59.xml.rels><?xml version="1.0" encoding="UTF-8" standalone="yes"?>
<Relationships xmlns="http://schemas.openxmlformats.org/package/2006/relationships"><Relationship Id="rId6" Type="http://schemas.openxmlformats.org/officeDocument/2006/relationships/notesSlide" Target="../notesSlides/notesSlide18.xml"/><Relationship Id="rId5" Type="http://schemas.openxmlformats.org/officeDocument/2006/relationships/slideLayout" Target="../slideLayouts/slideLayout31.xml"/><Relationship Id="rId4" Type="http://schemas.openxmlformats.org/officeDocument/2006/relationships/image" Target="../media/image169.emf"/><Relationship Id="rId3" Type="http://schemas.openxmlformats.org/officeDocument/2006/relationships/image" Target="../media/image158.emf"/><Relationship Id="rId2" Type="http://schemas.openxmlformats.org/officeDocument/2006/relationships/image" Target="../media/image168.emf"/><Relationship Id="rId1" Type="http://schemas.openxmlformats.org/officeDocument/2006/relationships/image" Target="../media/image167.png"/></Relationships>
</file>

<file path=ppt/slides/_rels/slide6.xml.rels><?xml version="1.0" encoding="UTF-8" standalone="yes"?>
<Relationships xmlns="http://schemas.openxmlformats.org/package/2006/relationships"><Relationship Id="rId9" Type="http://schemas.openxmlformats.org/officeDocument/2006/relationships/tags" Target="../tags/tag8.xml"/><Relationship Id="rId8" Type="http://schemas.openxmlformats.org/officeDocument/2006/relationships/tags" Target="../tags/tag7.xml"/><Relationship Id="rId7" Type="http://schemas.openxmlformats.org/officeDocument/2006/relationships/tags" Target="../tags/tag6.xml"/><Relationship Id="rId6" Type="http://schemas.openxmlformats.org/officeDocument/2006/relationships/tags" Target="../tags/tag5.xml"/><Relationship Id="rId5" Type="http://schemas.openxmlformats.org/officeDocument/2006/relationships/tags" Target="../tags/tag4.xml"/><Relationship Id="rId44" Type="http://schemas.openxmlformats.org/officeDocument/2006/relationships/notesSlide" Target="../notesSlides/notesSlide2.xml"/><Relationship Id="rId43" Type="http://schemas.openxmlformats.org/officeDocument/2006/relationships/slideLayout" Target="../slideLayouts/slideLayout31.xml"/><Relationship Id="rId42" Type="http://schemas.openxmlformats.org/officeDocument/2006/relationships/tags" Target="../tags/tag41.xml"/><Relationship Id="rId41" Type="http://schemas.openxmlformats.org/officeDocument/2006/relationships/tags" Target="../tags/tag40.xml"/><Relationship Id="rId40" Type="http://schemas.openxmlformats.org/officeDocument/2006/relationships/tags" Target="../tags/tag39.xml"/><Relationship Id="rId4" Type="http://schemas.openxmlformats.org/officeDocument/2006/relationships/tags" Target="../tags/tag3.xml"/><Relationship Id="rId39" Type="http://schemas.openxmlformats.org/officeDocument/2006/relationships/tags" Target="../tags/tag38.xml"/><Relationship Id="rId38" Type="http://schemas.openxmlformats.org/officeDocument/2006/relationships/tags" Target="../tags/tag37.xml"/><Relationship Id="rId37" Type="http://schemas.openxmlformats.org/officeDocument/2006/relationships/tags" Target="../tags/tag36.xml"/><Relationship Id="rId36" Type="http://schemas.openxmlformats.org/officeDocument/2006/relationships/tags" Target="../tags/tag35.xml"/><Relationship Id="rId35" Type="http://schemas.openxmlformats.org/officeDocument/2006/relationships/tags" Target="../tags/tag34.xml"/><Relationship Id="rId34" Type="http://schemas.openxmlformats.org/officeDocument/2006/relationships/tags" Target="../tags/tag33.xml"/><Relationship Id="rId33" Type="http://schemas.openxmlformats.org/officeDocument/2006/relationships/tags" Target="../tags/tag32.xml"/><Relationship Id="rId32" Type="http://schemas.openxmlformats.org/officeDocument/2006/relationships/tags" Target="../tags/tag31.xml"/><Relationship Id="rId31" Type="http://schemas.openxmlformats.org/officeDocument/2006/relationships/tags" Target="../tags/tag30.xml"/><Relationship Id="rId30" Type="http://schemas.openxmlformats.org/officeDocument/2006/relationships/tags" Target="../tags/tag29.xml"/><Relationship Id="rId3" Type="http://schemas.openxmlformats.org/officeDocument/2006/relationships/tags" Target="../tags/tag2.xml"/><Relationship Id="rId29" Type="http://schemas.openxmlformats.org/officeDocument/2006/relationships/tags" Target="../tags/tag28.xml"/><Relationship Id="rId28" Type="http://schemas.openxmlformats.org/officeDocument/2006/relationships/tags" Target="../tags/tag27.xml"/><Relationship Id="rId27" Type="http://schemas.openxmlformats.org/officeDocument/2006/relationships/tags" Target="../tags/tag26.xml"/><Relationship Id="rId26" Type="http://schemas.openxmlformats.org/officeDocument/2006/relationships/tags" Target="../tags/tag25.xml"/><Relationship Id="rId25" Type="http://schemas.openxmlformats.org/officeDocument/2006/relationships/tags" Target="../tags/tag24.xml"/><Relationship Id="rId24" Type="http://schemas.openxmlformats.org/officeDocument/2006/relationships/tags" Target="../tags/tag23.xml"/><Relationship Id="rId23" Type="http://schemas.openxmlformats.org/officeDocument/2006/relationships/tags" Target="../tags/tag22.xml"/><Relationship Id="rId22" Type="http://schemas.openxmlformats.org/officeDocument/2006/relationships/tags" Target="../tags/tag21.xml"/><Relationship Id="rId21" Type="http://schemas.openxmlformats.org/officeDocument/2006/relationships/tags" Target="../tags/tag20.xml"/><Relationship Id="rId20" Type="http://schemas.openxmlformats.org/officeDocument/2006/relationships/tags" Target="../tags/tag19.xml"/><Relationship Id="rId2" Type="http://schemas.openxmlformats.org/officeDocument/2006/relationships/tags" Target="../tags/tag1.xml"/><Relationship Id="rId19" Type="http://schemas.openxmlformats.org/officeDocument/2006/relationships/tags" Target="../tags/tag18.xml"/><Relationship Id="rId18" Type="http://schemas.openxmlformats.org/officeDocument/2006/relationships/tags" Target="../tags/tag17.xml"/><Relationship Id="rId17" Type="http://schemas.openxmlformats.org/officeDocument/2006/relationships/tags" Target="../tags/tag16.xml"/><Relationship Id="rId16" Type="http://schemas.openxmlformats.org/officeDocument/2006/relationships/tags" Target="../tags/tag15.xml"/><Relationship Id="rId15" Type="http://schemas.openxmlformats.org/officeDocument/2006/relationships/tags" Target="../tags/tag14.xml"/><Relationship Id="rId14" Type="http://schemas.openxmlformats.org/officeDocument/2006/relationships/tags" Target="../tags/tag13.xml"/><Relationship Id="rId13" Type="http://schemas.openxmlformats.org/officeDocument/2006/relationships/tags" Target="../tags/tag12.xml"/><Relationship Id="rId12" Type="http://schemas.openxmlformats.org/officeDocument/2006/relationships/tags" Target="../tags/tag11.xml"/><Relationship Id="rId11" Type="http://schemas.openxmlformats.org/officeDocument/2006/relationships/tags" Target="../tags/tag10.xml"/><Relationship Id="rId10" Type="http://schemas.openxmlformats.org/officeDocument/2006/relationships/tags" Target="../tags/tag9.xml"/><Relationship Id="rId1" Type="http://schemas.openxmlformats.org/officeDocument/2006/relationships/chart" Target="../charts/chart1.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1.xml"/><Relationship Id="rId1" Type="http://schemas.openxmlformats.org/officeDocument/2006/relationships/image" Target="../media/image170.png"/></Relationships>
</file>

<file path=ppt/slides/_rels/slide61.xml.rels><?xml version="1.0" encoding="UTF-8" standalone="yes"?>
<Relationships xmlns="http://schemas.openxmlformats.org/package/2006/relationships"><Relationship Id="rId4" Type="http://schemas.openxmlformats.org/officeDocument/2006/relationships/notesSlide" Target="../notesSlides/notesSlide20.xml"/><Relationship Id="rId3" Type="http://schemas.openxmlformats.org/officeDocument/2006/relationships/slideLayout" Target="../slideLayouts/slideLayout41.xml"/><Relationship Id="rId2" Type="http://schemas.openxmlformats.org/officeDocument/2006/relationships/image" Target="../media/image172.jpeg"/><Relationship Id="rId1" Type="http://schemas.openxmlformats.org/officeDocument/2006/relationships/image" Target="../media/image171.pn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6.xml"/><Relationship Id="rId1" Type="http://schemas.openxmlformats.org/officeDocument/2006/relationships/image" Target="../media/image173.png"/></Relationships>
</file>

<file path=ppt/slides/_rels/slide63.xml.rels><?xml version="1.0" encoding="UTF-8" standalone="yes"?>
<Relationships xmlns="http://schemas.openxmlformats.org/package/2006/relationships"><Relationship Id="rId9" Type="http://schemas.openxmlformats.org/officeDocument/2006/relationships/notesSlide" Target="../notesSlides/notesSlide22.xml"/><Relationship Id="rId8" Type="http://schemas.openxmlformats.org/officeDocument/2006/relationships/slideLayout" Target="../slideLayouts/slideLayout36.xml"/><Relationship Id="rId7" Type="http://schemas.openxmlformats.org/officeDocument/2006/relationships/image" Target="../media/image179.png"/><Relationship Id="rId6" Type="http://schemas.openxmlformats.org/officeDocument/2006/relationships/image" Target="../media/image173.png"/><Relationship Id="rId5" Type="http://schemas.openxmlformats.org/officeDocument/2006/relationships/image" Target="../media/image178.png"/><Relationship Id="rId4" Type="http://schemas.openxmlformats.org/officeDocument/2006/relationships/image" Target="../media/image177.png"/><Relationship Id="rId3" Type="http://schemas.openxmlformats.org/officeDocument/2006/relationships/image" Target="../media/image176.png"/><Relationship Id="rId2" Type="http://schemas.openxmlformats.org/officeDocument/2006/relationships/image" Target="../media/image175.png"/><Relationship Id="rId1" Type="http://schemas.openxmlformats.org/officeDocument/2006/relationships/image" Target="../media/image174.png"/></Relationships>
</file>

<file path=ppt/slides/_rels/slide64.xml.rels><?xml version="1.0" encoding="UTF-8" standalone="yes"?>
<Relationships xmlns="http://schemas.openxmlformats.org/package/2006/relationships"><Relationship Id="rId5" Type="http://schemas.openxmlformats.org/officeDocument/2006/relationships/notesSlide" Target="../notesSlides/notesSlide23.xml"/><Relationship Id="rId4" Type="http://schemas.openxmlformats.org/officeDocument/2006/relationships/slideLayout" Target="../slideLayouts/slideLayout36.xml"/><Relationship Id="rId3" Type="http://schemas.openxmlformats.org/officeDocument/2006/relationships/image" Target="../media/image173.png"/><Relationship Id="rId2" Type="http://schemas.openxmlformats.org/officeDocument/2006/relationships/image" Target="../media/image181.png"/><Relationship Id="rId1" Type="http://schemas.openxmlformats.org/officeDocument/2006/relationships/image" Target="../media/image180.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66.xml.rels><?xml version="1.0" encoding="UTF-8" standalone="yes"?>
<Relationships xmlns="http://schemas.openxmlformats.org/package/2006/relationships"><Relationship Id="rId9" Type="http://schemas.openxmlformats.org/officeDocument/2006/relationships/hyperlink" Target="http://www.elsevier.com/about/content-innovation/virtual-microscope" TargetMode="External"/><Relationship Id="rId8" Type="http://schemas.openxmlformats.org/officeDocument/2006/relationships/image" Target="../media/image186.png"/><Relationship Id="rId7" Type="http://schemas.openxmlformats.org/officeDocument/2006/relationships/hyperlink" Target="http://www.elsevier.com/about/content-innovation/interactive-pathways" TargetMode="External"/><Relationship Id="rId6" Type="http://schemas.openxmlformats.org/officeDocument/2006/relationships/image" Target="../media/image185.png"/><Relationship Id="rId5" Type="http://schemas.openxmlformats.org/officeDocument/2006/relationships/hyperlink" Target="http://www.elsevier.com/about/content-innovation/antibodies" TargetMode="External"/><Relationship Id="rId4" Type="http://schemas.openxmlformats.org/officeDocument/2006/relationships/image" Target="../media/image184.png"/><Relationship Id="rId3" Type="http://schemas.openxmlformats.org/officeDocument/2006/relationships/hyperlink" Target="http://www.elsevier.com/about/research-data/open-data" TargetMode="External"/><Relationship Id="rId22" Type="http://schemas.openxmlformats.org/officeDocument/2006/relationships/notesSlide" Target="../notesSlides/notesSlide24.xml"/><Relationship Id="rId21" Type="http://schemas.openxmlformats.org/officeDocument/2006/relationships/slideLayout" Target="../slideLayouts/slideLayout29.xml"/><Relationship Id="rId20" Type="http://schemas.openxmlformats.org/officeDocument/2006/relationships/image" Target="../media/image169.emf"/><Relationship Id="rId2" Type="http://schemas.openxmlformats.org/officeDocument/2006/relationships/image" Target="../media/image183.png"/><Relationship Id="rId19" Type="http://schemas.openxmlformats.org/officeDocument/2006/relationships/image" Target="../media/image192.png"/><Relationship Id="rId18" Type="http://schemas.openxmlformats.org/officeDocument/2006/relationships/hyperlink" Target="http://www.elsevier.com/about/content-innovation/interactive-case-insights" TargetMode="External"/><Relationship Id="rId17" Type="http://schemas.openxmlformats.org/officeDocument/2006/relationships/image" Target="../media/image191.png"/><Relationship Id="rId16" Type="http://schemas.openxmlformats.org/officeDocument/2006/relationships/image" Target="../media/image190.png"/><Relationship Id="rId15" Type="http://schemas.openxmlformats.org/officeDocument/2006/relationships/hyperlink" Target="http://www.elsevier.com/about/content-innovation/arabidopsis-gene-viewer" TargetMode="External"/><Relationship Id="rId14" Type="http://schemas.openxmlformats.org/officeDocument/2006/relationships/image" Target="../media/image189.png"/><Relationship Id="rId13" Type="http://schemas.openxmlformats.org/officeDocument/2006/relationships/hyperlink" Target="http://www.elsevier.com/about/content-innovation/3d-molecular-structures-in-journal-articles" TargetMode="External"/><Relationship Id="rId12" Type="http://schemas.openxmlformats.org/officeDocument/2006/relationships/image" Target="../media/image188.png"/><Relationship Id="rId11" Type="http://schemas.openxmlformats.org/officeDocument/2006/relationships/hyperlink" Target="http://www.elsevier.com/about/content-innovation/radiological-data" TargetMode="External"/><Relationship Id="rId10" Type="http://schemas.openxmlformats.org/officeDocument/2006/relationships/image" Target="../media/image187.png"/><Relationship Id="rId1" Type="http://schemas.openxmlformats.org/officeDocument/2006/relationships/image" Target="../media/image182.png"/></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hyperlink" Target="http://www.sciencedirect.com/science/article/pii/S2212054813000027" TargetMode="External"/><Relationship Id="rId1" Type="http://schemas.openxmlformats.org/officeDocument/2006/relationships/image" Target="../media/image193.png"/></Relationships>
</file>

<file path=ppt/slides/_rels/slide68.xml.rels><?xml version="1.0" encoding="UTF-8" standalone="yes"?>
<Relationships xmlns="http://schemas.openxmlformats.org/package/2006/relationships"><Relationship Id="rId5" Type="http://schemas.openxmlformats.org/officeDocument/2006/relationships/notesSlide" Target="../notesSlides/notesSlide25.xml"/><Relationship Id="rId4" Type="http://schemas.openxmlformats.org/officeDocument/2006/relationships/slideLayout" Target="../slideLayouts/slideLayout35.xml"/><Relationship Id="rId3" Type="http://schemas.openxmlformats.org/officeDocument/2006/relationships/hyperlink" Target="http://www.sciencedirect.com/science/article/pii/S2212440314004635" TargetMode="External"/><Relationship Id="rId2" Type="http://schemas.openxmlformats.org/officeDocument/2006/relationships/image" Target="../media/image195.jpeg"/><Relationship Id="rId1" Type="http://schemas.openxmlformats.org/officeDocument/2006/relationships/image" Target="../media/image194.png"/></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hyperlink" Target="http://www.sciencedirect.com/science/article/pii/S0926860X14003688" TargetMode="External"/><Relationship Id="rId1" Type="http://schemas.openxmlformats.org/officeDocument/2006/relationships/image" Target="../media/image196.png"/></Relationships>
</file>

<file path=ppt/slides/_rels/slide7.xml.rels><?xml version="1.0" encoding="UTF-8" standalone="yes"?>
<Relationships xmlns="http://schemas.openxmlformats.org/package/2006/relationships"><Relationship Id="rId9" Type="http://schemas.openxmlformats.org/officeDocument/2006/relationships/image" Target="../media/image31.GIF"/><Relationship Id="rId8" Type="http://schemas.openxmlformats.org/officeDocument/2006/relationships/image" Target="../media/image30.GIF"/><Relationship Id="rId7" Type="http://schemas.openxmlformats.org/officeDocument/2006/relationships/image" Target="../media/image29.GIF"/><Relationship Id="rId64" Type="http://schemas.openxmlformats.org/officeDocument/2006/relationships/notesSlide" Target="../notesSlides/notesSlide3.xml"/><Relationship Id="rId63" Type="http://schemas.openxmlformats.org/officeDocument/2006/relationships/slideLayout" Target="../slideLayouts/slideLayout29.xml"/><Relationship Id="rId62" Type="http://schemas.openxmlformats.org/officeDocument/2006/relationships/image" Target="../media/image84.GIF"/><Relationship Id="rId61" Type="http://schemas.openxmlformats.org/officeDocument/2006/relationships/image" Target="../media/image83.GIF"/><Relationship Id="rId60" Type="http://schemas.openxmlformats.org/officeDocument/2006/relationships/image" Target="../media/image82.GIF"/><Relationship Id="rId6" Type="http://schemas.openxmlformats.org/officeDocument/2006/relationships/image" Target="../media/image28.GIF"/><Relationship Id="rId59" Type="http://schemas.openxmlformats.org/officeDocument/2006/relationships/image" Target="../media/image81.GIF"/><Relationship Id="rId58" Type="http://schemas.openxmlformats.org/officeDocument/2006/relationships/image" Target="../media/image80.GIF"/><Relationship Id="rId57" Type="http://schemas.openxmlformats.org/officeDocument/2006/relationships/image" Target="../media/image79.GIF"/><Relationship Id="rId56" Type="http://schemas.openxmlformats.org/officeDocument/2006/relationships/image" Target="../media/image78.GIF"/><Relationship Id="rId55" Type="http://schemas.openxmlformats.org/officeDocument/2006/relationships/image" Target="../media/image77.GIF"/><Relationship Id="rId54" Type="http://schemas.openxmlformats.org/officeDocument/2006/relationships/image" Target="../media/image76.GIF"/><Relationship Id="rId53" Type="http://schemas.openxmlformats.org/officeDocument/2006/relationships/image" Target="../media/image75.GIF"/><Relationship Id="rId52" Type="http://schemas.openxmlformats.org/officeDocument/2006/relationships/image" Target="../media/image74.GIF"/><Relationship Id="rId51" Type="http://schemas.openxmlformats.org/officeDocument/2006/relationships/image" Target="../media/image73.GIF"/><Relationship Id="rId50" Type="http://schemas.openxmlformats.org/officeDocument/2006/relationships/image" Target="../media/image72.GIF"/><Relationship Id="rId5" Type="http://schemas.openxmlformats.org/officeDocument/2006/relationships/image" Target="../media/image27.GIF"/><Relationship Id="rId49" Type="http://schemas.openxmlformats.org/officeDocument/2006/relationships/image" Target="../media/image71.GIF"/><Relationship Id="rId48" Type="http://schemas.openxmlformats.org/officeDocument/2006/relationships/image" Target="../media/image70.GIF"/><Relationship Id="rId47" Type="http://schemas.openxmlformats.org/officeDocument/2006/relationships/image" Target="../media/image69.GIF"/><Relationship Id="rId46" Type="http://schemas.openxmlformats.org/officeDocument/2006/relationships/image" Target="../media/image68.GIF"/><Relationship Id="rId45" Type="http://schemas.openxmlformats.org/officeDocument/2006/relationships/image" Target="../media/image67.GIF"/><Relationship Id="rId44" Type="http://schemas.openxmlformats.org/officeDocument/2006/relationships/image" Target="../media/image66.GIF"/><Relationship Id="rId43" Type="http://schemas.openxmlformats.org/officeDocument/2006/relationships/image" Target="../media/image65.GIF"/><Relationship Id="rId42" Type="http://schemas.openxmlformats.org/officeDocument/2006/relationships/image" Target="../media/image64.GIF"/><Relationship Id="rId41" Type="http://schemas.openxmlformats.org/officeDocument/2006/relationships/image" Target="../media/image63.GIF"/><Relationship Id="rId40" Type="http://schemas.openxmlformats.org/officeDocument/2006/relationships/image" Target="../media/image62.GIF"/><Relationship Id="rId4" Type="http://schemas.openxmlformats.org/officeDocument/2006/relationships/image" Target="../media/image26.GIF"/><Relationship Id="rId39" Type="http://schemas.openxmlformats.org/officeDocument/2006/relationships/image" Target="../media/image61.GIF"/><Relationship Id="rId38" Type="http://schemas.openxmlformats.org/officeDocument/2006/relationships/image" Target="../media/image60.GIF"/><Relationship Id="rId37" Type="http://schemas.openxmlformats.org/officeDocument/2006/relationships/image" Target="../media/image59.GIF"/><Relationship Id="rId36" Type="http://schemas.openxmlformats.org/officeDocument/2006/relationships/image" Target="../media/image58.GIF"/><Relationship Id="rId35" Type="http://schemas.openxmlformats.org/officeDocument/2006/relationships/image" Target="../media/image57.GIF"/><Relationship Id="rId34" Type="http://schemas.openxmlformats.org/officeDocument/2006/relationships/image" Target="../media/image56.GIF"/><Relationship Id="rId33" Type="http://schemas.openxmlformats.org/officeDocument/2006/relationships/image" Target="../media/image55.GIF"/><Relationship Id="rId32" Type="http://schemas.openxmlformats.org/officeDocument/2006/relationships/image" Target="../media/image54.GIF"/><Relationship Id="rId31" Type="http://schemas.openxmlformats.org/officeDocument/2006/relationships/image" Target="../media/image53.GIF"/><Relationship Id="rId30" Type="http://schemas.openxmlformats.org/officeDocument/2006/relationships/image" Target="../media/image52.GIF"/><Relationship Id="rId3" Type="http://schemas.openxmlformats.org/officeDocument/2006/relationships/image" Target="../media/image25.GIF"/><Relationship Id="rId29" Type="http://schemas.openxmlformats.org/officeDocument/2006/relationships/image" Target="../media/image51.GIF"/><Relationship Id="rId28" Type="http://schemas.openxmlformats.org/officeDocument/2006/relationships/image" Target="../media/image50.GIF"/><Relationship Id="rId27" Type="http://schemas.openxmlformats.org/officeDocument/2006/relationships/image" Target="../media/image49.GIF"/><Relationship Id="rId26" Type="http://schemas.openxmlformats.org/officeDocument/2006/relationships/image" Target="../media/image48.GIF"/><Relationship Id="rId25" Type="http://schemas.openxmlformats.org/officeDocument/2006/relationships/image" Target="../media/image47.GIF"/><Relationship Id="rId24" Type="http://schemas.openxmlformats.org/officeDocument/2006/relationships/image" Target="../media/image46.GIF"/><Relationship Id="rId23" Type="http://schemas.openxmlformats.org/officeDocument/2006/relationships/image" Target="../media/image45.GIF"/><Relationship Id="rId22" Type="http://schemas.openxmlformats.org/officeDocument/2006/relationships/image" Target="../media/image44.GIF"/><Relationship Id="rId21" Type="http://schemas.openxmlformats.org/officeDocument/2006/relationships/image" Target="../media/image43.GIF"/><Relationship Id="rId20" Type="http://schemas.openxmlformats.org/officeDocument/2006/relationships/image" Target="../media/image42.GIF"/><Relationship Id="rId2" Type="http://schemas.openxmlformats.org/officeDocument/2006/relationships/image" Target="../media/image24.GIF"/><Relationship Id="rId19" Type="http://schemas.openxmlformats.org/officeDocument/2006/relationships/image" Target="../media/image41.GIF"/><Relationship Id="rId18" Type="http://schemas.openxmlformats.org/officeDocument/2006/relationships/image" Target="../media/image40.GIF"/><Relationship Id="rId17" Type="http://schemas.openxmlformats.org/officeDocument/2006/relationships/image" Target="../media/image39.GIF"/><Relationship Id="rId16" Type="http://schemas.openxmlformats.org/officeDocument/2006/relationships/image" Target="../media/image38.GIF"/><Relationship Id="rId15" Type="http://schemas.openxmlformats.org/officeDocument/2006/relationships/image" Target="../media/image37.GIF"/><Relationship Id="rId14" Type="http://schemas.openxmlformats.org/officeDocument/2006/relationships/image" Target="../media/image36.GIF"/><Relationship Id="rId13" Type="http://schemas.openxmlformats.org/officeDocument/2006/relationships/image" Target="../media/image35.GIF"/><Relationship Id="rId12" Type="http://schemas.openxmlformats.org/officeDocument/2006/relationships/image" Target="../media/image34.GIF"/><Relationship Id="rId11" Type="http://schemas.openxmlformats.org/officeDocument/2006/relationships/image" Target="../media/image33.GIF"/><Relationship Id="rId10" Type="http://schemas.openxmlformats.org/officeDocument/2006/relationships/image" Target="../media/image32.GIF"/><Relationship Id="rId1" Type="http://schemas.openxmlformats.org/officeDocument/2006/relationships/image" Target="../media/image23.GIF"/></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8.xml"/><Relationship Id="rId1" Type="http://schemas.openxmlformats.org/officeDocument/2006/relationships/image" Target="../media/image197.png"/></Relationships>
</file>

<file path=ppt/slides/_rels/slide71.xml.rels><?xml version="1.0" encoding="UTF-8" standalone="yes"?>
<Relationships xmlns="http://schemas.openxmlformats.org/package/2006/relationships"><Relationship Id="rId4" Type="http://schemas.openxmlformats.org/officeDocument/2006/relationships/notesSlide" Target="../notesSlides/notesSlide27.xml"/><Relationship Id="rId3" Type="http://schemas.openxmlformats.org/officeDocument/2006/relationships/slideLayout" Target="../slideLayouts/slideLayout29.xml"/><Relationship Id="rId2" Type="http://schemas.openxmlformats.org/officeDocument/2006/relationships/image" Target="../media/image199.png"/><Relationship Id="rId1" Type="http://schemas.openxmlformats.org/officeDocument/2006/relationships/image" Target="../media/image198.png"/></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73.xml.rels><?xml version="1.0" encoding="UTF-8" standalone="yes"?>
<Relationships xmlns="http://schemas.openxmlformats.org/package/2006/relationships"><Relationship Id="rId9" Type="http://schemas.openxmlformats.org/officeDocument/2006/relationships/tags" Target="../tags/tag75.xml"/><Relationship Id="rId8" Type="http://schemas.openxmlformats.org/officeDocument/2006/relationships/tags" Target="../tags/tag74.xml"/><Relationship Id="rId7" Type="http://schemas.openxmlformats.org/officeDocument/2006/relationships/tags" Target="../tags/tag73.xml"/><Relationship Id="rId6" Type="http://schemas.openxmlformats.org/officeDocument/2006/relationships/image" Target="../media/image204.png"/><Relationship Id="rId5" Type="http://schemas.openxmlformats.org/officeDocument/2006/relationships/image" Target="../media/image203.png"/><Relationship Id="rId4" Type="http://schemas.openxmlformats.org/officeDocument/2006/relationships/image" Target="../media/image202.png"/><Relationship Id="rId3" Type="http://schemas.openxmlformats.org/officeDocument/2006/relationships/image" Target="../media/image201.GIF"/><Relationship Id="rId2" Type="http://schemas.openxmlformats.org/officeDocument/2006/relationships/image" Target="../media/image200.jpeg"/><Relationship Id="rId14" Type="http://schemas.openxmlformats.org/officeDocument/2006/relationships/notesSlide" Target="../notesSlides/notesSlide28.xml"/><Relationship Id="rId13" Type="http://schemas.openxmlformats.org/officeDocument/2006/relationships/slideLayout" Target="../slideLayouts/slideLayout29.xml"/><Relationship Id="rId12" Type="http://schemas.openxmlformats.org/officeDocument/2006/relationships/image" Target="../media/image206.png"/><Relationship Id="rId11" Type="http://schemas.openxmlformats.org/officeDocument/2006/relationships/image" Target="../media/image205.png"/><Relationship Id="rId10" Type="http://schemas.openxmlformats.org/officeDocument/2006/relationships/tags" Target="../tags/tag76.xml"/><Relationship Id="rId1" Type="http://schemas.openxmlformats.org/officeDocument/2006/relationships/tags" Target="../tags/tag72.xml"/></Relationships>
</file>

<file path=ppt/slides/_rels/slide74.xml.rels><?xml version="1.0" encoding="UTF-8" standalone="yes"?>
<Relationships xmlns="http://schemas.openxmlformats.org/package/2006/relationships"><Relationship Id="rId4" Type="http://schemas.openxmlformats.org/officeDocument/2006/relationships/notesSlide" Target="../notesSlides/notesSlide29.xml"/><Relationship Id="rId3" Type="http://schemas.openxmlformats.org/officeDocument/2006/relationships/slideLayout" Target="../slideLayouts/slideLayout29.xml"/><Relationship Id="rId2" Type="http://schemas.openxmlformats.org/officeDocument/2006/relationships/image" Target="../media/image207.png"/><Relationship Id="rId1" Type="http://schemas.openxmlformats.org/officeDocument/2006/relationships/image" Target="../media/image156.png"/></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9.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9.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78.xml.rels><?xml version="1.0" encoding="UTF-8" standalone="yes"?>
<Relationships xmlns="http://schemas.openxmlformats.org/package/2006/relationships"><Relationship Id="rId8" Type="http://schemas.openxmlformats.org/officeDocument/2006/relationships/slideLayout" Target="../slideLayouts/slideLayout29.xml"/><Relationship Id="rId7" Type="http://schemas.openxmlformats.org/officeDocument/2006/relationships/image" Target="../media/image211.png"/><Relationship Id="rId6" Type="http://schemas.openxmlformats.org/officeDocument/2006/relationships/image" Target="../media/image106.jpeg"/><Relationship Id="rId5" Type="http://schemas.openxmlformats.org/officeDocument/2006/relationships/image" Target="../media/image210.jpeg"/><Relationship Id="rId4" Type="http://schemas.openxmlformats.org/officeDocument/2006/relationships/image" Target="../media/image209.png"/><Relationship Id="rId3" Type="http://schemas.openxmlformats.org/officeDocument/2006/relationships/image" Target="../media/image208.png"/><Relationship Id="rId2" Type="http://schemas.microsoft.com/office/2007/relationships/hdphoto" Target="../media/hdphoto2.wdp"/><Relationship Id="rId1" Type="http://schemas.openxmlformats.org/officeDocument/2006/relationships/image" Target="../media/image104.png"/></Relationships>
</file>

<file path=ppt/slides/_rels/slide79.xml.rels><?xml version="1.0" encoding="UTF-8" standalone="yes"?>
<Relationships xmlns="http://schemas.openxmlformats.org/package/2006/relationships"><Relationship Id="rId2" Type="http://schemas.openxmlformats.org/officeDocument/2006/relationships/slideLayout" Target="../slideLayouts/slideLayout39.xml"/><Relationship Id="rId1" Type="http://schemas.openxmlformats.org/officeDocument/2006/relationships/image" Target="../media/image212.wmf"/></Relationships>
</file>

<file path=ppt/slides/_rels/slide8.xml.rels><?xml version="1.0" encoding="UTF-8" standalone="yes"?>
<Relationships xmlns="http://schemas.openxmlformats.org/package/2006/relationships"><Relationship Id="rId4" Type="http://schemas.openxmlformats.org/officeDocument/2006/relationships/notesSlide" Target="../notesSlides/notesSlide4.xml"/><Relationship Id="rId3" Type="http://schemas.openxmlformats.org/officeDocument/2006/relationships/slideLayout" Target="../slideLayouts/slideLayout31.xml"/><Relationship Id="rId2" Type="http://schemas.openxmlformats.org/officeDocument/2006/relationships/chart" Target="../charts/chart3.xml"/><Relationship Id="rId1" Type="http://schemas.openxmlformats.org/officeDocument/2006/relationships/chart" Target="../charts/chart2.xml"/></Relationships>
</file>

<file path=ppt/slides/_rels/slide80.xml.rels><?xml version="1.0" encoding="UTF-8" standalone="yes"?>
<Relationships xmlns="http://schemas.openxmlformats.org/package/2006/relationships"><Relationship Id="rId5" Type="http://schemas.openxmlformats.org/officeDocument/2006/relationships/slideLayout" Target="../slideLayouts/slideLayout29.xml"/><Relationship Id="rId4" Type="http://schemas.openxmlformats.org/officeDocument/2006/relationships/image" Target="../media/image216.png"/><Relationship Id="rId3" Type="http://schemas.openxmlformats.org/officeDocument/2006/relationships/image" Target="../media/image215.jpeg"/><Relationship Id="rId2" Type="http://schemas.openxmlformats.org/officeDocument/2006/relationships/image" Target="../media/image214.png"/><Relationship Id="rId1" Type="http://schemas.openxmlformats.org/officeDocument/2006/relationships/image" Target="../media/image213.png"/></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9.xml"/></Relationships>
</file>

<file path=ppt/slides/_rels/slide82.xml.rels><?xml version="1.0" encoding="UTF-8" standalone="yes"?>
<Relationships xmlns="http://schemas.openxmlformats.org/package/2006/relationships"><Relationship Id="rId6" Type="http://schemas.openxmlformats.org/officeDocument/2006/relationships/notesSlide" Target="../notesSlides/notesSlide33.xml"/><Relationship Id="rId5" Type="http://schemas.openxmlformats.org/officeDocument/2006/relationships/vmlDrawing" Target="../drawings/vmlDrawing1.vml"/><Relationship Id="rId4" Type="http://schemas.openxmlformats.org/officeDocument/2006/relationships/slideLayout" Target="../slideLayouts/slideLayout39.xml"/><Relationship Id="rId3" Type="http://schemas.openxmlformats.org/officeDocument/2006/relationships/image" Target="../media/image218.png"/><Relationship Id="rId2" Type="http://schemas.openxmlformats.org/officeDocument/2006/relationships/image" Target="../media/image217.emf"/><Relationship Id="rId1" Type="http://schemas.openxmlformats.org/officeDocument/2006/relationships/oleObject" Target="../embeddings/oleObject1.bin"/></Relationships>
</file>

<file path=ppt/slides/_rels/slide83.xml.rels><?xml version="1.0" encoding="UTF-8" standalone="yes"?>
<Relationships xmlns="http://schemas.openxmlformats.org/package/2006/relationships"><Relationship Id="rId9" Type="http://schemas.openxmlformats.org/officeDocument/2006/relationships/diagramColors" Target="../diagrams/colors5.xml"/><Relationship Id="rId8" Type="http://schemas.openxmlformats.org/officeDocument/2006/relationships/diagramQuickStyle" Target="../diagrams/quickStyle5.xml"/><Relationship Id="rId7" Type="http://schemas.openxmlformats.org/officeDocument/2006/relationships/diagramLayout" Target="../diagrams/layout5.xml"/><Relationship Id="rId6" Type="http://schemas.openxmlformats.org/officeDocument/2006/relationships/diagramData" Target="../diagrams/data5.xml"/><Relationship Id="rId5" Type="http://schemas.microsoft.com/office/2007/relationships/diagramDrawing" Target="../diagrams/drawing4.xml"/><Relationship Id="rId4" Type="http://schemas.openxmlformats.org/officeDocument/2006/relationships/diagramColors" Target="../diagrams/colors4.xml"/><Relationship Id="rId3" Type="http://schemas.openxmlformats.org/officeDocument/2006/relationships/diagramQuickStyle" Target="../diagrams/quickStyle4.xml"/><Relationship Id="rId2" Type="http://schemas.openxmlformats.org/officeDocument/2006/relationships/diagramLayout" Target="../diagrams/layout4.xml"/><Relationship Id="rId12" Type="http://schemas.openxmlformats.org/officeDocument/2006/relationships/notesSlide" Target="../notesSlides/notesSlide34.xml"/><Relationship Id="rId11" Type="http://schemas.openxmlformats.org/officeDocument/2006/relationships/slideLayout" Target="../slideLayouts/slideLayout39.xml"/><Relationship Id="rId10" Type="http://schemas.microsoft.com/office/2007/relationships/diagramDrawing" Target="../diagrams/drawing5.xml"/><Relationship Id="rId1" Type="http://schemas.openxmlformats.org/officeDocument/2006/relationships/diagramData" Target="../diagrams/data4.xml"/></Relationships>
</file>

<file path=ppt/slides/_rels/slide84.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39.xml"/><Relationship Id="rId1" Type="http://schemas.openxmlformats.org/officeDocument/2006/relationships/image" Target="../media/image219.jpeg"/></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39.xml"/><Relationship Id="rId1" Type="http://schemas.openxmlformats.org/officeDocument/2006/relationships/image" Target="../media/image220.png"/></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9.xml"/></Relationships>
</file>

<file path=ppt/slides/_rels/slide87.xml.rels><?xml version="1.0" encoding="UTF-8" standalone="yes"?>
<Relationships xmlns="http://schemas.openxmlformats.org/package/2006/relationships"><Relationship Id="rId5" Type="http://schemas.openxmlformats.org/officeDocument/2006/relationships/notesSlide" Target="../notesSlides/notesSlide38.xml"/><Relationship Id="rId4" Type="http://schemas.openxmlformats.org/officeDocument/2006/relationships/slideLayout" Target="../slideLayouts/slideLayout39.xml"/><Relationship Id="rId3" Type="http://schemas.openxmlformats.org/officeDocument/2006/relationships/image" Target="../media/image223.jpeg"/><Relationship Id="rId2" Type="http://schemas.openxmlformats.org/officeDocument/2006/relationships/image" Target="../media/image222.jpeg"/><Relationship Id="rId1" Type="http://schemas.openxmlformats.org/officeDocument/2006/relationships/image" Target="../media/image221.jpeg"/></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31.xml"/><Relationship Id="rId1" Type="http://schemas.openxmlformats.org/officeDocument/2006/relationships/image" Target="../media/image8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ctrTitle"/>
          </p:nvPr>
        </p:nvSpPr>
        <p:spPr/>
        <p:txBody>
          <a:bodyPr/>
          <a:lstStyle/>
          <a:p>
            <a:r>
              <a:rPr lang="zh-CN" altLang="en-US" sz="2800" dirty="0"/>
              <a:t>通过</a:t>
            </a:r>
            <a:r>
              <a:rPr lang="en-US" sz="2800" dirty="0"/>
              <a:t>ScienceDirect</a:t>
            </a:r>
            <a:r>
              <a:rPr lang="zh-CN" altLang="en-US" sz="2800" dirty="0"/>
              <a:t>建立高效的文献阅读习惯</a:t>
            </a:r>
            <a:endParaRPr lang="en-US" sz="2800" dirty="0"/>
          </a:p>
        </p:txBody>
      </p:sp>
      <p:sp>
        <p:nvSpPr>
          <p:cNvPr id="17" name="Text Placeholder 16"/>
          <p:cNvSpPr>
            <a:spLocks noGrp="1"/>
          </p:cNvSpPr>
          <p:nvPr>
            <p:ph type="body" sz="quarter" idx="11"/>
          </p:nvPr>
        </p:nvSpPr>
        <p:spPr/>
        <p:txBody>
          <a:bodyPr/>
          <a:lstStyle/>
          <a:p>
            <a:r>
              <a:rPr lang="en-US" dirty="0"/>
              <a:t>2017 O</a:t>
            </a:r>
            <a:r>
              <a:rPr lang="en-US" altLang="zh-CN" dirty="0"/>
              <a:t>ct.</a:t>
            </a:r>
            <a:endParaRPr lang="en-US" dirty="0"/>
          </a:p>
        </p:txBody>
      </p:sp>
      <p:sp>
        <p:nvSpPr>
          <p:cNvPr id="8" name="Subtitle 4"/>
          <p:cNvSpPr>
            <a:spLocks noGrp="1"/>
          </p:cNvSpPr>
          <p:nvPr>
            <p:ph type="subTitle" idx="1"/>
          </p:nvPr>
        </p:nvSpPr>
        <p:spPr>
          <a:xfrm>
            <a:off x="4823116" y="3835859"/>
            <a:ext cx="4225350" cy="1284154"/>
          </a:xfrm>
          <a:prstGeom prst="rect">
            <a:avLst/>
          </a:prstGeom>
        </p:spPr>
        <p:txBody>
          <a:bodyPr/>
          <a:lstStyle>
            <a:lvl1pPr marL="0" indent="0" algn="l" defTabSz="457200" rtl="0" eaLnBrk="1" latinLnBrk="0" hangingPunct="1">
              <a:spcBef>
                <a:spcPct val="20000"/>
              </a:spcBef>
              <a:buFont typeface="Arial" panose="020B0604020202020204"/>
              <a:buNone/>
              <a:defRPr sz="1600" kern="1200">
                <a:solidFill>
                  <a:srgbClr val="53565A"/>
                </a:solidFill>
                <a:latin typeface="Arial" panose="020B0604020202020204"/>
                <a:ea typeface="+mn-ea"/>
                <a:cs typeface="Arial" panose="020B0604020202020204"/>
              </a:defRPr>
            </a:lvl1pPr>
            <a:lvl2pPr marL="457200" indent="0" algn="ctr" defTabSz="457200" rtl="0" eaLnBrk="1" latinLnBrk="0" hangingPunct="1">
              <a:spcBef>
                <a:spcPct val="20000"/>
              </a:spcBef>
              <a:buFont typeface="Arial" panose="020B0604020202020204"/>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panose="020B0604020202020204"/>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panose="020B0604020202020204"/>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panose="020B0604020202020204"/>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panose="020B0604020202020204"/>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panose="020B0604020202020204"/>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panose="020B0604020202020204"/>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panose="020B0604020202020204"/>
              <a:buNone/>
              <a:defRPr sz="2000" kern="1200">
                <a:solidFill>
                  <a:schemeClr val="tx1">
                    <a:tint val="75000"/>
                  </a:schemeClr>
                </a:solidFill>
                <a:latin typeface="+mn-lt"/>
                <a:ea typeface="+mn-ea"/>
                <a:cs typeface="+mn-cs"/>
              </a:defRPr>
            </a:lvl9pPr>
          </a:lstStyle>
          <a:p>
            <a:r>
              <a:rPr lang="en-US" altLang="zh-CN" sz="1200" dirty="0"/>
              <a:t>Name</a:t>
            </a:r>
            <a:r>
              <a:rPr lang="zh-CN" altLang="en-US" sz="1200" dirty="0"/>
              <a:t>：</a:t>
            </a:r>
            <a:endParaRPr lang="en-US" altLang="zh-CN" sz="1200" dirty="0"/>
          </a:p>
          <a:p>
            <a:r>
              <a:rPr lang="zh-CN" altLang="en-US" dirty="0"/>
              <a:t>励德爱思唯尔信息技术（北京）有限公司</a:t>
            </a:r>
            <a:endParaRPr lang="en-US" altLang="zh-CN" dirty="0"/>
          </a:p>
          <a:p>
            <a:r>
              <a:rPr lang="en-US" altLang="zh-CN" sz="1200" dirty="0"/>
              <a:t>Reed Elsevier Information Technology (Beijing) Co., Ltd</a:t>
            </a:r>
            <a:endParaRPr lang="en-US" altLang="zh-CN" sz="1200" dirty="0"/>
          </a:p>
        </p:txBody>
      </p:sp>
      <p:pic>
        <p:nvPicPr>
          <p:cNvPr id="2" name="图片 1"/>
          <p:cNvPicPr>
            <a:picLocks noChangeAspect="1"/>
          </p:cNvPicPr>
          <p:nvPr/>
        </p:nvPicPr>
        <p:blipFill>
          <a:blip r:embed="rId1"/>
          <a:stretch>
            <a:fillRect/>
          </a:stretch>
        </p:blipFill>
        <p:spPr>
          <a:xfrm>
            <a:off x="4614545" y="427355"/>
            <a:ext cx="3352165" cy="8001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80"/>
          <p:cNvSpPr/>
          <p:nvPr/>
        </p:nvSpPr>
        <p:spPr>
          <a:xfrm>
            <a:off x="1386052" y="5337339"/>
            <a:ext cx="6858000" cy="962025"/>
          </a:xfrm>
          <a:prstGeom prst="rect">
            <a:avLst/>
          </a:prstGeom>
          <a:gradFill flip="none" rotWithShape="1">
            <a:gsLst>
              <a:gs pos="80000">
                <a:schemeClr val="bg2">
                  <a:lumMod val="20000"/>
                  <a:lumOff val="80000"/>
                </a:schemeClr>
              </a:gs>
              <a:gs pos="20000">
                <a:schemeClr val="bg2">
                  <a:lumMod val="20000"/>
                  <a:lumOff val="80000"/>
                </a:schemeClr>
              </a:gs>
              <a:gs pos="0">
                <a:schemeClr val="bg1"/>
              </a:gs>
              <a:gs pos="100000">
                <a:schemeClr val="bg1"/>
              </a:gs>
              <a:gs pos="50000">
                <a:schemeClr val="bg2">
                  <a:lumMod val="40000"/>
                  <a:lumOff val="60000"/>
                </a:schemeClr>
              </a:gs>
            </a:gsLst>
            <a:lin ang="10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6" name="Rectangle 5"/>
          <p:cNvSpPr/>
          <p:nvPr/>
        </p:nvSpPr>
        <p:spPr>
          <a:xfrm>
            <a:off x="6650231" y="2667725"/>
            <a:ext cx="1200150" cy="346089"/>
          </a:xfrm>
          <a:prstGeom prst="rect">
            <a:avLst/>
          </a:prstGeom>
          <a:solidFill>
            <a:schemeClr val="accent6">
              <a:lumMod val="40000"/>
              <a:lumOff val="60000"/>
            </a:scheme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p>
        </p:txBody>
      </p:sp>
      <p:sp>
        <p:nvSpPr>
          <p:cNvPr id="7" name="Rectangle 6"/>
          <p:cNvSpPr/>
          <p:nvPr/>
        </p:nvSpPr>
        <p:spPr>
          <a:xfrm>
            <a:off x="5455706" y="2667725"/>
            <a:ext cx="1196240" cy="350852"/>
          </a:xfrm>
          <a:prstGeom prst="rect">
            <a:avLst/>
          </a:prstGeom>
          <a:solidFill>
            <a:schemeClr val="accent1">
              <a:alpha val="25000"/>
            </a:scheme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8" name="Rectangle 7"/>
          <p:cNvSpPr/>
          <p:nvPr/>
        </p:nvSpPr>
        <p:spPr>
          <a:xfrm>
            <a:off x="4262429" y="2661673"/>
            <a:ext cx="1195733" cy="356904"/>
          </a:xfrm>
          <a:prstGeom prst="rect">
            <a:avLst/>
          </a:prstGeom>
          <a:solidFill>
            <a:schemeClr val="accent6">
              <a:lumMod val="40000"/>
              <a:lumOff val="60000"/>
            </a:scheme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p>
        </p:txBody>
      </p:sp>
      <p:sp>
        <p:nvSpPr>
          <p:cNvPr id="9" name="Rectangle 8"/>
          <p:cNvSpPr/>
          <p:nvPr/>
        </p:nvSpPr>
        <p:spPr>
          <a:xfrm>
            <a:off x="3064424" y="2667725"/>
            <a:ext cx="1199492" cy="350852"/>
          </a:xfrm>
          <a:prstGeom prst="rect">
            <a:avLst/>
          </a:prstGeom>
          <a:solidFill>
            <a:srgbClr val="007398">
              <a:alpha val="25000"/>
            </a:srgb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10" name="Rectangle 9"/>
          <p:cNvSpPr/>
          <p:nvPr/>
        </p:nvSpPr>
        <p:spPr>
          <a:xfrm>
            <a:off x="1865876" y="2632590"/>
            <a:ext cx="1194983" cy="381224"/>
          </a:xfrm>
          <a:prstGeom prst="rect">
            <a:avLst/>
          </a:prstGeom>
          <a:solidFill>
            <a:schemeClr val="accent2">
              <a:lumMod val="20000"/>
              <a:lumOff val="80000"/>
            </a:schemeClr>
          </a:solidFill>
          <a:ln w="6350"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00" dirty="0"/>
          </a:p>
        </p:txBody>
      </p:sp>
      <p:sp>
        <p:nvSpPr>
          <p:cNvPr id="4" name="Text Placeholder 3"/>
          <p:cNvSpPr>
            <a:spLocks noGrp="1"/>
          </p:cNvSpPr>
          <p:nvPr>
            <p:ph type="body" sz="quarter" idx="10"/>
          </p:nvPr>
        </p:nvSpPr>
        <p:spPr>
          <a:xfrm>
            <a:off x="112980" y="660926"/>
            <a:ext cx="8944865" cy="701330"/>
          </a:xfrm>
        </p:spPr>
        <p:txBody>
          <a:bodyPr/>
          <a:lstStyle/>
          <a:p>
            <a:pPr>
              <a:lnSpc>
                <a:spcPct val="150000"/>
              </a:lnSpc>
            </a:pPr>
            <a:r>
              <a:rPr lang="en-US" altLang="zh-CN" sz="1800" b="1" dirty="0">
                <a:latin typeface="Microsoft YaHei UI" panose="020B0503020204020204" pitchFamily="34" charset="-122"/>
                <a:ea typeface="Microsoft YaHei UI" panose="020B0503020204020204" pitchFamily="34" charset="-122"/>
              </a:rPr>
              <a:t>Elsevier</a:t>
            </a:r>
            <a:r>
              <a:rPr lang="zh-CN" altLang="en-US" sz="1800" b="1" dirty="0">
                <a:latin typeface="Microsoft YaHei UI" panose="020B0503020204020204" pitchFamily="34" charset="-122"/>
                <a:ea typeface="Microsoft YaHei UI" panose="020B0503020204020204" pitchFamily="34" charset="-122"/>
              </a:rPr>
              <a:t>启动了从“内容”到“内容 </a:t>
            </a:r>
            <a:r>
              <a:rPr lang="en-US" altLang="zh-CN" sz="1800" b="1" dirty="0">
                <a:latin typeface="Microsoft YaHei UI" panose="020B0503020204020204" pitchFamily="34" charset="-122"/>
                <a:ea typeface="Microsoft YaHei UI" panose="020B0503020204020204" pitchFamily="34" charset="-122"/>
              </a:rPr>
              <a:t>+ </a:t>
            </a:r>
            <a:r>
              <a:rPr lang="zh-CN" altLang="en-US" sz="1800" b="1" dirty="0">
                <a:latin typeface="Microsoft YaHei UI" panose="020B0503020204020204" pitchFamily="34" charset="-122"/>
                <a:ea typeface="Microsoft YaHei UI" panose="020B0503020204020204" pitchFamily="34" charset="-122"/>
              </a:rPr>
              <a:t>技术”的创新转换。</a:t>
            </a:r>
            <a:r>
              <a:rPr lang="en-US" altLang="zh-CN" sz="1800" b="1" dirty="0">
                <a:latin typeface="Microsoft YaHei UI" panose="020B0503020204020204" pitchFamily="34" charset="-122"/>
                <a:ea typeface="Microsoft YaHei UI" panose="020B0503020204020204" pitchFamily="34" charset="-122"/>
              </a:rPr>
              <a:t>Elsevier</a:t>
            </a:r>
            <a:r>
              <a:rPr lang="zh-CN" altLang="en-US" sz="1800" b="1" dirty="0">
                <a:latin typeface="Microsoft YaHei UI" panose="020B0503020204020204" pitchFamily="34" charset="-122"/>
                <a:ea typeface="Microsoft YaHei UI" panose="020B0503020204020204" pitchFamily="34" charset="-122"/>
              </a:rPr>
              <a:t>通过与中国科研机构的图书馆、规划办公室、研究人员以及其他相关人员的合作，我们可以为科研人员提供信息支持服务</a:t>
            </a:r>
            <a:endParaRPr lang="en-US" sz="1800" b="1" dirty="0">
              <a:latin typeface="Arial Bold" panose="020B0704020202020204" pitchFamily="34" charset="0"/>
              <a:cs typeface="Arial Bold" panose="020B0704020202020204" pitchFamily="34" charset="0"/>
            </a:endParaRPr>
          </a:p>
        </p:txBody>
      </p:sp>
      <p:sp>
        <p:nvSpPr>
          <p:cNvPr id="27" name="TextBox 26"/>
          <p:cNvSpPr txBox="1"/>
          <p:nvPr/>
        </p:nvSpPr>
        <p:spPr>
          <a:xfrm>
            <a:off x="1848015" y="2702441"/>
            <a:ext cx="1223963" cy="456087"/>
          </a:xfrm>
          <a:prstGeom prst="rect">
            <a:avLst/>
          </a:prstGeom>
          <a:noFill/>
        </p:spPr>
        <p:txBody>
          <a:bodyPr wrap="square" rtlCol="0">
            <a:spAutoFit/>
          </a:bodyPr>
          <a:lstStyle>
            <a:defPPr>
              <a:defRPr lang="en-US"/>
            </a:defPPr>
            <a:lvl1pPr algn="ctr">
              <a:defRPr sz="1050">
                <a:latin typeface="Arial" panose="020B0604020202020204"/>
                <a:cs typeface="Arial" panose="020B0604020202020204"/>
              </a:defRPr>
            </a:lvl1pPr>
          </a:lstStyle>
          <a:p>
            <a:r>
              <a:rPr lang="en-US" sz="790" dirty="0"/>
              <a:t>Elsevier eBooks, Online Journals, Databases</a:t>
            </a:r>
            <a:endParaRPr lang="en-US" sz="790" dirty="0"/>
          </a:p>
        </p:txBody>
      </p:sp>
      <p:sp>
        <p:nvSpPr>
          <p:cNvPr id="14" name="TextBox 13"/>
          <p:cNvSpPr txBox="1"/>
          <p:nvPr/>
        </p:nvSpPr>
        <p:spPr>
          <a:xfrm rot="16200000">
            <a:off x="1395105" y="4854632"/>
            <a:ext cx="784718" cy="207749"/>
          </a:xfrm>
          <a:prstGeom prst="rect">
            <a:avLst/>
          </a:prstGeom>
          <a:noFill/>
          <a:ln>
            <a:noFill/>
            <a:prstDash val="dot"/>
          </a:ln>
        </p:spPr>
        <p:txBody>
          <a:bodyPr wrap="square" rtlCol="0">
            <a:spAutoFit/>
          </a:bodyPr>
          <a:lstStyle/>
          <a:p>
            <a:pPr algn="ctr"/>
            <a:r>
              <a:rPr lang="en-US" sz="750" dirty="0">
                <a:latin typeface="Arial" panose="020B0604020202020204"/>
                <a:cs typeface="Arial" panose="020B0604020202020204"/>
              </a:rPr>
              <a:t>PLATFORMS</a:t>
            </a:r>
            <a:endParaRPr lang="en-US" sz="750" dirty="0">
              <a:latin typeface="Arial" panose="020B0604020202020204"/>
              <a:cs typeface="Arial" panose="020B0604020202020204"/>
            </a:endParaRPr>
          </a:p>
        </p:txBody>
      </p:sp>
      <p:sp>
        <p:nvSpPr>
          <p:cNvPr id="63" name="Rectangle 62"/>
          <p:cNvSpPr/>
          <p:nvPr/>
        </p:nvSpPr>
        <p:spPr>
          <a:xfrm>
            <a:off x="1795627"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panose="020B0604020202020204"/>
                <a:cs typeface="Arial" panose="020B0604020202020204"/>
              </a:rPr>
              <a:t>Over the last</a:t>
            </a:r>
            <a:endParaRPr lang="en-US" sz="750" dirty="0">
              <a:solidFill>
                <a:srgbClr val="53565A"/>
              </a:solidFill>
              <a:latin typeface="Arial" panose="020B0604020202020204"/>
              <a:cs typeface="Arial" panose="020B0604020202020204"/>
            </a:endParaRPr>
          </a:p>
          <a:p>
            <a:r>
              <a:rPr lang="en-US" sz="750" b="1" dirty="0">
                <a:solidFill>
                  <a:srgbClr val="53565A"/>
                </a:solidFill>
                <a:latin typeface="Arial" panose="020B0604020202020204"/>
                <a:cs typeface="Arial" panose="020B0604020202020204"/>
              </a:rPr>
              <a:t>50 years </a:t>
            </a:r>
            <a:r>
              <a:rPr lang="en-US" sz="750" dirty="0">
                <a:solidFill>
                  <a:srgbClr val="53565A"/>
                </a:solidFill>
                <a:latin typeface="Arial" panose="020B0604020202020204"/>
                <a:cs typeface="Arial" panose="020B0604020202020204"/>
              </a:rPr>
              <a:t>the majority of Noble Laureates have published with Elsevier</a:t>
            </a:r>
            <a:endParaRPr lang="en-US" sz="750" dirty="0">
              <a:solidFill>
                <a:srgbClr val="53565A"/>
              </a:solidFill>
              <a:latin typeface="Arial" panose="020B0604020202020204"/>
              <a:cs typeface="Arial" panose="020B0604020202020204"/>
            </a:endParaRPr>
          </a:p>
        </p:txBody>
      </p:sp>
      <p:sp>
        <p:nvSpPr>
          <p:cNvPr id="11" name="Rectangle 10"/>
          <p:cNvSpPr/>
          <p:nvPr/>
        </p:nvSpPr>
        <p:spPr>
          <a:xfrm>
            <a:off x="4438149"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panose="020B0604020202020204"/>
                <a:cs typeface="Arial" panose="020B0604020202020204"/>
              </a:rPr>
              <a:t>Published over </a:t>
            </a:r>
            <a:endParaRPr lang="en-US" sz="750" dirty="0">
              <a:solidFill>
                <a:srgbClr val="53565A"/>
              </a:solidFill>
              <a:latin typeface="Arial" panose="020B0604020202020204"/>
              <a:cs typeface="Arial" panose="020B0604020202020204"/>
            </a:endParaRPr>
          </a:p>
          <a:p>
            <a:r>
              <a:rPr lang="en-US" sz="750" b="1" dirty="0">
                <a:solidFill>
                  <a:srgbClr val="53565A"/>
                </a:solidFill>
                <a:latin typeface="Arial" panose="020B0604020202020204"/>
                <a:cs typeface="Arial" panose="020B0604020202020204"/>
              </a:rPr>
              <a:t>360,000</a:t>
            </a:r>
            <a:r>
              <a:rPr lang="en-US" sz="750" dirty="0">
                <a:solidFill>
                  <a:srgbClr val="53565A"/>
                </a:solidFill>
              </a:rPr>
              <a:t> </a:t>
            </a:r>
            <a:r>
              <a:rPr lang="en-US" sz="750" b="1" dirty="0">
                <a:solidFill>
                  <a:srgbClr val="53565A"/>
                </a:solidFill>
                <a:latin typeface="Arial" panose="020B0604020202020204"/>
                <a:cs typeface="Arial" panose="020B0604020202020204"/>
              </a:rPr>
              <a:t>articles</a:t>
            </a:r>
            <a:endParaRPr lang="en-US" sz="750" b="1" dirty="0">
              <a:solidFill>
                <a:srgbClr val="53565A"/>
              </a:solidFill>
              <a:latin typeface="Arial" panose="020B0604020202020204"/>
              <a:cs typeface="Arial" panose="020B0604020202020204"/>
            </a:endParaRPr>
          </a:p>
          <a:p>
            <a:r>
              <a:rPr lang="en-US" sz="750" dirty="0">
                <a:solidFill>
                  <a:srgbClr val="53565A"/>
                </a:solidFill>
                <a:latin typeface="Arial" panose="020B0604020202020204"/>
                <a:cs typeface="Arial" panose="020B0604020202020204"/>
              </a:rPr>
              <a:t>in 2014</a:t>
            </a:r>
            <a:endParaRPr lang="en-US" sz="750" dirty="0">
              <a:solidFill>
                <a:srgbClr val="53565A"/>
              </a:solidFill>
              <a:latin typeface="Arial" panose="020B0604020202020204"/>
              <a:cs typeface="Arial" panose="020B0604020202020204"/>
            </a:endParaRPr>
          </a:p>
        </p:txBody>
      </p:sp>
      <p:sp>
        <p:nvSpPr>
          <p:cNvPr id="12" name="Rectangle 11"/>
          <p:cNvSpPr/>
          <p:nvPr/>
        </p:nvSpPr>
        <p:spPr>
          <a:xfrm>
            <a:off x="2676468"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panose="020B0604020202020204"/>
                <a:cs typeface="Arial" panose="020B0604020202020204"/>
              </a:rPr>
              <a:t>Founded over </a:t>
            </a:r>
            <a:endParaRPr lang="en-US" sz="750" dirty="0">
              <a:solidFill>
                <a:srgbClr val="53565A"/>
              </a:solidFill>
              <a:latin typeface="Arial" panose="020B0604020202020204"/>
              <a:cs typeface="Arial" panose="020B0604020202020204"/>
            </a:endParaRPr>
          </a:p>
          <a:p>
            <a:r>
              <a:rPr lang="en-US" sz="750" b="1" dirty="0">
                <a:solidFill>
                  <a:srgbClr val="53565A"/>
                </a:solidFill>
                <a:latin typeface="Arial" panose="020B0604020202020204"/>
                <a:cs typeface="Arial" panose="020B0604020202020204"/>
              </a:rPr>
              <a:t>130 years ago </a:t>
            </a:r>
            <a:endParaRPr lang="en-US" sz="750" dirty="0">
              <a:solidFill>
                <a:srgbClr val="53565A"/>
              </a:solidFill>
              <a:latin typeface="Arial" panose="020B0604020202020204"/>
              <a:cs typeface="Arial" panose="020B0604020202020204"/>
            </a:endParaRPr>
          </a:p>
        </p:txBody>
      </p:sp>
      <p:sp>
        <p:nvSpPr>
          <p:cNvPr id="16" name="Rectangle 15"/>
          <p:cNvSpPr/>
          <p:nvPr/>
        </p:nvSpPr>
        <p:spPr>
          <a:xfrm>
            <a:off x="6199830"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panose="020B0604020202020204"/>
                <a:cs typeface="Arial" panose="020B0604020202020204"/>
              </a:rPr>
              <a:t>Work with over </a:t>
            </a:r>
            <a:endParaRPr lang="en-US" sz="750" dirty="0">
              <a:solidFill>
                <a:srgbClr val="53565A"/>
              </a:solidFill>
              <a:latin typeface="Arial" panose="020B0604020202020204"/>
              <a:cs typeface="Arial" panose="020B0604020202020204"/>
            </a:endParaRPr>
          </a:p>
          <a:p>
            <a:r>
              <a:rPr lang="en-US" sz="750" b="1" dirty="0">
                <a:solidFill>
                  <a:srgbClr val="53565A"/>
                </a:solidFill>
                <a:latin typeface="Arial" panose="020B0604020202020204"/>
                <a:cs typeface="Arial" panose="020B0604020202020204"/>
              </a:rPr>
              <a:t>30 million   </a:t>
            </a:r>
            <a:endParaRPr lang="en-US" sz="750" b="1" dirty="0">
              <a:solidFill>
                <a:srgbClr val="53565A"/>
              </a:solidFill>
              <a:latin typeface="Arial" panose="020B0604020202020204"/>
              <a:cs typeface="Arial" panose="020B0604020202020204"/>
            </a:endParaRPr>
          </a:p>
          <a:p>
            <a:r>
              <a:rPr lang="en-US" sz="750" dirty="0">
                <a:solidFill>
                  <a:srgbClr val="53565A"/>
                </a:solidFill>
                <a:latin typeface="Arial" panose="020B0604020202020204"/>
                <a:cs typeface="Arial" panose="020B0604020202020204"/>
              </a:rPr>
              <a:t>Scientists, students, health  &amp; information professionals</a:t>
            </a:r>
            <a:endParaRPr lang="en-US" sz="750" dirty="0">
              <a:solidFill>
                <a:srgbClr val="53565A"/>
              </a:solidFill>
              <a:latin typeface="Arial" panose="020B0604020202020204"/>
              <a:cs typeface="Arial" panose="020B0604020202020204"/>
            </a:endParaRPr>
          </a:p>
        </p:txBody>
      </p:sp>
      <p:sp>
        <p:nvSpPr>
          <p:cNvPr id="17" name="Rectangle 16"/>
          <p:cNvSpPr/>
          <p:nvPr/>
        </p:nvSpPr>
        <p:spPr>
          <a:xfrm>
            <a:off x="3557308"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panose="020B0604020202020204"/>
                <a:cs typeface="Arial" panose="020B0604020202020204"/>
              </a:rPr>
              <a:t>Employ over </a:t>
            </a:r>
            <a:endParaRPr lang="en-US" sz="750" dirty="0">
              <a:solidFill>
                <a:srgbClr val="53565A"/>
              </a:solidFill>
              <a:latin typeface="Arial" panose="020B0604020202020204"/>
              <a:cs typeface="Arial" panose="020B0604020202020204"/>
            </a:endParaRPr>
          </a:p>
          <a:p>
            <a:r>
              <a:rPr lang="en-US" sz="750" b="1" dirty="0">
                <a:solidFill>
                  <a:srgbClr val="53565A"/>
                </a:solidFill>
                <a:latin typeface="Arial" panose="020B0604020202020204"/>
                <a:cs typeface="Arial" panose="020B0604020202020204"/>
              </a:rPr>
              <a:t>7,000 employees</a:t>
            </a:r>
            <a:endParaRPr lang="en-US" sz="750" b="1" dirty="0">
              <a:solidFill>
                <a:srgbClr val="53565A"/>
              </a:solidFill>
              <a:latin typeface="Arial" panose="020B0604020202020204"/>
              <a:cs typeface="Arial" panose="020B0604020202020204"/>
            </a:endParaRPr>
          </a:p>
          <a:p>
            <a:r>
              <a:rPr lang="en-US" sz="750" dirty="0">
                <a:solidFill>
                  <a:srgbClr val="53565A"/>
                </a:solidFill>
                <a:latin typeface="Arial" panose="020B0604020202020204"/>
                <a:cs typeface="Arial" panose="020B0604020202020204"/>
              </a:rPr>
              <a:t>in 24 countries  </a:t>
            </a:r>
            <a:endParaRPr lang="en-US" sz="750" dirty="0">
              <a:solidFill>
                <a:srgbClr val="53565A"/>
              </a:solidFill>
              <a:latin typeface="Arial" panose="020B0604020202020204"/>
              <a:cs typeface="Arial" panose="020B0604020202020204"/>
            </a:endParaRPr>
          </a:p>
        </p:txBody>
      </p:sp>
      <p:sp>
        <p:nvSpPr>
          <p:cNvPr id="18" name="Rectangle 17"/>
          <p:cNvSpPr/>
          <p:nvPr/>
        </p:nvSpPr>
        <p:spPr>
          <a:xfrm>
            <a:off x="5318989" y="5343431"/>
            <a:ext cx="836676" cy="816102"/>
          </a:xfrm>
          <a:prstGeom prst="rect">
            <a:avLst/>
          </a:prstGeom>
          <a:noFill/>
          <a:ln>
            <a:noFill/>
          </a:ln>
        </p:spPr>
        <p:style>
          <a:lnRef idx="2">
            <a:schemeClr val="dk1"/>
          </a:lnRef>
          <a:fillRef idx="1">
            <a:schemeClr val="lt1"/>
          </a:fillRef>
          <a:effectRef idx="0">
            <a:schemeClr val="dk1"/>
          </a:effectRef>
          <a:fontRef idx="minor">
            <a:schemeClr val="dk1"/>
          </a:fontRef>
        </p:style>
        <p:txBody>
          <a:bodyPr tIns="68580" rtlCol="0" anchor="t"/>
          <a:lstStyle/>
          <a:p>
            <a:r>
              <a:rPr lang="en-US" sz="750" dirty="0">
                <a:solidFill>
                  <a:srgbClr val="53565A"/>
                </a:solidFill>
                <a:latin typeface="Arial" panose="020B0604020202020204"/>
                <a:cs typeface="Arial" panose="020B0604020202020204"/>
              </a:rPr>
              <a:t>Received over </a:t>
            </a:r>
            <a:endParaRPr lang="en-US" sz="750" dirty="0">
              <a:solidFill>
                <a:srgbClr val="53565A"/>
              </a:solidFill>
              <a:latin typeface="Arial" panose="020B0604020202020204"/>
              <a:cs typeface="Arial" panose="020B0604020202020204"/>
            </a:endParaRPr>
          </a:p>
          <a:p>
            <a:r>
              <a:rPr lang="en-US" sz="750" b="1" dirty="0">
                <a:solidFill>
                  <a:srgbClr val="53565A"/>
                </a:solidFill>
                <a:latin typeface="Arial" panose="020B0604020202020204"/>
                <a:cs typeface="Arial" panose="020B0604020202020204"/>
              </a:rPr>
              <a:t>1.1 million submissions </a:t>
            </a:r>
            <a:r>
              <a:rPr lang="en-US" sz="750" dirty="0">
                <a:solidFill>
                  <a:srgbClr val="53565A"/>
                </a:solidFill>
                <a:latin typeface="Arial" panose="020B0604020202020204"/>
                <a:cs typeface="Arial" panose="020B0604020202020204"/>
              </a:rPr>
              <a:t>in 2014</a:t>
            </a:r>
            <a:endParaRPr lang="en-US" sz="750" dirty="0">
              <a:solidFill>
                <a:srgbClr val="53565A"/>
              </a:solidFill>
              <a:latin typeface="Arial" panose="020B0604020202020204"/>
              <a:cs typeface="Arial" panose="020B0604020202020204"/>
            </a:endParaRPr>
          </a:p>
        </p:txBody>
      </p:sp>
      <p:sp>
        <p:nvSpPr>
          <p:cNvPr id="60" name="Rectangle 59"/>
          <p:cNvSpPr/>
          <p:nvPr/>
        </p:nvSpPr>
        <p:spPr>
          <a:xfrm>
            <a:off x="7080669" y="5343431"/>
            <a:ext cx="836676" cy="577081"/>
          </a:xfrm>
          <a:prstGeom prst="rect">
            <a:avLst/>
          </a:prstGeom>
          <a:noFill/>
        </p:spPr>
        <p:txBody>
          <a:bodyPr wrap="square" tIns="68580" anchor="t">
            <a:spAutoFit/>
          </a:bodyPr>
          <a:lstStyle/>
          <a:p>
            <a:pPr marL="0" lvl="1">
              <a:spcBef>
                <a:spcPct val="50000"/>
              </a:spcBef>
              <a:buClr>
                <a:srgbClr val="FF9900"/>
              </a:buClr>
              <a:buSzPct val="120000"/>
            </a:pPr>
            <a:r>
              <a:rPr lang="en-US" sz="750" dirty="0">
                <a:solidFill>
                  <a:srgbClr val="53565A"/>
                </a:solidFill>
                <a:latin typeface="Arial" panose="020B0604020202020204" pitchFamily="34" charset="0"/>
                <a:cs typeface="Arial" panose="020B0604020202020204" pitchFamily="34" charset="0"/>
              </a:rPr>
              <a:t>Over  </a:t>
            </a:r>
            <a:r>
              <a:rPr lang="en-US" sz="750" b="1" dirty="0">
                <a:solidFill>
                  <a:srgbClr val="53565A"/>
                </a:solidFill>
                <a:latin typeface="Arial" panose="020B0604020202020204" pitchFamily="34" charset="0"/>
                <a:cs typeface="Arial" panose="020B0604020202020204" pitchFamily="34" charset="0"/>
              </a:rPr>
              <a:t>55 million  </a:t>
            </a:r>
            <a:r>
              <a:rPr lang="en-US" sz="750" dirty="0">
                <a:solidFill>
                  <a:srgbClr val="53565A"/>
                </a:solidFill>
                <a:latin typeface="Arial" panose="020B0604020202020204" pitchFamily="34" charset="0"/>
                <a:cs typeface="Arial" panose="020B0604020202020204" pitchFamily="34" charset="0"/>
              </a:rPr>
              <a:t>items indexed by Scopus</a:t>
            </a:r>
            <a:endParaRPr lang="en-US" sz="750" dirty="0">
              <a:solidFill>
                <a:srgbClr val="53565A"/>
              </a:solidFill>
              <a:latin typeface="Arial" panose="020B0604020202020204" pitchFamily="34" charset="0"/>
              <a:cs typeface="Arial" panose="020B0604020202020204" pitchFamily="34" charset="0"/>
            </a:endParaRPr>
          </a:p>
        </p:txBody>
      </p:sp>
      <p:sp>
        <p:nvSpPr>
          <p:cNvPr id="29" name="TextBox 28"/>
          <p:cNvSpPr txBox="1"/>
          <p:nvPr/>
        </p:nvSpPr>
        <p:spPr>
          <a:xfrm>
            <a:off x="4267365" y="2702441"/>
            <a:ext cx="1181100" cy="334835"/>
          </a:xfrm>
          <a:prstGeom prst="rect">
            <a:avLst/>
          </a:prstGeom>
          <a:noFill/>
        </p:spPr>
        <p:txBody>
          <a:bodyPr wrap="square" rtlCol="0">
            <a:spAutoFit/>
          </a:bodyPr>
          <a:lstStyle/>
          <a:p>
            <a:pPr algn="ctr"/>
            <a:r>
              <a:rPr lang="en-US" sz="790" dirty="0">
                <a:latin typeface="Arial" panose="020B0604020202020204"/>
                <a:cs typeface="Arial" panose="020B0604020202020204"/>
              </a:rPr>
              <a:t>Elsevier</a:t>
            </a:r>
            <a:endParaRPr lang="en-US" sz="790" dirty="0">
              <a:latin typeface="Arial" panose="020B0604020202020204"/>
              <a:cs typeface="Arial" panose="020B0604020202020204"/>
            </a:endParaRPr>
          </a:p>
          <a:p>
            <a:pPr algn="ctr"/>
            <a:r>
              <a:rPr lang="en-US" sz="790" dirty="0">
                <a:latin typeface="Arial" panose="020B0604020202020204"/>
                <a:cs typeface="Arial" panose="020B0604020202020204"/>
              </a:rPr>
              <a:t>R+D Solutions</a:t>
            </a:r>
            <a:endParaRPr lang="en-US" sz="790" dirty="0">
              <a:latin typeface="Arial" panose="020B0604020202020204"/>
              <a:cs typeface="Arial" panose="020B0604020202020204"/>
            </a:endParaRPr>
          </a:p>
        </p:txBody>
      </p:sp>
      <p:sp>
        <p:nvSpPr>
          <p:cNvPr id="30" name="TextBox 29"/>
          <p:cNvSpPr txBox="1"/>
          <p:nvPr/>
        </p:nvSpPr>
        <p:spPr>
          <a:xfrm>
            <a:off x="5467516" y="2702441"/>
            <a:ext cx="1176337" cy="334835"/>
          </a:xfrm>
          <a:prstGeom prst="rect">
            <a:avLst/>
          </a:prstGeom>
          <a:noFill/>
        </p:spPr>
        <p:txBody>
          <a:bodyPr wrap="square" rtlCol="0">
            <a:spAutoFit/>
          </a:bodyPr>
          <a:lstStyle/>
          <a:p>
            <a:pPr algn="ctr"/>
            <a:r>
              <a:rPr lang="en-US" sz="790" dirty="0">
                <a:latin typeface="Arial" panose="020B0604020202020204"/>
                <a:cs typeface="Arial" panose="020B0604020202020204"/>
              </a:rPr>
              <a:t>Elsevier</a:t>
            </a:r>
            <a:endParaRPr lang="en-US" sz="790" dirty="0">
              <a:latin typeface="Arial" panose="020B0604020202020204"/>
              <a:cs typeface="Arial" panose="020B0604020202020204"/>
            </a:endParaRPr>
          </a:p>
          <a:p>
            <a:pPr algn="ctr"/>
            <a:r>
              <a:rPr lang="en-US" sz="790" dirty="0">
                <a:latin typeface="Arial" panose="020B0604020202020204"/>
                <a:cs typeface="Arial" panose="020B0604020202020204"/>
              </a:rPr>
              <a:t>Clinical Solutions</a:t>
            </a:r>
            <a:endParaRPr lang="en-US" sz="790" dirty="0">
              <a:latin typeface="Arial" panose="020B0604020202020204"/>
              <a:cs typeface="Arial" panose="020B0604020202020204"/>
            </a:endParaRPr>
          </a:p>
        </p:txBody>
      </p:sp>
      <p:sp>
        <p:nvSpPr>
          <p:cNvPr id="35" name="TextBox 34"/>
          <p:cNvSpPr txBox="1"/>
          <p:nvPr/>
        </p:nvSpPr>
        <p:spPr>
          <a:xfrm>
            <a:off x="6653377" y="2702441"/>
            <a:ext cx="1190625" cy="334835"/>
          </a:xfrm>
          <a:prstGeom prst="rect">
            <a:avLst/>
          </a:prstGeom>
          <a:noFill/>
        </p:spPr>
        <p:txBody>
          <a:bodyPr wrap="square" rtlCol="0">
            <a:spAutoFit/>
          </a:bodyPr>
          <a:lstStyle/>
          <a:p>
            <a:pPr algn="ctr"/>
            <a:r>
              <a:rPr lang="en-US" sz="790" dirty="0">
                <a:latin typeface="Arial" panose="020B0604020202020204"/>
                <a:cs typeface="Arial" panose="020B0604020202020204"/>
              </a:rPr>
              <a:t>Elsevier</a:t>
            </a:r>
            <a:endParaRPr lang="en-US" sz="790" dirty="0">
              <a:latin typeface="Arial" panose="020B0604020202020204"/>
              <a:cs typeface="Arial" panose="020B0604020202020204"/>
            </a:endParaRPr>
          </a:p>
          <a:p>
            <a:pPr algn="ctr"/>
            <a:r>
              <a:rPr lang="en-US" sz="790" dirty="0">
                <a:latin typeface="Arial" panose="020B0604020202020204"/>
                <a:cs typeface="Arial" panose="020B0604020202020204"/>
              </a:rPr>
              <a:t>Education</a:t>
            </a:r>
            <a:endParaRPr lang="en-US" sz="790" dirty="0">
              <a:latin typeface="Arial" panose="020B0604020202020204"/>
              <a:cs typeface="Arial" panose="020B0604020202020204"/>
            </a:endParaRPr>
          </a:p>
        </p:txBody>
      </p:sp>
      <p:sp>
        <p:nvSpPr>
          <p:cNvPr id="28" name="TextBox 27"/>
          <p:cNvSpPr txBox="1"/>
          <p:nvPr/>
        </p:nvSpPr>
        <p:spPr>
          <a:xfrm>
            <a:off x="3057691" y="2702441"/>
            <a:ext cx="1209676" cy="334835"/>
          </a:xfrm>
          <a:prstGeom prst="rect">
            <a:avLst/>
          </a:prstGeom>
          <a:noFill/>
        </p:spPr>
        <p:txBody>
          <a:bodyPr wrap="square" rtlCol="0">
            <a:spAutoFit/>
          </a:bodyPr>
          <a:lstStyle>
            <a:defPPr>
              <a:defRPr lang="en-US"/>
            </a:defPPr>
            <a:lvl1pPr algn="ctr">
              <a:defRPr sz="1050">
                <a:latin typeface="Arial" panose="020B0604020202020204"/>
                <a:cs typeface="Arial" panose="020B0604020202020204"/>
              </a:defRPr>
            </a:lvl1pPr>
          </a:lstStyle>
          <a:p>
            <a:r>
              <a:rPr lang="en-US" sz="790" dirty="0"/>
              <a:t>Elsevier</a:t>
            </a:r>
            <a:endParaRPr lang="en-US" sz="790" dirty="0"/>
          </a:p>
          <a:p>
            <a:r>
              <a:rPr lang="en-US" sz="790" dirty="0"/>
              <a:t>Research Intelligence</a:t>
            </a:r>
            <a:endParaRPr lang="en-US" sz="790" dirty="0"/>
          </a:p>
        </p:txBody>
      </p:sp>
      <p:grpSp>
        <p:nvGrpSpPr>
          <p:cNvPr id="24" name="Group 23"/>
          <p:cNvGrpSpPr/>
          <p:nvPr/>
        </p:nvGrpSpPr>
        <p:grpSpPr>
          <a:xfrm>
            <a:off x="3055111" y="2660522"/>
            <a:ext cx="3603029" cy="1953902"/>
            <a:chOff x="2225412" y="1590573"/>
            <a:chExt cx="4804038" cy="3063977"/>
          </a:xfrm>
        </p:grpSpPr>
        <p:cxnSp>
          <p:nvCxnSpPr>
            <p:cNvPr id="36" name="Straight Connector 35"/>
            <p:cNvCxnSpPr/>
            <p:nvPr/>
          </p:nvCxnSpPr>
          <p:spPr>
            <a:xfrm flipH="1">
              <a:off x="2225412" y="1590573"/>
              <a:ext cx="19050" cy="3048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8" name="Straight Connector 67"/>
            <p:cNvCxnSpPr/>
            <p:nvPr/>
          </p:nvCxnSpPr>
          <p:spPr>
            <a:xfrm>
              <a:off x="3829050" y="1606550"/>
              <a:ext cx="6350" cy="3048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nvCxnSpPr>
          <p:spPr>
            <a:xfrm>
              <a:off x="5422900" y="1606550"/>
              <a:ext cx="6350" cy="3048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0" name="Straight Connector 69"/>
            <p:cNvCxnSpPr/>
            <p:nvPr/>
          </p:nvCxnSpPr>
          <p:spPr>
            <a:xfrm>
              <a:off x="7023100" y="1606550"/>
              <a:ext cx="6350" cy="3048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grpSp>
      <p:cxnSp>
        <p:nvCxnSpPr>
          <p:cNvPr id="71" name="Straight Connector 70"/>
          <p:cNvCxnSpPr/>
          <p:nvPr/>
        </p:nvCxnSpPr>
        <p:spPr>
          <a:xfrm>
            <a:off x="7848764" y="2672505"/>
            <a:ext cx="4763" cy="2286000"/>
          </a:xfrm>
          <a:prstGeom prst="line">
            <a:avLst/>
          </a:prstGeom>
          <a:ln w="19050" cap="rnd">
            <a:solidFill>
              <a:schemeClr val="bg2"/>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7" name="Straight Connector 76"/>
          <p:cNvCxnSpPr/>
          <p:nvPr/>
        </p:nvCxnSpPr>
        <p:spPr>
          <a:xfrm flipH="1">
            <a:off x="1632513" y="4795108"/>
            <a:ext cx="6206728" cy="0"/>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0" name="Straight Connector 79"/>
          <p:cNvCxnSpPr/>
          <p:nvPr/>
        </p:nvCxnSpPr>
        <p:spPr>
          <a:xfrm>
            <a:off x="2662402"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2" name="Straight Connector 81"/>
          <p:cNvCxnSpPr/>
          <p:nvPr/>
        </p:nvCxnSpPr>
        <p:spPr>
          <a:xfrm>
            <a:off x="3572040"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3" name="Straight Connector 82"/>
          <p:cNvCxnSpPr/>
          <p:nvPr/>
        </p:nvCxnSpPr>
        <p:spPr>
          <a:xfrm flipH="1">
            <a:off x="4395952" y="5342102"/>
            <a:ext cx="38100" cy="909553"/>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4" name="Straight Connector 83"/>
          <p:cNvCxnSpPr/>
          <p:nvPr/>
        </p:nvCxnSpPr>
        <p:spPr>
          <a:xfrm>
            <a:off x="5310352"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5" name="Straight Connector 84"/>
          <p:cNvCxnSpPr/>
          <p:nvPr/>
        </p:nvCxnSpPr>
        <p:spPr>
          <a:xfrm>
            <a:off x="6186652"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cxnSp>
        <p:nvCxnSpPr>
          <p:cNvPr id="86" name="Straight Connector 85"/>
          <p:cNvCxnSpPr/>
          <p:nvPr/>
        </p:nvCxnSpPr>
        <p:spPr>
          <a:xfrm>
            <a:off x="7067715" y="5342102"/>
            <a:ext cx="0" cy="847725"/>
          </a:xfrm>
          <a:prstGeom prst="line">
            <a:avLst/>
          </a:prstGeom>
          <a:noFill/>
          <a:ln>
            <a:solidFill>
              <a:schemeClr val="tx1">
                <a:lumMod val="75000"/>
                <a:lumOff val="25000"/>
              </a:schemeClr>
            </a:solidFill>
            <a:prstDash val="dot"/>
          </a:ln>
          <a:effectLst/>
        </p:spPr>
        <p:style>
          <a:lnRef idx="1">
            <a:schemeClr val="accent1"/>
          </a:lnRef>
          <a:fillRef idx="3">
            <a:schemeClr val="accent1"/>
          </a:fillRef>
          <a:effectRef idx="2">
            <a:schemeClr val="accent1"/>
          </a:effectRef>
          <a:fontRef idx="minor">
            <a:schemeClr val="lt1"/>
          </a:fontRef>
        </p:style>
      </p:cxnSp>
      <p:grpSp>
        <p:nvGrpSpPr>
          <p:cNvPr id="23" name="Group 22"/>
          <p:cNvGrpSpPr/>
          <p:nvPr/>
        </p:nvGrpSpPr>
        <p:grpSpPr>
          <a:xfrm>
            <a:off x="4438148" y="3226985"/>
            <a:ext cx="888890" cy="1220003"/>
            <a:chOff x="3988735" y="3458528"/>
            <a:chExt cx="1003822" cy="1377748"/>
          </a:xfrm>
        </p:grpSpPr>
        <p:pic>
          <p:nvPicPr>
            <p:cNvPr id="3" name="Picture 2"/>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4009419" y="3458528"/>
              <a:ext cx="961907" cy="298892"/>
            </a:xfrm>
            <a:prstGeom prst="rect">
              <a:avLst/>
            </a:prstGeom>
          </p:spPr>
        </p:pic>
        <p:pic>
          <p:nvPicPr>
            <p:cNvPr id="15" name="Picture 14"/>
            <p:cNvPicPr>
              <a:picLocks noChangeAspect="1"/>
            </p:cNvPicPr>
            <p:nvPr/>
          </p:nvPicPr>
          <p:blipFill rotWithShape="1">
            <a:blip r:embed="rId2" cstate="print">
              <a:extLst>
                <a:ext uri="{28A0092B-C50C-407E-A947-70E740481C1C}">
                  <a14:useLocalDpi xmlns:a14="http://schemas.microsoft.com/office/drawing/2010/main" val="0"/>
                </a:ext>
              </a:extLst>
            </a:blip>
            <a:srcRect b="19385"/>
            <a:stretch>
              <a:fillRect/>
            </a:stretch>
          </p:blipFill>
          <p:spPr>
            <a:xfrm>
              <a:off x="4008460" y="3841954"/>
              <a:ext cx="984097" cy="241593"/>
            </a:xfrm>
            <a:prstGeom prst="rect">
              <a:avLst/>
            </a:prstGeom>
          </p:spPr>
        </p:pic>
        <p:pic>
          <p:nvPicPr>
            <p:cNvPr id="19" name="Picture 18"/>
            <p:cNvPicPr>
              <a:picLocks noChangeAspect="1"/>
            </p:cNvPicPr>
            <p:nvPr/>
          </p:nvPicPr>
          <p:blipFill rotWithShape="1">
            <a:blip r:embed="rId3" cstate="print">
              <a:extLst>
                <a:ext uri="{28A0092B-C50C-407E-A947-70E740481C1C}">
                  <a14:useLocalDpi xmlns:a14="http://schemas.microsoft.com/office/drawing/2010/main" val="0"/>
                </a:ext>
              </a:extLst>
            </a:blip>
            <a:srcRect t="13978" b="19824"/>
            <a:stretch>
              <a:fillRect/>
            </a:stretch>
          </p:blipFill>
          <p:spPr>
            <a:xfrm>
              <a:off x="4033617" y="4229872"/>
              <a:ext cx="895830" cy="237212"/>
            </a:xfrm>
            <a:prstGeom prst="rect">
              <a:avLst/>
            </a:prstGeom>
          </p:spPr>
        </p:pic>
        <p:pic>
          <p:nvPicPr>
            <p:cNvPr id="22" name="Picture 21"/>
            <p:cNvPicPr>
              <a:picLocks noChangeAspect="1"/>
            </p:cNvPicPr>
            <p:nvPr/>
          </p:nvPicPr>
          <p:blipFill rotWithShape="1">
            <a:blip r:embed="rId4" cstate="print">
              <a:extLst>
                <a:ext uri="{28A0092B-C50C-407E-A947-70E740481C1C}">
                  <a14:useLocalDpi xmlns:a14="http://schemas.microsoft.com/office/drawing/2010/main" val="0"/>
                </a:ext>
              </a:extLst>
            </a:blip>
            <a:srcRect t="39049" b="32967"/>
            <a:stretch>
              <a:fillRect/>
            </a:stretch>
          </p:blipFill>
          <p:spPr>
            <a:xfrm>
              <a:off x="3988735" y="4637784"/>
              <a:ext cx="968989" cy="198492"/>
            </a:xfrm>
            <a:prstGeom prst="rect">
              <a:avLst/>
            </a:prstGeom>
          </p:spPr>
        </p:pic>
      </p:grpSp>
      <p:sp>
        <p:nvSpPr>
          <p:cNvPr id="13" name="Rectangle 12"/>
          <p:cNvSpPr/>
          <p:nvPr/>
        </p:nvSpPr>
        <p:spPr>
          <a:xfrm>
            <a:off x="3056978" y="2410569"/>
            <a:ext cx="5181600" cy="266700"/>
          </a:xfrm>
          <a:prstGeom prst="rect">
            <a:avLst/>
          </a:prstGeom>
          <a:gradFill flip="none" rotWithShape="1">
            <a:gsLst>
              <a:gs pos="41000">
                <a:schemeClr val="accent2">
                  <a:lumMod val="60000"/>
                  <a:lumOff val="40000"/>
                </a:schemeClr>
              </a:gs>
              <a:gs pos="100000">
                <a:srgbClr val="FFFFFF"/>
              </a:gs>
            </a:gsLst>
            <a:lin ang="0" scaled="1"/>
            <a:tileRect/>
          </a:gradFill>
          <a:ln w="3175"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41" name="TextBox 40"/>
          <p:cNvSpPr txBox="1"/>
          <p:nvPr/>
        </p:nvSpPr>
        <p:spPr>
          <a:xfrm>
            <a:off x="5246369" y="2461648"/>
            <a:ext cx="607859" cy="219291"/>
          </a:xfrm>
          <a:prstGeom prst="rect">
            <a:avLst/>
          </a:prstGeom>
          <a:noFill/>
          <a:effectLst>
            <a:outerShdw blurRad="44450" dist="12700" dir="2700000">
              <a:srgbClr val="000000">
                <a:alpha val="43000"/>
              </a:srgbClr>
            </a:outerShdw>
          </a:effectLst>
        </p:spPr>
        <p:txBody>
          <a:bodyPr wrap="square" rtlCol="0">
            <a:spAutoFit/>
          </a:bodyPr>
          <a:lstStyle/>
          <a:p>
            <a:pPr algn="ctr"/>
            <a:r>
              <a:rPr lang="zh-CN" altLang="en-US" sz="825" b="1" dirty="0">
                <a:solidFill>
                  <a:schemeClr val="bg1"/>
                </a:solidFill>
                <a:latin typeface="Arial" panose="020B0604020202020204"/>
                <a:cs typeface="Arial" panose="020B0604020202020204"/>
              </a:rPr>
              <a:t>解决方案</a:t>
            </a:r>
            <a:endParaRPr lang="en-US" sz="825" b="1" dirty="0">
              <a:solidFill>
                <a:schemeClr val="bg1"/>
              </a:solidFill>
              <a:latin typeface="Arial" panose="020B0604020202020204"/>
              <a:cs typeface="Arial" panose="020B0604020202020204"/>
            </a:endParaRPr>
          </a:p>
        </p:txBody>
      </p:sp>
      <p:sp>
        <p:nvSpPr>
          <p:cNvPr id="21" name="Rectangle 20"/>
          <p:cNvSpPr/>
          <p:nvPr/>
        </p:nvSpPr>
        <p:spPr>
          <a:xfrm>
            <a:off x="1379702" y="2410568"/>
            <a:ext cx="1678524" cy="266701"/>
          </a:xfrm>
          <a:prstGeom prst="rect">
            <a:avLst/>
          </a:prstGeom>
          <a:gradFill flip="none" rotWithShape="1">
            <a:gsLst>
              <a:gs pos="32000">
                <a:schemeClr val="bg1">
                  <a:lumMod val="75000"/>
                </a:schemeClr>
              </a:gs>
              <a:gs pos="100000">
                <a:srgbClr val="FFFFFF"/>
              </a:gs>
            </a:gsLst>
            <a:lin ang="10800000" scaled="0"/>
            <a:tileRect/>
          </a:gradFill>
          <a:ln w="3175" cmpd="sng">
            <a:no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sp>
        <p:nvSpPr>
          <p:cNvPr id="42" name="TextBox 41"/>
          <p:cNvSpPr txBox="1"/>
          <p:nvPr/>
        </p:nvSpPr>
        <p:spPr>
          <a:xfrm>
            <a:off x="2151368" y="2461648"/>
            <a:ext cx="936475" cy="219291"/>
          </a:xfrm>
          <a:prstGeom prst="rect">
            <a:avLst/>
          </a:prstGeom>
          <a:noFill/>
          <a:effectLst>
            <a:outerShdw blurRad="44450" dist="12700" dir="2700000">
              <a:srgbClr val="000000">
                <a:alpha val="43000"/>
              </a:srgbClr>
            </a:outerShdw>
          </a:effectLst>
        </p:spPr>
        <p:txBody>
          <a:bodyPr wrap="square" rtlCol="0">
            <a:spAutoFit/>
          </a:bodyPr>
          <a:lstStyle/>
          <a:p>
            <a:r>
              <a:rPr lang="en-US" sz="825" b="1" dirty="0">
                <a:solidFill>
                  <a:schemeClr val="bg1"/>
                </a:solidFill>
                <a:latin typeface="Arial" panose="020B0604020202020204"/>
                <a:cs typeface="Arial" panose="020B0604020202020204"/>
              </a:rPr>
              <a:t>CONTENT </a:t>
            </a:r>
            <a:r>
              <a:rPr lang="zh-CN" altLang="en-US" sz="825" b="1" dirty="0">
                <a:solidFill>
                  <a:schemeClr val="bg1"/>
                </a:solidFill>
                <a:latin typeface="Arial" panose="020B0604020202020204"/>
                <a:cs typeface="Arial" panose="020B0604020202020204"/>
              </a:rPr>
              <a:t>内容</a:t>
            </a:r>
            <a:endParaRPr lang="en-US" sz="825" b="1" dirty="0">
              <a:solidFill>
                <a:schemeClr val="bg1"/>
              </a:solidFill>
              <a:latin typeface="Arial" panose="020B0604020202020204"/>
              <a:cs typeface="Arial" panose="020B0604020202020204"/>
            </a:endParaRPr>
          </a:p>
        </p:txBody>
      </p:sp>
      <p:grpSp>
        <p:nvGrpSpPr>
          <p:cNvPr id="38" name="Group 37"/>
          <p:cNvGrpSpPr/>
          <p:nvPr/>
        </p:nvGrpSpPr>
        <p:grpSpPr>
          <a:xfrm>
            <a:off x="5605315" y="3374620"/>
            <a:ext cx="879526" cy="393087"/>
            <a:chOff x="5693739" y="3763594"/>
            <a:chExt cx="985388" cy="440400"/>
          </a:xfrm>
        </p:grpSpPr>
        <p:pic>
          <p:nvPicPr>
            <p:cNvPr id="25" name="Picture 24"/>
            <p:cNvPicPr>
              <a:picLocks noChangeAspect="1"/>
            </p:cNvPicPr>
            <p:nvPr/>
          </p:nvPicPr>
          <p:blipFill rotWithShape="1">
            <a:blip r:embed="rId5">
              <a:extLst>
                <a:ext uri="{28A0092B-C50C-407E-A947-70E740481C1C}">
                  <a14:useLocalDpi xmlns:a14="http://schemas.microsoft.com/office/drawing/2010/main" val="0"/>
                </a:ext>
              </a:extLst>
            </a:blip>
            <a:srcRect t="-1" r="17489" b="33781"/>
            <a:stretch>
              <a:fillRect/>
            </a:stretch>
          </p:blipFill>
          <p:spPr>
            <a:xfrm>
              <a:off x="5755830" y="4022563"/>
              <a:ext cx="861206" cy="181431"/>
            </a:xfrm>
            <a:prstGeom prst="rect">
              <a:avLst/>
            </a:prstGeom>
          </p:spPr>
        </p:pic>
        <p:pic>
          <p:nvPicPr>
            <p:cNvPr id="26" name="Picture 2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93739" y="3763594"/>
              <a:ext cx="985388" cy="190563"/>
            </a:xfrm>
            <a:prstGeom prst="rect">
              <a:avLst/>
            </a:prstGeom>
          </p:spPr>
        </p:pic>
      </p:grpSp>
      <p:pic>
        <p:nvPicPr>
          <p:cNvPr id="40" name="Picture 3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41020" y="3461959"/>
            <a:ext cx="1026726" cy="198083"/>
          </a:xfrm>
          <a:prstGeom prst="rect">
            <a:avLst/>
          </a:prstGeom>
        </p:spPr>
      </p:pic>
      <p:sp>
        <p:nvSpPr>
          <p:cNvPr id="67" name="Rectangle 66"/>
          <p:cNvSpPr/>
          <p:nvPr/>
        </p:nvSpPr>
        <p:spPr>
          <a:xfrm>
            <a:off x="1872565" y="4604235"/>
            <a:ext cx="5971438" cy="609600"/>
          </a:xfrm>
          <a:prstGeom prst="rect">
            <a:avLst/>
          </a:prstGeom>
          <a:gradFill flip="none" rotWithShape="1">
            <a:gsLst>
              <a:gs pos="0">
                <a:schemeClr val="tx2">
                  <a:lumMod val="60000"/>
                  <a:lumOff val="40000"/>
                  <a:alpha val="30000"/>
                </a:schemeClr>
              </a:gs>
              <a:gs pos="100000">
                <a:srgbClr val="FFFFFF">
                  <a:alpha val="30000"/>
                </a:srgbClr>
              </a:gs>
            </a:gsLst>
            <a:lin ang="5400000" scaled="0"/>
            <a:tileRect/>
          </a:gradFill>
          <a:ln w="6350" cmpd="sng">
            <a:noFill/>
            <a:prstDash val="dot"/>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dirty="0"/>
          </a:p>
        </p:txBody>
      </p:sp>
      <p:pic>
        <p:nvPicPr>
          <p:cNvPr id="72" name="Picture 71"/>
          <p:cNvPicPr>
            <a:picLocks noChangeAspect="1"/>
          </p:cNvPicPr>
          <p:nvPr/>
        </p:nvPicPr>
        <p:blipFill>
          <a:blip r:embed="rId8"/>
          <a:stretch>
            <a:fillRect/>
          </a:stretch>
        </p:blipFill>
        <p:spPr>
          <a:xfrm>
            <a:off x="2286904" y="4937432"/>
            <a:ext cx="971550" cy="125730"/>
          </a:xfrm>
          <a:prstGeom prst="rect">
            <a:avLst/>
          </a:prstGeom>
        </p:spPr>
      </p:pic>
      <p:pic>
        <p:nvPicPr>
          <p:cNvPr id="73" name="Picture 72"/>
          <p:cNvPicPr>
            <a:picLocks noChangeAspect="1"/>
          </p:cNvPicPr>
          <p:nvPr/>
        </p:nvPicPr>
        <p:blipFill>
          <a:blip r:embed="rId9"/>
          <a:stretch>
            <a:fillRect/>
          </a:stretch>
        </p:blipFill>
        <p:spPr>
          <a:xfrm>
            <a:off x="4576262" y="4946265"/>
            <a:ext cx="502920" cy="154305"/>
          </a:xfrm>
          <a:prstGeom prst="rect">
            <a:avLst/>
          </a:prstGeom>
        </p:spPr>
      </p:pic>
      <p:pic>
        <p:nvPicPr>
          <p:cNvPr id="74" name="Picture 73" descr="Screen Shot 2014-04-14 at 5.17.07 PM.png"/>
          <p:cNvPicPr>
            <a:picLocks noChangeAspect="1"/>
          </p:cNvPicPr>
          <p:nvPr/>
        </p:nvPicPr>
        <p:blipFill>
          <a:blip r:embed="rId10" cstate="screen">
            <a:grayscl/>
            <a:extLst>
              <a:ext uri="{BEBA8EAE-BF5A-486C-A8C5-ECC9F3942E4B}">
                <a14:imgProps xmlns:a14="http://schemas.microsoft.com/office/drawing/2010/main">
                  <a14:imgLayer r:embed="rId11">
                    <a14:imgEffect>
                      <a14:brightnessContrast bright="20000" contrast="20000"/>
                    </a14:imgEffect>
                    <a14:imgEffect>
                      <a14:sharpenSoften amount="50000"/>
                    </a14:imgEffect>
                  </a14:imgLayer>
                </a14:imgProps>
              </a:ext>
            </a:extLst>
          </a:blip>
          <a:stretch>
            <a:fillRect/>
          </a:stretch>
        </p:blipFill>
        <p:spPr>
          <a:xfrm>
            <a:off x="6486287" y="4883922"/>
            <a:ext cx="768096" cy="228600"/>
          </a:xfrm>
          <a:prstGeom prst="rect">
            <a:avLst/>
          </a:prstGeom>
        </p:spPr>
      </p:pic>
      <p:grpSp>
        <p:nvGrpSpPr>
          <p:cNvPr id="20" name="Group 19"/>
          <p:cNvGrpSpPr/>
          <p:nvPr/>
        </p:nvGrpSpPr>
        <p:grpSpPr>
          <a:xfrm>
            <a:off x="1879384" y="3257589"/>
            <a:ext cx="1037113" cy="1042961"/>
            <a:chOff x="891645" y="3578139"/>
            <a:chExt cx="1147729" cy="1154204"/>
          </a:xfrm>
        </p:grpSpPr>
        <p:pic>
          <p:nvPicPr>
            <p:cNvPr id="34" name="Picture 3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91645" y="4322440"/>
              <a:ext cx="1147729" cy="409903"/>
            </a:xfrm>
            <a:prstGeom prst="rect">
              <a:avLst/>
            </a:prstGeom>
          </p:spPr>
        </p:pic>
        <p:pic>
          <p:nvPicPr>
            <p:cNvPr id="76" name="Picture 2"/>
            <p:cNvPicPr>
              <a:picLocks noChangeArrowheads="1"/>
            </p:cNvPicPr>
            <p:nvPr/>
          </p:nvPicPr>
          <p:blipFill>
            <a:blip r:embed="rId13" cstate="screen"/>
            <a:srcRect/>
            <a:stretch>
              <a:fillRect/>
            </a:stretch>
          </p:blipFill>
          <p:spPr bwMode="auto">
            <a:xfrm>
              <a:off x="953231" y="3578139"/>
              <a:ext cx="389401" cy="389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8" name="Picture 24"/>
            <p:cNvPicPr>
              <a:picLocks noChangeAspect="1" noChangeArrowheads="1"/>
            </p:cNvPicPr>
            <p:nvPr/>
          </p:nvPicPr>
          <p:blipFill>
            <a:blip r:embed="rId14" cstate="screen">
              <a:grayscl/>
            </a:blip>
            <a:srcRect/>
            <a:stretch>
              <a:fillRect/>
            </a:stretch>
          </p:blipFill>
          <p:spPr bwMode="auto">
            <a:xfrm>
              <a:off x="1550804" y="3647291"/>
              <a:ext cx="324688" cy="241629"/>
            </a:xfrm>
            <a:prstGeom prst="rect">
              <a:avLst/>
            </a:prstGeom>
            <a:noFill/>
            <a:ln w="9525">
              <a:noFill/>
              <a:miter lim="800000"/>
              <a:headEnd/>
              <a:tailEnd/>
            </a:ln>
          </p:spPr>
        </p:pic>
        <p:pic>
          <p:nvPicPr>
            <p:cNvPr id="79" name="Picture 14" descr="http://www.invivodata.com/wp-content/uploads/Lancet-Logo.jpg"/>
            <p:cNvPicPr>
              <a:picLocks noChangeAspect="1" noChangeArrowheads="1"/>
            </p:cNvPicPr>
            <p:nvPr/>
          </p:nvPicPr>
          <p:blipFill>
            <a:blip r:embed="rId15" cstate="screen"/>
            <a:srcRect/>
            <a:stretch>
              <a:fillRect/>
            </a:stretch>
          </p:blipFill>
          <p:spPr bwMode="auto">
            <a:xfrm>
              <a:off x="951602" y="4116716"/>
              <a:ext cx="1011936" cy="182880"/>
            </a:xfrm>
            <a:prstGeom prst="rect">
              <a:avLst/>
            </a:prstGeom>
            <a:noFill/>
            <a:ln w="9525">
              <a:noFill/>
              <a:miter lim="800000"/>
              <a:headEnd/>
              <a:tailEnd/>
            </a:ln>
          </p:spPr>
        </p:pic>
      </p:grpSp>
      <p:grpSp>
        <p:nvGrpSpPr>
          <p:cNvPr id="37" name="Group 36"/>
          <p:cNvGrpSpPr/>
          <p:nvPr/>
        </p:nvGrpSpPr>
        <p:grpSpPr>
          <a:xfrm>
            <a:off x="3348275" y="3237993"/>
            <a:ext cx="750674" cy="1076350"/>
            <a:chOff x="2651306" y="3571538"/>
            <a:chExt cx="767988" cy="1093666"/>
          </a:xfrm>
        </p:grpSpPr>
        <p:pic>
          <p:nvPicPr>
            <p:cNvPr id="64" name="Picture 6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2708894" y="4102977"/>
              <a:ext cx="562227" cy="562227"/>
            </a:xfrm>
            <a:prstGeom prst="rect">
              <a:avLst/>
            </a:prstGeom>
          </p:spPr>
        </p:pic>
        <p:pic>
          <p:nvPicPr>
            <p:cNvPr id="87" name="Picture 8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651306" y="3571538"/>
              <a:ext cx="767988" cy="434080"/>
            </a:xfrm>
            <a:prstGeom prst="rect">
              <a:avLst/>
            </a:prstGeom>
          </p:spPr>
        </p:pic>
      </p:grpSp>
    </p:spTree>
  </p:cSld>
  <p:clrMapOvr>
    <a:masterClrMapping/>
  </p:clrMapOvr>
  <p:transition spd="slow">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754880" y="0"/>
            <a:ext cx="4389120" cy="12435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highlight>
                <a:srgbClr val="FF8200"/>
              </a:highlight>
            </a:endParaRPr>
          </a:p>
        </p:txBody>
      </p:sp>
      <p:sp>
        <p:nvSpPr>
          <p:cNvPr id="3" name="Title 2"/>
          <p:cNvSpPr>
            <a:spLocks noGrp="1"/>
          </p:cNvSpPr>
          <p:nvPr>
            <p:ph type="title" idx="4294967295"/>
          </p:nvPr>
        </p:nvSpPr>
        <p:spPr>
          <a:xfrm>
            <a:off x="4752895" y="188386"/>
            <a:ext cx="5318757" cy="640080"/>
          </a:xfrm>
          <a:prstGeom prst="rect">
            <a:avLst/>
          </a:prstGeom>
        </p:spPr>
        <p:txBody>
          <a:bodyPr/>
          <a:lstStyle/>
          <a:p>
            <a:r>
              <a:rPr lang="nl-NL" sz="2400" b="1" dirty="0">
                <a:solidFill>
                  <a:schemeClr val="bg1"/>
                </a:solidFill>
              </a:rPr>
              <a:t>The Value of ScienceDirect</a:t>
            </a:r>
            <a:endParaRPr lang="en-US" sz="2400" b="1" dirty="0">
              <a:solidFill>
                <a:schemeClr val="bg1"/>
              </a:solidFill>
            </a:endParaRPr>
          </a:p>
        </p:txBody>
      </p:sp>
      <p:sp>
        <p:nvSpPr>
          <p:cNvPr id="11" name="Rounded Rectangle 10"/>
          <p:cNvSpPr/>
          <p:nvPr/>
        </p:nvSpPr>
        <p:spPr>
          <a:xfrm>
            <a:off x="5337469" y="440729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bg2">
                    <a:lumMod val="95000"/>
                  </a:schemeClr>
                </a:solidFill>
              </a:rPr>
              <a:t>提升可见性</a:t>
            </a:r>
            <a:endParaRPr lang="en-GB" sz="1600" dirty="0">
              <a:solidFill>
                <a:schemeClr val="bg2">
                  <a:lumMod val="95000"/>
                </a:schemeClr>
              </a:solidFill>
            </a:endParaRPr>
          </a:p>
        </p:txBody>
      </p:sp>
      <p:sp>
        <p:nvSpPr>
          <p:cNvPr id="13" name="Rounded Rectangle 12"/>
          <p:cNvSpPr/>
          <p:nvPr/>
        </p:nvSpPr>
        <p:spPr>
          <a:xfrm>
            <a:off x="5337470" y="1568196"/>
            <a:ext cx="3200401" cy="4572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bg2">
                    <a:lumMod val="95000"/>
                  </a:schemeClr>
                </a:solidFill>
              </a:rPr>
              <a:t>Elsevier</a:t>
            </a:r>
            <a:r>
              <a:rPr lang="zh-CN" altLang="en-US" sz="1600" dirty="0">
                <a:solidFill>
                  <a:schemeClr val="bg2">
                    <a:lumMod val="95000"/>
                  </a:schemeClr>
                </a:solidFill>
              </a:rPr>
              <a:t>的历史及传承</a:t>
            </a:r>
            <a:endParaRPr lang="en-GB" sz="1600" dirty="0">
              <a:solidFill>
                <a:schemeClr val="bg2">
                  <a:lumMod val="95000"/>
                </a:schemeClr>
              </a:solidFill>
            </a:endParaRPr>
          </a:p>
        </p:txBody>
      </p:sp>
      <p:sp>
        <p:nvSpPr>
          <p:cNvPr id="14" name="Rounded Rectangle 13"/>
          <p:cNvSpPr/>
          <p:nvPr/>
        </p:nvSpPr>
        <p:spPr>
          <a:xfrm>
            <a:off x="5337471" y="298670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altLang="zh-CN" sz="1600" dirty="0">
                <a:solidFill>
                  <a:schemeClr val="bg2">
                    <a:lumMod val="95000"/>
                  </a:schemeClr>
                </a:solidFill>
              </a:rPr>
              <a:t>S</a:t>
            </a:r>
            <a:r>
              <a:rPr lang="en-US" altLang="zh-CN" sz="1600" dirty="0" err="1">
                <a:solidFill>
                  <a:schemeClr val="bg2">
                    <a:lumMod val="95000"/>
                  </a:schemeClr>
                </a:solidFill>
              </a:rPr>
              <a:t>cienceDirect</a:t>
            </a:r>
            <a:r>
              <a:rPr lang="zh-CN" altLang="en-US" sz="1600" dirty="0">
                <a:solidFill>
                  <a:schemeClr val="bg2">
                    <a:lumMod val="95000"/>
                  </a:schemeClr>
                </a:solidFill>
              </a:rPr>
              <a:t>全文数据库</a:t>
            </a:r>
            <a:endParaRPr lang="en-GB" sz="1600" dirty="0">
              <a:solidFill>
                <a:schemeClr val="bg2">
                  <a:lumMod val="95000"/>
                </a:schemeClr>
              </a:solidFill>
            </a:endParaRPr>
          </a:p>
        </p:txBody>
      </p:sp>
      <p:sp>
        <p:nvSpPr>
          <p:cNvPr id="15" name="Rounded Rectangle 14"/>
          <p:cNvSpPr/>
          <p:nvPr/>
        </p:nvSpPr>
        <p:spPr>
          <a:xfrm>
            <a:off x="5337471" y="2287456"/>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tx2"/>
                </a:solidFill>
              </a:rPr>
              <a:t>科学研究流程</a:t>
            </a:r>
            <a:endParaRPr lang="en-GB" sz="1600" dirty="0">
              <a:solidFill>
                <a:schemeClr val="tx2"/>
              </a:solidFill>
            </a:endParaRPr>
          </a:p>
        </p:txBody>
      </p:sp>
      <p:sp>
        <p:nvSpPr>
          <p:cNvPr id="16" name="Rounded Rectangle 15"/>
          <p:cNvSpPr/>
          <p:nvPr/>
        </p:nvSpPr>
        <p:spPr>
          <a:xfrm>
            <a:off x="5337471" y="3685944"/>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bg2">
                    <a:lumMod val="95000"/>
                  </a:schemeClr>
                </a:solidFill>
              </a:rPr>
              <a:t>SD</a:t>
            </a:r>
            <a:r>
              <a:rPr lang="zh-CN" altLang="en-US" sz="1600" dirty="0">
                <a:solidFill>
                  <a:schemeClr val="bg2">
                    <a:lumMod val="95000"/>
                  </a:schemeClr>
                </a:solidFill>
              </a:rPr>
              <a:t>上线新功能</a:t>
            </a:r>
            <a:endParaRPr lang="en-GB" sz="1600" dirty="0">
              <a:solidFill>
                <a:schemeClr val="bg2">
                  <a:lumMod val="95000"/>
                </a:schemeClr>
              </a:solidFill>
            </a:endParaRPr>
          </a:p>
        </p:txBody>
      </p:sp>
      <p:sp>
        <p:nvSpPr>
          <p:cNvPr id="2" name="Rounded Rectangle 10"/>
          <p:cNvSpPr/>
          <p:nvPr/>
        </p:nvSpPr>
        <p:spPr>
          <a:xfrm>
            <a:off x="5349534" y="5082295"/>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p>
            <a:pPr marL="1270" lvl="1" algn="ctr" eaLnBrk="0" hangingPunct="0">
              <a:spcBef>
                <a:spcPct val="20000"/>
              </a:spcBef>
              <a:buClr>
                <a:schemeClr val="accent1"/>
              </a:buClr>
            </a:pPr>
            <a:r>
              <a:rPr lang="zh-CN" altLang="en-US" sz="1600" dirty="0">
                <a:solidFill>
                  <a:schemeClr val="bg2">
                    <a:lumMod val="95000"/>
                  </a:schemeClr>
                </a:solidFill>
              </a:rPr>
              <a:t>科研论文写作</a:t>
            </a:r>
            <a:endParaRPr lang="zh-CN" altLang="en-US" sz="1600" dirty="0">
              <a:solidFill>
                <a:schemeClr val="bg2">
                  <a:lumMod val="95000"/>
                </a:schemeClr>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a:t>科学研究流程</a:t>
            </a:r>
            <a:r>
              <a:rPr lang="en-US" altLang="zh-CN" dirty="0"/>
              <a:t>——</a:t>
            </a:r>
            <a:r>
              <a:rPr lang="zh-CN" altLang="en-US" dirty="0"/>
              <a:t>阅读文献贯穿始终</a:t>
            </a:r>
            <a:endParaRPr lang="en-US" dirty="0"/>
          </a:p>
        </p:txBody>
      </p:sp>
      <p:pic>
        <p:nvPicPr>
          <p:cNvPr id="4" name="Picture 3"/>
          <p:cNvPicPr/>
          <p:nvPr/>
        </p:nvPicPr>
        <p:blipFill rotWithShape="1">
          <a:blip r:embed="rId1" cstate="print">
            <a:extLst>
              <a:ext uri="{28A0092B-C50C-407E-A947-70E740481C1C}">
                <a14:useLocalDpi xmlns:a14="http://schemas.microsoft.com/office/drawing/2010/main" val="0"/>
              </a:ext>
            </a:extLst>
          </a:blip>
          <a:srcRect t="3125" b="3125"/>
          <a:stretch>
            <a:fillRect/>
          </a:stretch>
        </p:blipFill>
        <p:spPr bwMode="auto">
          <a:xfrm>
            <a:off x="794634" y="1774208"/>
            <a:ext cx="7052829" cy="4370047"/>
          </a:xfrm>
          <a:prstGeom prst="rect">
            <a:avLst/>
          </a:prstGeom>
          <a:noFill/>
          <a:ln>
            <a:noFill/>
          </a:ln>
        </p:spPr>
      </p:pic>
      <p:sp>
        <p:nvSpPr>
          <p:cNvPr id="2" name="TextBox 1"/>
          <p:cNvSpPr txBox="1"/>
          <p:nvPr/>
        </p:nvSpPr>
        <p:spPr>
          <a:xfrm>
            <a:off x="6211457" y="1472770"/>
            <a:ext cx="1569660" cy="369332"/>
          </a:xfrm>
          <a:prstGeom prst="rect">
            <a:avLst/>
          </a:prstGeom>
          <a:noFill/>
        </p:spPr>
        <p:txBody>
          <a:bodyPr wrap="none" rtlCol="0">
            <a:spAutoFit/>
          </a:bodyPr>
          <a:lstStyle/>
          <a:p>
            <a:r>
              <a:rPr lang="zh-CN" altLang="en-US" dirty="0"/>
              <a:t>获取研究热点</a:t>
            </a:r>
            <a:endParaRPr lang="en-US" dirty="0"/>
          </a:p>
        </p:txBody>
      </p:sp>
      <p:sp>
        <p:nvSpPr>
          <p:cNvPr id="5" name="TextBox 4"/>
          <p:cNvSpPr txBox="1"/>
          <p:nvPr/>
        </p:nvSpPr>
        <p:spPr>
          <a:xfrm>
            <a:off x="6211457" y="4338417"/>
            <a:ext cx="1702352" cy="369332"/>
          </a:xfrm>
          <a:prstGeom prst="rect">
            <a:avLst/>
          </a:prstGeom>
          <a:noFill/>
        </p:spPr>
        <p:txBody>
          <a:bodyPr wrap="square" rtlCol="0">
            <a:spAutoFit/>
          </a:bodyPr>
          <a:lstStyle/>
          <a:p>
            <a:r>
              <a:rPr lang="zh-CN" altLang="en-US" dirty="0"/>
              <a:t>掌握具体知识</a:t>
            </a:r>
            <a:r>
              <a:rPr lang="en-US" altLang="zh-CN" dirty="0"/>
              <a:t>/</a:t>
            </a:r>
            <a:endParaRPr lang="en-US" altLang="zh-CN" dirty="0"/>
          </a:p>
        </p:txBody>
      </p:sp>
      <p:sp>
        <p:nvSpPr>
          <p:cNvPr id="6" name="TextBox 5"/>
          <p:cNvSpPr txBox="1"/>
          <p:nvPr/>
        </p:nvSpPr>
        <p:spPr>
          <a:xfrm>
            <a:off x="596900" y="5897185"/>
            <a:ext cx="1800493" cy="369332"/>
          </a:xfrm>
          <a:prstGeom prst="rect">
            <a:avLst/>
          </a:prstGeom>
          <a:noFill/>
        </p:spPr>
        <p:txBody>
          <a:bodyPr wrap="none" rtlCol="0">
            <a:spAutoFit/>
          </a:bodyPr>
          <a:lstStyle/>
          <a:p>
            <a:r>
              <a:rPr lang="zh-CN" altLang="en-US" dirty="0"/>
              <a:t>了解成果影响力</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a:t>文献类型、特点与使用目的</a:t>
            </a:r>
            <a:endParaRPr lang="en-US" dirty="0"/>
          </a:p>
        </p:txBody>
      </p:sp>
      <p:grpSp>
        <p:nvGrpSpPr>
          <p:cNvPr id="4" name="Group 1"/>
          <p:cNvGrpSpPr>
            <a:grpSpLocks noChangeAspect="1"/>
          </p:cNvGrpSpPr>
          <p:nvPr/>
        </p:nvGrpSpPr>
        <p:grpSpPr bwMode="auto">
          <a:xfrm>
            <a:off x="208410" y="1553504"/>
            <a:ext cx="8703362" cy="3996622"/>
            <a:chOff x="1073150" y="2292176"/>
            <a:chExt cx="10253687" cy="4708525"/>
          </a:xfrm>
        </p:grpSpPr>
        <p:sp>
          <p:nvSpPr>
            <p:cNvPr id="5" name="直接连接符 50"/>
            <p:cNvSpPr>
              <a:spLocks noChangeShapeType="1"/>
            </p:cNvSpPr>
            <p:nvPr/>
          </p:nvSpPr>
          <p:spPr bwMode="auto">
            <a:xfrm flipV="1">
              <a:off x="2628904" y="2946226"/>
              <a:ext cx="1600204" cy="1085850"/>
            </a:xfrm>
            <a:prstGeom prst="line">
              <a:avLst/>
            </a:prstGeom>
            <a:noFill/>
            <a:ln w="12700" cap="flat" cmpd="sng">
              <a:solidFill>
                <a:srgbClr val="424242"/>
              </a:solidFill>
              <a:bevel/>
            </a:ln>
            <a:extLst>
              <a:ext uri="{909E8E84-426E-40DD-AFC4-6F175D3DCCD1}">
                <a14:hiddenFill xmlns:a14="http://schemas.microsoft.com/office/drawing/2010/main">
                  <a:noFill/>
                </a14:hiddenFill>
              </a:ext>
            </a:extLst>
          </p:spPr>
          <p:txBody>
            <a:bodyPr/>
            <a:lstStyle/>
            <a:p>
              <a:pPr defTabSz="914400" fontAlgn="auto">
                <a:spcBef>
                  <a:spcPts val="0"/>
                </a:spcBef>
                <a:spcAft>
                  <a:spcPts val="0"/>
                </a:spcAft>
                <a:buFont typeface="Arial" panose="020B0604020202020204" pitchFamily="34" charset="0"/>
                <a:buNone/>
                <a:defRPr/>
              </a:pPr>
              <a:endParaRPr lang="en-US" sz="1800" kern="0">
                <a:solidFill>
                  <a:srgbClr val="000000"/>
                </a:solidFill>
                <a:latin typeface="+mn-ea"/>
              </a:endParaRPr>
            </a:p>
          </p:txBody>
        </p:sp>
        <p:sp>
          <p:nvSpPr>
            <p:cNvPr id="6" name="直接连接符 51"/>
            <p:cNvSpPr>
              <a:spLocks noChangeShapeType="1"/>
            </p:cNvSpPr>
            <p:nvPr/>
          </p:nvSpPr>
          <p:spPr bwMode="auto">
            <a:xfrm flipV="1">
              <a:off x="2628904" y="3884439"/>
              <a:ext cx="2606681" cy="617537"/>
            </a:xfrm>
            <a:prstGeom prst="line">
              <a:avLst/>
            </a:prstGeom>
            <a:noFill/>
            <a:ln w="12700" cap="flat" cmpd="sng">
              <a:solidFill>
                <a:srgbClr val="424242"/>
              </a:solidFill>
              <a:bevel/>
            </a:ln>
            <a:extLst>
              <a:ext uri="{909E8E84-426E-40DD-AFC4-6F175D3DCCD1}">
                <a14:hiddenFill xmlns:a14="http://schemas.microsoft.com/office/drawing/2010/main">
                  <a:noFill/>
                </a14:hiddenFill>
              </a:ext>
            </a:extLst>
          </p:spPr>
          <p:txBody>
            <a:bodyPr/>
            <a:lstStyle/>
            <a:p>
              <a:pPr defTabSz="914400" fontAlgn="auto">
                <a:spcBef>
                  <a:spcPts val="0"/>
                </a:spcBef>
                <a:spcAft>
                  <a:spcPts val="0"/>
                </a:spcAft>
                <a:buFont typeface="Arial" panose="020B0604020202020204" pitchFamily="34" charset="0"/>
                <a:buNone/>
                <a:defRPr/>
              </a:pPr>
              <a:endParaRPr lang="en-US" sz="1800" kern="0">
                <a:solidFill>
                  <a:srgbClr val="000000"/>
                </a:solidFill>
                <a:latin typeface="+mn-ea"/>
              </a:endParaRPr>
            </a:p>
          </p:txBody>
        </p:sp>
        <p:sp>
          <p:nvSpPr>
            <p:cNvPr id="7" name="直接连接符 54"/>
            <p:cNvSpPr>
              <a:spLocks noChangeShapeType="1"/>
            </p:cNvSpPr>
            <p:nvPr/>
          </p:nvSpPr>
          <p:spPr bwMode="auto">
            <a:xfrm>
              <a:off x="2628904" y="4881389"/>
              <a:ext cx="2663831" cy="428625"/>
            </a:xfrm>
            <a:prstGeom prst="line">
              <a:avLst/>
            </a:prstGeom>
            <a:noFill/>
            <a:ln w="12700" cap="flat" cmpd="sng">
              <a:solidFill>
                <a:srgbClr val="424242"/>
              </a:solidFill>
              <a:bevel/>
            </a:ln>
            <a:extLst>
              <a:ext uri="{909E8E84-426E-40DD-AFC4-6F175D3DCCD1}">
                <a14:hiddenFill xmlns:a14="http://schemas.microsoft.com/office/drawing/2010/main">
                  <a:noFill/>
                </a14:hiddenFill>
              </a:ext>
            </a:extLst>
          </p:spPr>
          <p:txBody>
            <a:bodyPr/>
            <a:lstStyle/>
            <a:p>
              <a:pPr defTabSz="914400" fontAlgn="auto">
                <a:spcBef>
                  <a:spcPts val="0"/>
                </a:spcBef>
                <a:spcAft>
                  <a:spcPts val="0"/>
                </a:spcAft>
                <a:buFont typeface="Arial" panose="020B0604020202020204" pitchFamily="34" charset="0"/>
                <a:buNone/>
                <a:defRPr/>
              </a:pPr>
              <a:endParaRPr lang="en-US" sz="1800" kern="0">
                <a:solidFill>
                  <a:srgbClr val="000000"/>
                </a:solidFill>
                <a:latin typeface="+mn-ea"/>
              </a:endParaRPr>
            </a:p>
          </p:txBody>
        </p:sp>
        <p:sp>
          <p:nvSpPr>
            <p:cNvPr id="8" name="直接连接符 59"/>
            <p:cNvSpPr>
              <a:spLocks noChangeShapeType="1"/>
            </p:cNvSpPr>
            <p:nvPr/>
          </p:nvSpPr>
          <p:spPr bwMode="auto">
            <a:xfrm>
              <a:off x="2460628" y="5189364"/>
              <a:ext cx="2006605" cy="1268412"/>
            </a:xfrm>
            <a:prstGeom prst="line">
              <a:avLst/>
            </a:prstGeom>
            <a:noFill/>
            <a:ln w="12700" cap="flat" cmpd="sng">
              <a:solidFill>
                <a:srgbClr val="424242"/>
              </a:solidFill>
              <a:bevel/>
            </a:ln>
            <a:extLst>
              <a:ext uri="{909E8E84-426E-40DD-AFC4-6F175D3DCCD1}">
                <a14:hiddenFill xmlns:a14="http://schemas.microsoft.com/office/drawing/2010/main">
                  <a:noFill/>
                </a14:hiddenFill>
              </a:ext>
            </a:extLst>
          </p:spPr>
          <p:txBody>
            <a:bodyPr/>
            <a:lstStyle/>
            <a:p>
              <a:pPr defTabSz="914400" fontAlgn="auto">
                <a:spcBef>
                  <a:spcPts val="0"/>
                </a:spcBef>
                <a:spcAft>
                  <a:spcPts val="0"/>
                </a:spcAft>
                <a:buFont typeface="Arial" panose="020B0604020202020204" pitchFamily="34" charset="0"/>
                <a:buNone/>
                <a:defRPr/>
              </a:pPr>
              <a:endParaRPr lang="en-US" sz="1800" kern="0">
                <a:solidFill>
                  <a:srgbClr val="000000"/>
                </a:solidFill>
                <a:latin typeface="+mn-ea"/>
              </a:endParaRPr>
            </a:p>
          </p:txBody>
        </p:sp>
        <p:sp>
          <p:nvSpPr>
            <p:cNvPr id="9" name="矩形 12"/>
            <p:cNvSpPr>
              <a:spLocks noChangeArrowheads="1"/>
            </p:cNvSpPr>
            <p:nvPr/>
          </p:nvSpPr>
          <p:spPr bwMode="auto">
            <a:xfrm>
              <a:off x="6911975" y="2698015"/>
              <a:ext cx="4394200" cy="979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defTabSz="914400" eaLnBrk="1" hangingPunct="1">
                <a:lnSpc>
                  <a:spcPct val="150000"/>
                </a:lnSpc>
                <a:spcBef>
                  <a:spcPct val="0"/>
                </a:spcBef>
                <a:buFont typeface="Arial" panose="020B0604020202020204" pitchFamily="34" charset="0"/>
                <a:buNone/>
              </a:pPr>
              <a:r>
                <a:rPr lang="zh-CN" altLang="en-US" sz="1600" b="0">
                  <a:solidFill>
                    <a:srgbClr val="000000"/>
                  </a:solidFill>
                  <a:latin typeface="+mn-ea"/>
                  <a:cs typeface="Calibri" panose="020F0502020204030204" pitchFamily="34" charset="0"/>
                  <a:sym typeface="Calibri" panose="020F0502020204030204" pitchFamily="34" charset="0"/>
                </a:rPr>
                <a:t>综述</a:t>
              </a:r>
              <a:endParaRPr lang="en-US" altLang="zh-CN" sz="1600" b="0">
                <a:solidFill>
                  <a:srgbClr val="000000"/>
                </a:solidFill>
                <a:latin typeface="+mn-ea"/>
                <a:cs typeface="Calibri" panose="020F0502020204030204" pitchFamily="34" charset="0"/>
                <a:sym typeface="Calibri" panose="020F0502020204030204" pitchFamily="34" charset="0"/>
              </a:endParaRPr>
            </a:p>
            <a:p>
              <a:pPr defTabSz="914400" eaLnBrk="1" hangingPunct="1">
                <a:lnSpc>
                  <a:spcPct val="150000"/>
                </a:lnSpc>
                <a:spcBef>
                  <a:spcPct val="0"/>
                </a:spcBef>
                <a:buFont typeface="Arial" panose="020B0604020202020204" pitchFamily="34" charset="0"/>
                <a:buNone/>
              </a:pPr>
              <a:r>
                <a:rPr lang="zh-CN" altLang="en-US" sz="1600" b="0">
                  <a:solidFill>
                    <a:srgbClr val="000000"/>
                  </a:solidFill>
                  <a:latin typeface="+mn-ea"/>
                  <a:cs typeface="Calibri" panose="020F0502020204030204" pitchFamily="34" charset="0"/>
                  <a:sym typeface="宋体" panose="02010600030101010101" pitchFamily="2" charset="-122"/>
                </a:rPr>
                <a:t>弄清楚基本的概念</a:t>
              </a:r>
              <a:endParaRPr lang="zh-CN" altLang="en-US" sz="1600" b="0">
                <a:solidFill>
                  <a:srgbClr val="000000"/>
                </a:solidFill>
                <a:latin typeface="+mn-ea"/>
                <a:cs typeface="Calibri" panose="020F0502020204030204" pitchFamily="34" charset="0"/>
                <a:sym typeface="宋体" panose="02010600030101010101" pitchFamily="2" charset="-122"/>
              </a:endParaRPr>
            </a:p>
          </p:txBody>
        </p:sp>
        <p:sp>
          <p:nvSpPr>
            <p:cNvPr id="10" name="矩形 13"/>
            <p:cNvSpPr>
              <a:spLocks noChangeArrowheads="1"/>
            </p:cNvSpPr>
            <p:nvPr/>
          </p:nvSpPr>
          <p:spPr bwMode="auto">
            <a:xfrm>
              <a:off x="6911975" y="3722140"/>
              <a:ext cx="4394200" cy="979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defTabSz="914400" eaLnBrk="1" hangingPunct="1">
                <a:lnSpc>
                  <a:spcPct val="150000"/>
                </a:lnSpc>
                <a:spcBef>
                  <a:spcPct val="0"/>
                </a:spcBef>
                <a:buFont typeface="Arial" panose="020B0604020202020204" pitchFamily="34" charset="0"/>
                <a:buNone/>
              </a:pPr>
              <a:r>
                <a:rPr lang="zh-CN" altLang="en-US" sz="1600" b="0" dirty="0">
                  <a:solidFill>
                    <a:srgbClr val="000000"/>
                  </a:solidFill>
                  <a:latin typeface="+mn-ea"/>
                  <a:cs typeface="Calibri" panose="020F0502020204030204" pitchFamily="34" charset="0"/>
                  <a:sym typeface="Calibri" panose="020F0502020204030204" pitchFamily="34" charset="0"/>
                </a:rPr>
                <a:t>专著</a:t>
              </a:r>
              <a:endParaRPr lang="en-US" altLang="zh-CN" sz="1600" b="0" dirty="0">
                <a:solidFill>
                  <a:srgbClr val="000000"/>
                </a:solidFill>
                <a:latin typeface="+mn-ea"/>
                <a:cs typeface="Calibri" panose="020F0502020204030204" pitchFamily="34" charset="0"/>
                <a:sym typeface="Calibri" panose="020F0502020204030204" pitchFamily="34" charset="0"/>
              </a:endParaRPr>
            </a:p>
            <a:p>
              <a:pPr defTabSz="914400" eaLnBrk="1" hangingPunct="1">
                <a:lnSpc>
                  <a:spcPct val="150000"/>
                </a:lnSpc>
                <a:spcBef>
                  <a:spcPct val="0"/>
                </a:spcBef>
                <a:buFont typeface="Arial" panose="020B0604020202020204" pitchFamily="34" charset="0"/>
                <a:buNone/>
              </a:pPr>
              <a:r>
                <a:rPr lang="zh-CN" altLang="en-US" sz="1600" b="0" dirty="0">
                  <a:solidFill>
                    <a:srgbClr val="000000"/>
                  </a:solidFill>
                  <a:latin typeface="+mn-ea"/>
                  <a:cs typeface="Calibri" panose="020F0502020204030204" pitchFamily="34" charset="0"/>
                  <a:sym typeface="宋体" panose="02010600030101010101" pitchFamily="2" charset="-122"/>
                </a:rPr>
                <a:t>弄清基本的原理、方法</a:t>
              </a:r>
              <a:endParaRPr lang="zh-CN" altLang="en-US" sz="1600" b="0" dirty="0">
                <a:solidFill>
                  <a:srgbClr val="000000"/>
                </a:solidFill>
                <a:latin typeface="+mn-ea"/>
                <a:cs typeface="Calibri" panose="020F0502020204030204" pitchFamily="34" charset="0"/>
                <a:sym typeface="宋体" panose="02010600030101010101" pitchFamily="2" charset="-122"/>
              </a:endParaRPr>
            </a:p>
          </p:txBody>
        </p:sp>
        <p:sp>
          <p:nvSpPr>
            <p:cNvPr id="11" name="矩形 14"/>
            <p:cNvSpPr>
              <a:spLocks noChangeArrowheads="1"/>
            </p:cNvSpPr>
            <p:nvPr/>
          </p:nvSpPr>
          <p:spPr bwMode="auto">
            <a:xfrm>
              <a:off x="6932637" y="4806901"/>
              <a:ext cx="4394200" cy="979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defTabSz="914400" eaLnBrk="1" hangingPunct="1">
                <a:lnSpc>
                  <a:spcPct val="150000"/>
                </a:lnSpc>
                <a:spcBef>
                  <a:spcPct val="0"/>
                </a:spcBef>
                <a:buFont typeface="Arial" panose="020B0604020202020204" pitchFamily="34" charset="0"/>
                <a:buNone/>
              </a:pPr>
              <a:r>
                <a:rPr lang="zh-CN" altLang="en-US" sz="1600" b="0">
                  <a:solidFill>
                    <a:srgbClr val="000000"/>
                  </a:solidFill>
                  <a:latin typeface="+mn-ea"/>
                  <a:cs typeface="Calibri" panose="020F0502020204030204" pitchFamily="34" charset="0"/>
                  <a:sym typeface="Calibri" panose="020F0502020204030204" pitchFamily="34" charset="0"/>
                </a:rPr>
                <a:t>期刊</a:t>
              </a:r>
              <a:endParaRPr lang="en-US" altLang="zh-CN" sz="1600" b="0">
                <a:solidFill>
                  <a:srgbClr val="000000"/>
                </a:solidFill>
                <a:latin typeface="+mn-ea"/>
                <a:cs typeface="Calibri" panose="020F0502020204030204" pitchFamily="34" charset="0"/>
                <a:sym typeface="Calibri" panose="020F0502020204030204" pitchFamily="34" charset="0"/>
              </a:endParaRPr>
            </a:p>
            <a:p>
              <a:pPr defTabSz="914400" eaLnBrk="1" hangingPunct="1">
                <a:lnSpc>
                  <a:spcPct val="150000"/>
                </a:lnSpc>
                <a:spcBef>
                  <a:spcPct val="0"/>
                </a:spcBef>
                <a:buFont typeface="Arial" panose="020B0604020202020204" pitchFamily="34" charset="0"/>
                <a:buNone/>
              </a:pPr>
              <a:r>
                <a:rPr lang="zh-CN" altLang="en-US" sz="1600" b="0">
                  <a:solidFill>
                    <a:srgbClr val="000000"/>
                  </a:solidFill>
                  <a:latin typeface="+mn-ea"/>
                  <a:cs typeface="Calibri" panose="020F0502020204030204" pitchFamily="34" charset="0"/>
                  <a:sym typeface="宋体" panose="02010600030101010101" pitchFamily="2" charset="-122"/>
                </a:rPr>
                <a:t>当今研究现状及要解决的问题</a:t>
              </a:r>
              <a:endParaRPr lang="zh-CN" altLang="en-US" sz="1600" b="0">
                <a:solidFill>
                  <a:srgbClr val="000000"/>
                </a:solidFill>
                <a:latin typeface="+mn-ea"/>
                <a:cs typeface="Calibri" panose="020F0502020204030204" pitchFamily="34" charset="0"/>
                <a:sym typeface="宋体" panose="02010600030101010101" pitchFamily="2" charset="-122"/>
              </a:endParaRPr>
            </a:p>
          </p:txBody>
        </p:sp>
        <p:sp>
          <p:nvSpPr>
            <p:cNvPr id="12" name="矩形 15"/>
            <p:cNvSpPr>
              <a:spLocks noChangeArrowheads="1"/>
            </p:cNvSpPr>
            <p:nvPr/>
          </p:nvSpPr>
          <p:spPr bwMode="auto">
            <a:xfrm>
              <a:off x="6908800" y="5874573"/>
              <a:ext cx="4394200" cy="9790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defTabSz="914400" eaLnBrk="1" hangingPunct="1">
                <a:lnSpc>
                  <a:spcPct val="150000"/>
                </a:lnSpc>
                <a:spcBef>
                  <a:spcPct val="0"/>
                </a:spcBef>
                <a:buFont typeface="Arial" panose="020B0604020202020204" pitchFamily="34" charset="0"/>
                <a:buNone/>
              </a:pPr>
              <a:r>
                <a:rPr lang="zh-CN" altLang="en-US" sz="1600" dirty="0">
                  <a:solidFill>
                    <a:srgbClr val="C00000"/>
                  </a:solidFill>
                  <a:effectLst>
                    <a:glow rad="228600">
                      <a:srgbClr val="FFFF00">
                        <a:alpha val="40000"/>
                      </a:srgbClr>
                    </a:glow>
                  </a:effectLst>
                  <a:latin typeface="+mn-ea"/>
                  <a:cs typeface="Calibri" panose="020F0502020204030204" pitchFamily="34" charset="0"/>
                  <a:sym typeface="Calibri" panose="020F0502020204030204" pitchFamily="34" charset="0"/>
                </a:rPr>
                <a:t>工具</a:t>
              </a:r>
              <a:endParaRPr lang="en-US" altLang="zh-CN" sz="1600" dirty="0">
                <a:solidFill>
                  <a:srgbClr val="C00000"/>
                </a:solidFill>
                <a:effectLst>
                  <a:glow rad="228600">
                    <a:srgbClr val="FFFF00">
                      <a:alpha val="40000"/>
                    </a:srgbClr>
                  </a:glow>
                </a:effectLst>
                <a:latin typeface="+mn-ea"/>
                <a:cs typeface="Calibri" panose="020F0502020204030204" pitchFamily="34" charset="0"/>
                <a:sym typeface="Calibri" panose="020F0502020204030204" pitchFamily="34" charset="0"/>
              </a:endParaRPr>
            </a:p>
            <a:p>
              <a:pPr defTabSz="914400" eaLnBrk="1" hangingPunct="1">
                <a:lnSpc>
                  <a:spcPct val="150000"/>
                </a:lnSpc>
                <a:spcBef>
                  <a:spcPct val="0"/>
                </a:spcBef>
                <a:buFont typeface="Arial" panose="020B0604020202020204" pitchFamily="34" charset="0"/>
                <a:buNone/>
              </a:pPr>
              <a:r>
                <a:rPr lang="zh-CN" altLang="en-US" sz="1600" dirty="0">
                  <a:solidFill>
                    <a:srgbClr val="C00000"/>
                  </a:solidFill>
                  <a:effectLst>
                    <a:glow rad="228600">
                      <a:srgbClr val="FFFF00">
                        <a:alpha val="40000"/>
                      </a:srgbClr>
                    </a:glow>
                  </a:effectLst>
                  <a:latin typeface="+mn-ea"/>
                  <a:cs typeface="Calibri" panose="020F0502020204030204" pitchFamily="34" charset="0"/>
                  <a:sym typeface="Calibri" panose="020F0502020204030204" pitchFamily="34" charset="0"/>
                </a:rPr>
                <a:t>文摘库，分析工具，专业工具</a:t>
              </a:r>
              <a:endParaRPr lang="en-US" altLang="zh-CN" sz="1600" dirty="0">
                <a:solidFill>
                  <a:srgbClr val="C00000"/>
                </a:solidFill>
                <a:effectLst>
                  <a:glow rad="228600">
                    <a:srgbClr val="FFFF00">
                      <a:alpha val="40000"/>
                    </a:srgbClr>
                  </a:glow>
                </a:effectLst>
                <a:latin typeface="+mn-ea"/>
                <a:cs typeface="Calibri" panose="020F0502020204030204" pitchFamily="34" charset="0"/>
                <a:sym typeface="Calibri" panose="020F0502020204030204" pitchFamily="34" charset="0"/>
              </a:endParaRPr>
            </a:p>
          </p:txBody>
        </p:sp>
        <p:grpSp>
          <p:nvGrpSpPr>
            <p:cNvPr id="13" name="Group 15"/>
            <p:cNvGrpSpPr/>
            <p:nvPr/>
          </p:nvGrpSpPr>
          <p:grpSpPr bwMode="auto">
            <a:xfrm>
              <a:off x="1073150" y="3679651"/>
              <a:ext cx="1906588" cy="1919288"/>
              <a:chOff x="0" y="0"/>
              <a:chExt cx="2132807" cy="2132807"/>
            </a:xfrm>
          </p:grpSpPr>
          <p:sp useBgFill="1">
            <p:nvSpPr>
              <p:cNvPr id="35" name="椭圆 35"/>
              <p:cNvSpPr>
                <a:spLocks noChangeArrowheads="1"/>
              </p:cNvSpPr>
              <p:nvPr/>
            </p:nvSpPr>
            <p:spPr bwMode="auto">
              <a:xfrm>
                <a:off x="0" y="0"/>
                <a:ext cx="2132807" cy="2132807"/>
              </a:xfrm>
              <a:prstGeom prst="ellipse">
                <a:avLst/>
              </a:prstGeom>
              <a:ln w="25400">
                <a:solidFill>
                  <a:srgbClr val="424242"/>
                </a:solidFill>
                <a:bevel/>
              </a:ln>
            </p:spPr>
            <p:txBody>
              <a:bodyPr anchor="ct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endParaRPr lang="en-US" altLang="en-US" sz="1400">
                  <a:solidFill>
                    <a:srgbClr val="181818"/>
                  </a:solidFill>
                  <a:latin typeface="+mn-ea"/>
                  <a:cs typeface="方正兰亭特黑简体"/>
                </a:endParaRPr>
              </a:p>
            </p:txBody>
          </p:sp>
          <p:sp>
            <p:nvSpPr>
              <p:cNvPr id="36" name="椭圆 36"/>
              <p:cNvSpPr>
                <a:spLocks noChangeArrowheads="1"/>
              </p:cNvSpPr>
              <p:nvPr/>
            </p:nvSpPr>
            <p:spPr bwMode="auto">
              <a:xfrm>
                <a:off x="112317" y="112317"/>
                <a:ext cx="1908175" cy="1908175"/>
              </a:xfrm>
              <a:prstGeom prst="ellipse">
                <a:avLst/>
              </a:prstGeom>
              <a:solidFill>
                <a:srgbClr val="FF9900"/>
              </a:solidFill>
              <a:ln>
                <a:noFill/>
              </a:ln>
              <a:extLst>
                <a:ext uri="{91240B29-F687-4F45-9708-019B960494DF}">
                  <a14:hiddenLine xmlns:a14="http://schemas.microsoft.com/office/drawing/2010/main" w="25400">
                    <a:solidFill>
                      <a:srgbClr val="42719B"/>
                    </a:solidFill>
                    <a:bevel/>
                  </a14:hiddenLine>
                </a:ext>
              </a:extLst>
            </p:spPr>
            <p:txBody>
              <a:bodyPr anchor="ct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endParaRPr lang="en-US" altLang="en-US" sz="1400">
                  <a:solidFill>
                    <a:srgbClr val="181818"/>
                  </a:solidFill>
                  <a:latin typeface="+mn-ea"/>
                  <a:cs typeface="方正兰亭特黑简体"/>
                </a:endParaRPr>
              </a:p>
            </p:txBody>
          </p:sp>
        </p:grpSp>
        <p:grpSp>
          <p:nvGrpSpPr>
            <p:cNvPr id="14" name="Group 18"/>
            <p:cNvGrpSpPr/>
            <p:nvPr/>
          </p:nvGrpSpPr>
          <p:grpSpPr bwMode="auto">
            <a:xfrm>
              <a:off x="3925888" y="2292176"/>
              <a:ext cx="1084262" cy="1082675"/>
              <a:chOff x="0" y="0"/>
              <a:chExt cx="2132807" cy="2132807"/>
            </a:xfrm>
          </p:grpSpPr>
          <p:sp useBgFill="1">
            <p:nvSpPr>
              <p:cNvPr id="33" name="椭圆 38"/>
              <p:cNvSpPr>
                <a:spLocks noChangeArrowheads="1"/>
              </p:cNvSpPr>
              <p:nvPr/>
            </p:nvSpPr>
            <p:spPr bwMode="auto">
              <a:xfrm>
                <a:off x="0" y="0"/>
                <a:ext cx="2132807" cy="2132807"/>
              </a:xfrm>
              <a:prstGeom prst="ellipse">
                <a:avLst/>
              </a:prstGeom>
              <a:ln w="25400">
                <a:solidFill>
                  <a:srgbClr val="21AFE6"/>
                </a:solidFill>
                <a:bevel/>
              </a:ln>
            </p:spPr>
            <p:txBody>
              <a:bodyPr anchor="ct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endParaRPr lang="en-US" altLang="en-US" sz="1400">
                  <a:solidFill>
                    <a:srgbClr val="181818"/>
                  </a:solidFill>
                  <a:latin typeface="+mn-ea"/>
                  <a:cs typeface="方正兰亭特黑简体"/>
                </a:endParaRPr>
              </a:p>
            </p:txBody>
          </p:sp>
          <p:sp>
            <p:nvSpPr>
              <p:cNvPr id="34" name="椭圆 39"/>
              <p:cNvSpPr>
                <a:spLocks noChangeArrowheads="1"/>
              </p:cNvSpPr>
              <p:nvPr/>
            </p:nvSpPr>
            <p:spPr bwMode="auto">
              <a:xfrm>
                <a:off x="112316" y="112316"/>
                <a:ext cx="1908175" cy="1908175"/>
              </a:xfrm>
              <a:prstGeom prst="ellipse">
                <a:avLst/>
              </a:prstGeom>
              <a:solidFill>
                <a:srgbClr val="21AFE6"/>
              </a:solidFill>
              <a:ln>
                <a:noFill/>
              </a:ln>
              <a:extLst>
                <a:ext uri="{91240B29-F687-4F45-9708-019B960494DF}">
                  <a14:hiddenLine xmlns:a14="http://schemas.microsoft.com/office/drawing/2010/main" w="25400">
                    <a:solidFill>
                      <a:srgbClr val="42719B"/>
                    </a:solidFill>
                    <a:bevel/>
                  </a14:hiddenLine>
                </a:ext>
              </a:extLst>
            </p:spPr>
            <p:txBody>
              <a:bodyPr anchor="ct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endParaRPr lang="en-US" altLang="en-US" sz="1400">
                  <a:solidFill>
                    <a:srgbClr val="181818"/>
                  </a:solidFill>
                  <a:latin typeface="+mn-ea"/>
                  <a:cs typeface="方正兰亭特黑简体"/>
                </a:endParaRPr>
              </a:p>
            </p:txBody>
          </p:sp>
        </p:grpSp>
        <p:grpSp>
          <p:nvGrpSpPr>
            <p:cNvPr id="15" name="Group 21"/>
            <p:cNvGrpSpPr/>
            <p:nvPr/>
          </p:nvGrpSpPr>
          <p:grpSpPr bwMode="auto">
            <a:xfrm>
              <a:off x="4751388" y="3320876"/>
              <a:ext cx="1084262" cy="1082675"/>
              <a:chOff x="0" y="0"/>
              <a:chExt cx="2132807" cy="2132807"/>
            </a:xfrm>
          </p:grpSpPr>
          <p:sp useBgFill="1">
            <p:nvSpPr>
              <p:cNvPr id="31" name="椭圆 41"/>
              <p:cNvSpPr>
                <a:spLocks noChangeArrowheads="1"/>
              </p:cNvSpPr>
              <p:nvPr/>
            </p:nvSpPr>
            <p:spPr bwMode="auto">
              <a:xfrm>
                <a:off x="0" y="0"/>
                <a:ext cx="2132807" cy="2132807"/>
              </a:xfrm>
              <a:prstGeom prst="ellipse">
                <a:avLst/>
              </a:prstGeom>
              <a:ln w="25400">
                <a:solidFill>
                  <a:srgbClr val="AEDC46"/>
                </a:solidFill>
                <a:bevel/>
              </a:ln>
            </p:spPr>
            <p:txBody>
              <a:bodyPr anchor="ct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endParaRPr lang="en-US" altLang="en-US" sz="1400">
                  <a:solidFill>
                    <a:srgbClr val="181818"/>
                  </a:solidFill>
                  <a:latin typeface="+mn-ea"/>
                  <a:cs typeface="方正兰亭特黑简体"/>
                </a:endParaRPr>
              </a:p>
            </p:txBody>
          </p:sp>
          <p:sp>
            <p:nvSpPr>
              <p:cNvPr id="32" name="椭圆 42"/>
              <p:cNvSpPr>
                <a:spLocks noChangeArrowheads="1"/>
              </p:cNvSpPr>
              <p:nvPr/>
            </p:nvSpPr>
            <p:spPr bwMode="auto">
              <a:xfrm>
                <a:off x="112317" y="112317"/>
                <a:ext cx="1908175" cy="1908175"/>
              </a:xfrm>
              <a:prstGeom prst="ellipse">
                <a:avLst/>
              </a:prstGeom>
              <a:solidFill>
                <a:srgbClr val="AEDC46"/>
              </a:solidFill>
              <a:ln>
                <a:noFill/>
              </a:ln>
              <a:extLst>
                <a:ext uri="{91240B29-F687-4F45-9708-019B960494DF}">
                  <a14:hiddenLine xmlns:a14="http://schemas.microsoft.com/office/drawing/2010/main" w="25400">
                    <a:solidFill>
                      <a:srgbClr val="42719B"/>
                    </a:solidFill>
                    <a:bevel/>
                  </a14:hiddenLine>
                </a:ext>
              </a:extLst>
            </p:spPr>
            <p:txBody>
              <a:bodyPr anchor="ct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endParaRPr lang="en-US" altLang="en-US" sz="1400">
                  <a:solidFill>
                    <a:srgbClr val="181818"/>
                  </a:solidFill>
                  <a:latin typeface="+mn-ea"/>
                  <a:cs typeface="方正兰亭特黑简体"/>
                </a:endParaRPr>
              </a:p>
            </p:txBody>
          </p:sp>
        </p:grpSp>
        <p:grpSp>
          <p:nvGrpSpPr>
            <p:cNvPr id="16" name="Group 24"/>
            <p:cNvGrpSpPr/>
            <p:nvPr/>
          </p:nvGrpSpPr>
          <p:grpSpPr bwMode="auto">
            <a:xfrm>
              <a:off x="4751388" y="4881389"/>
              <a:ext cx="1084262" cy="1082675"/>
              <a:chOff x="0" y="0"/>
              <a:chExt cx="2132807" cy="2132807"/>
            </a:xfrm>
          </p:grpSpPr>
          <p:sp useBgFill="1">
            <p:nvSpPr>
              <p:cNvPr id="29" name="椭圆 44"/>
              <p:cNvSpPr>
                <a:spLocks noChangeArrowheads="1"/>
              </p:cNvSpPr>
              <p:nvPr/>
            </p:nvSpPr>
            <p:spPr bwMode="auto">
              <a:xfrm>
                <a:off x="0" y="0"/>
                <a:ext cx="2132807" cy="2132807"/>
              </a:xfrm>
              <a:prstGeom prst="ellipse">
                <a:avLst/>
              </a:prstGeom>
              <a:ln w="25400">
                <a:solidFill>
                  <a:srgbClr val="424242"/>
                </a:solidFill>
                <a:bevel/>
              </a:ln>
            </p:spPr>
            <p:txBody>
              <a:bodyPr anchor="ct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endParaRPr lang="en-US" altLang="en-US" sz="1400">
                  <a:solidFill>
                    <a:srgbClr val="181818"/>
                  </a:solidFill>
                  <a:latin typeface="+mn-ea"/>
                  <a:cs typeface="方正兰亭特黑简体"/>
                </a:endParaRPr>
              </a:p>
            </p:txBody>
          </p:sp>
          <p:sp>
            <p:nvSpPr>
              <p:cNvPr id="30" name="椭圆 45"/>
              <p:cNvSpPr>
                <a:spLocks noChangeArrowheads="1"/>
              </p:cNvSpPr>
              <p:nvPr/>
            </p:nvSpPr>
            <p:spPr bwMode="auto">
              <a:xfrm>
                <a:off x="112435" y="112582"/>
                <a:ext cx="1907977" cy="1907643"/>
              </a:xfrm>
              <a:prstGeom prst="ellipse">
                <a:avLst/>
              </a:prstGeom>
              <a:solidFill>
                <a:schemeClr val="tx2">
                  <a:lumMod val="75000"/>
                </a:schemeClr>
              </a:solidFill>
              <a:ln>
                <a:noFill/>
              </a:ln>
              <a:extLst>
                <a:ext uri="{91240B29-F687-4F45-9708-019B960494DF}">
                  <a14:hiddenLine xmlns:a14="http://schemas.microsoft.com/office/drawing/2010/main" w="25400">
                    <a:solidFill>
                      <a:srgbClr val="42719B"/>
                    </a:solidFill>
                    <a:bevel/>
                  </a14:hiddenLine>
                </a:ext>
              </a:extLst>
            </p:spPr>
            <p:txBody>
              <a:bodyPr anchor="ctr"/>
              <a:lstStyle/>
              <a:p>
                <a:pPr algn="ctr" defTabSz="914400">
                  <a:buFont typeface="Arial" panose="020B0604020202020204" pitchFamily="34" charset="0"/>
                  <a:buNone/>
                  <a:defRPr/>
                </a:pPr>
                <a:endParaRPr lang="en-US" altLang="en-US" b="1">
                  <a:solidFill>
                    <a:srgbClr val="181818"/>
                  </a:solidFill>
                  <a:latin typeface="+mn-ea"/>
                </a:endParaRPr>
              </a:p>
            </p:txBody>
          </p:sp>
        </p:grpSp>
        <p:grpSp>
          <p:nvGrpSpPr>
            <p:cNvPr id="17" name="Group 27"/>
            <p:cNvGrpSpPr/>
            <p:nvPr/>
          </p:nvGrpSpPr>
          <p:grpSpPr bwMode="auto">
            <a:xfrm>
              <a:off x="3906838" y="5916439"/>
              <a:ext cx="1082675" cy="1084262"/>
              <a:chOff x="0" y="0"/>
              <a:chExt cx="1957893" cy="1957893"/>
            </a:xfrm>
          </p:grpSpPr>
          <p:sp useBgFill="1">
            <p:nvSpPr>
              <p:cNvPr id="27" name="椭圆 47"/>
              <p:cNvSpPr>
                <a:spLocks noChangeArrowheads="1"/>
              </p:cNvSpPr>
              <p:nvPr/>
            </p:nvSpPr>
            <p:spPr bwMode="auto">
              <a:xfrm>
                <a:off x="13" y="0"/>
                <a:ext cx="1957898" cy="1957893"/>
              </a:xfrm>
              <a:prstGeom prst="ellipse">
                <a:avLst/>
              </a:prstGeom>
              <a:ln w="25400" cap="flat" cmpd="sng">
                <a:solidFill>
                  <a:srgbClr val="FFFFFF"/>
                </a:solidFill>
                <a:bevel/>
              </a:ln>
            </p:spPr>
            <p:txBody>
              <a:bodyPr anchor="ctr"/>
              <a:lstStyle/>
              <a:p>
                <a:pPr algn="ctr" defTabSz="914400" fontAlgn="auto">
                  <a:spcBef>
                    <a:spcPts val="0"/>
                  </a:spcBef>
                  <a:spcAft>
                    <a:spcPts val="0"/>
                  </a:spcAft>
                  <a:buFont typeface="Arial" panose="020B0604020202020204" pitchFamily="34" charset="0"/>
                  <a:buNone/>
                  <a:defRPr/>
                </a:pPr>
                <a:endParaRPr lang="en-US" altLang="en-US" sz="1800" b="1" kern="0">
                  <a:solidFill>
                    <a:srgbClr val="181818"/>
                  </a:solidFill>
                  <a:latin typeface="+mn-ea"/>
                </a:endParaRPr>
              </a:p>
            </p:txBody>
          </p:sp>
          <p:sp>
            <p:nvSpPr>
              <p:cNvPr id="28" name="椭圆 48"/>
              <p:cNvSpPr>
                <a:spLocks noChangeArrowheads="1"/>
              </p:cNvSpPr>
              <p:nvPr/>
            </p:nvSpPr>
            <p:spPr bwMode="auto">
              <a:xfrm>
                <a:off x="103362" y="103198"/>
                <a:ext cx="1751199" cy="1751497"/>
              </a:xfrm>
              <a:prstGeom prst="ellipse">
                <a:avLst/>
              </a:prstGeom>
              <a:solidFill>
                <a:srgbClr val="002060"/>
              </a:solidFill>
              <a:ln w="25400" cap="flat" cmpd="sng">
                <a:solidFill>
                  <a:srgbClr val="42719B"/>
                </a:solidFill>
                <a:bevel/>
              </a:ln>
            </p:spPr>
            <p:txBody>
              <a:bodyPr anchor="ctr"/>
              <a:lstStyle/>
              <a:p>
                <a:pPr algn="ctr" defTabSz="914400" fontAlgn="auto">
                  <a:spcBef>
                    <a:spcPts val="0"/>
                  </a:spcBef>
                  <a:spcAft>
                    <a:spcPts val="0"/>
                  </a:spcAft>
                  <a:buFont typeface="Arial" panose="020B0604020202020204" pitchFamily="34" charset="0"/>
                  <a:buNone/>
                  <a:defRPr/>
                </a:pPr>
                <a:endParaRPr lang="en-US" altLang="en-US" sz="1800" b="1" kern="0">
                  <a:solidFill>
                    <a:srgbClr val="181818"/>
                  </a:solidFill>
                  <a:latin typeface="+mn-ea"/>
                </a:endParaRPr>
              </a:p>
            </p:txBody>
          </p:sp>
        </p:grpSp>
        <p:sp>
          <p:nvSpPr>
            <p:cNvPr id="18" name="矩形 62"/>
            <p:cNvSpPr>
              <a:spLocks noChangeArrowheads="1"/>
            </p:cNvSpPr>
            <p:nvPr/>
          </p:nvSpPr>
          <p:spPr bwMode="auto">
            <a:xfrm>
              <a:off x="1171997" y="4007010"/>
              <a:ext cx="1709738" cy="1414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r>
                <a:rPr lang="zh-CN" altLang="en-US" sz="3600" b="0" dirty="0">
                  <a:solidFill>
                    <a:srgbClr val="FFFFFF"/>
                  </a:solidFill>
                  <a:latin typeface="+mn-ea"/>
                  <a:sym typeface="宋体" panose="02010600030101010101" pitchFamily="2" charset="-122"/>
                </a:rPr>
                <a:t>文献</a:t>
              </a:r>
              <a:endParaRPr lang="en-US" altLang="zh-CN" sz="3600" b="0" dirty="0">
                <a:solidFill>
                  <a:srgbClr val="FFFFFF"/>
                </a:solidFill>
                <a:latin typeface="+mn-ea"/>
                <a:sym typeface="宋体" panose="02010600030101010101" pitchFamily="2" charset="-122"/>
              </a:endParaRPr>
            </a:p>
            <a:p>
              <a:pPr algn="ctr" defTabSz="914400" eaLnBrk="1" hangingPunct="1">
                <a:lnSpc>
                  <a:spcPct val="100000"/>
                </a:lnSpc>
                <a:spcBef>
                  <a:spcPct val="0"/>
                </a:spcBef>
                <a:buFont typeface="Arial" panose="020B0604020202020204" pitchFamily="34" charset="0"/>
                <a:buNone/>
              </a:pPr>
              <a:r>
                <a:rPr lang="zh-CN" altLang="en-US" sz="3600" b="0" dirty="0">
                  <a:solidFill>
                    <a:srgbClr val="FFFFFF"/>
                  </a:solidFill>
                  <a:latin typeface="+mn-ea"/>
                  <a:sym typeface="宋体" panose="02010600030101010101" pitchFamily="2" charset="-122"/>
                </a:rPr>
                <a:t>资源</a:t>
              </a:r>
              <a:endParaRPr lang="zh-CN" altLang="en-US" sz="3600" b="0" dirty="0">
                <a:solidFill>
                  <a:srgbClr val="FFFFFF"/>
                </a:solidFill>
                <a:latin typeface="+mn-ea"/>
                <a:sym typeface="宋体" panose="02010600030101010101" pitchFamily="2" charset="-122"/>
              </a:endParaRPr>
            </a:p>
          </p:txBody>
        </p:sp>
        <p:sp>
          <p:nvSpPr>
            <p:cNvPr id="19" name="矩形 69"/>
            <p:cNvSpPr>
              <a:spLocks noChangeArrowheads="1"/>
            </p:cNvSpPr>
            <p:nvPr/>
          </p:nvSpPr>
          <p:spPr bwMode="auto">
            <a:xfrm>
              <a:off x="4002195" y="2593801"/>
              <a:ext cx="942762" cy="54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r>
                <a:rPr lang="zh-CN" altLang="en-US" sz="2400" b="0">
                  <a:solidFill>
                    <a:schemeClr val="bg1"/>
                  </a:solidFill>
                  <a:latin typeface="+mn-ea"/>
                  <a:sym typeface="宋体" panose="02010600030101010101" pitchFamily="2" charset="-122"/>
                </a:rPr>
                <a:t>综述</a:t>
              </a:r>
              <a:endParaRPr lang="zh-CN" altLang="en-US" sz="2400" b="0">
                <a:solidFill>
                  <a:schemeClr val="bg1"/>
                </a:solidFill>
                <a:latin typeface="+mn-ea"/>
                <a:sym typeface="宋体" panose="02010600030101010101" pitchFamily="2" charset="-122"/>
              </a:endParaRPr>
            </a:p>
          </p:txBody>
        </p:sp>
        <p:sp>
          <p:nvSpPr>
            <p:cNvPr id="20" name="矩形 70"/>
            <p:cNvSpPr>
              <a:spLocks noChangeArrowheads="1"/>
            </p:cNvSpPr>
            <p:nvPr/>
          </p:nvSpPr>
          <p:spPr bwMode="auto">
            <a:xfrm>
              <a:off x="4832457" y="3653247"/>
              <a:ext cx="942762" cy="54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r>
                <a:rPr lang="zh-CN" altLang="en-US" sz="2400" b="0">
                  <a:solidFill>
                    <a:schemeClr val="bg1"/>
                  </a:solidFill>
                  <a:latin typeface="+mn-ea"/>
                  <a:sym typeface="宋体" panose="02010600030101010101" pitchFamily="2" charset="-122"/>
                </a:rPr>
                <a:t>专著</a:t>
              </a:r>
              <a:endParaRPr lang="zh-CN" altLang="en-US" sz="2400" b="0">
                <a:solidFill>
                  <a:schemeClr val="bg1"/>
                </a:solidFill>
                <a:latin typeface="+mn-ea"/>
                <a:sym typeface="宋体" panose="02010600030101010101" pitchFamily="2" charset="-122"/>
              </a:endParaRPr>
            </a:p>
          </p:txBody>
        </p:sp>
        <p:sp>
          <p:nvSpPr>
            <p:cNvPr id="21" name="矩形 71"/>
            <p:cNvSpPr>
              <a:spLocks noChangeArrowheads="1"/>
            </p:cNvSpPr>
            <p:nvPr/>
          </p:nvSpPr>
          <p:spPr bwMode="auto">
            <a:xfrm>
              <a:off x="4807131" y="5238948"/>
              <a:ext cx="942762" cy="54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r>
                <a:rPr lang="zh-CN" altLang="en-US" sz="2400" b="0">
                  <a:solidFill>
                    <a:schemeClr val="bg1"/>
                  </a:solidFill>
                  <a:latin typeface="+mn-ea"/>
                  <a:sym typeface="宋体" panose="02010600030101010101" pitchFamily="2" charset="-122"/>
                </a:rPr>
                <a:t>期刊</a:t>
              </a:r>
              <a:endParaRPr lang="zh-CN" altLang="en-US" sz="2400" b="0">
                <a:solidFill>
                  <a:schemeClr val="bg1"/>
                </a:solidFill>
                <a:latin typeface="+mn-ea"/>
                <a:sym typeface="宋体" panose="02010600030101010101" pitchFamily="2" charset="-122"/>
              </a:endParaRPr>
            </a:p>
          </p:txBody>
        </p:sp>
        <p:sp>
          <p:nvSpPr>
            <p:cNvPr id="22" name="矩形 72"/>
            <p:cNvSpPr>
              <a:spLocks noChangeArrowheads="1"/>
            </p:cNvSpPr>
            <p:nvPr/>
          </p:nvSpPr>
          <p:spPr bwMode="auto">
            <a:xfrm>
              <a:off x="3992670" y="6197426"/>
              <a:ext cx="942762" cy="54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r>
                <a:rPr lang="zh-CN" altLang="en-US" sz="2400" b="0">
                  <a:solidFill>
                    <a:schemeClr val="bg1"/>
                  </a:solidFill>
                  <a:latin typeface="+mn-ea"/>
                  <a:sym typeface="宋体" panose="02010600030101010101" pitchFamily="2" charset="-122"/>
                </a:rPr>
                <a:t>工具</a:t>
              </a:r>
              <a:endParaRPr lang="zh-CN" altLang="en-US" sz="2400" b="0">
                <a:solidFill>
                  <a:schemeClr val="bg1"/>
                </a:solidFill>
                <a:latin typeface="+mn-ea"/>
                <a:sym typeface="宋体" panose="02010600030101010101" pitchFamily="2" charset="-122"/>
              </a:endParaRPr>
            </a:p>
          </p:txBody>
        </p:sp>
        <p:sp>
          <p:nvSpPr>
            <p:cNvPr id="23" name="圆角矩形 73"/>
            <p:cNvSpPr>
              <a:spLocks noChangeArrowheads="1"/>
            </p:cNvSpPr>
            <p:nvPr/>
          </p:nvSpPr>
          <p:spPr bwMode="auto">
            <a:xfrm rot="-5400000">
              <a:off x="6413500" y="3060526"/>
              <a:ext cx="768350" cy="95250"/>
            </a:xfrm>
            <a:prstGeom prst="roundRect">
              <a:avLst>
                <a:gd name="adj" fmla="val 50000"/>
              </a:avLst>
            </a:prstGeom>
            <a:solidFill>
              <a:srgbClr val="21AFE6"/>
            </a:solidFill>
            <a:ln>
              <a:noFill/>
            </a:ln>
            <a:extLst>
              <a:ext uri="{91240B29-F687-4F45-9708-019B960494DF}">
                <a14:hiddenLine xmlns:a14="http://schemas.microsoft.com/office/drawing/2010/main" w="12700">
                  <a:solidFill>
                    <a:srgbClr val="42719B"/>
                  </a:solidFill>
                  <a:bevel/>
                </a14:hiddenLine>
              </a:ext>
            </a:extLst>
          </p:spPr>
          <p:txBody>
            <a:bodyPr anchor="ct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endParaRPr lang="en-US" altLang="en-US" sz="1800" b="0">
                <a:solidFill>
                  <a:srgbClr val="FFFFFF"/>
                </a:solidFill>
                <a:latin typeface="+mn-ea"/>
                <a:sym typeface="宋体" panose="02010600030101010101" pitchFamily="2" charset="-122"/>
              </a:endParaRPr>
            </a:p>
          </p:txBody>
        </p:sp>
        <p:sp>
          <p:nvSpPr>
            <p:cNvPr id="24" name="圆角矩形 74"/>
            <p:cNvSpPr>
              <a:spLocks noChangeArrowheads="1"/>
            </p:cNvSpPr>
            <p:nvPr/>
          </p:nvSpPr>
          <p:spPr bwMode="auto">
            <a:xfrm rot="-5400000">
              <a:off x="6413500" y="4090814"/>
              <a:ext cx="768350" cy="95250"/>
            </a:xfrm>
            <a:prstGeom prst="roundRect">
              <a:avLst>
                <a:gd name="adj" fmla="val 50000"/>
              </a:avLst>
            </a:prstGeom>
            <a:solidFill>
              <a:srgbClr val="AEDC46"/>
            </a:solidFill>
            <a:ln>
              <a:noFill/>
            </a:ln>
            <a:extLst>
              <a:ext uri="{91240B29-F687-4F45-9708-019B960494DF}">
                <a14:hiddenLine xmlns:a14="http://schemas.microsoft.com/office/drawing/2010/main" w="12700">
                  <a:solidFill>
                    <a:srgbClr val="42719B"/>
                  </a:solidFill>
                  <a:bevel/>
                </a14:hiddenLine>
              </a:ext>
            </a:extLst>
          </p:spPr>
          <p:txBody>
            <a:bodyPr anchor="ct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endParaRPr lang="en-US" altLang="en-US" sz="1800" b="0">
                <a:solidFill>
                  <a:srgbClr val="FFFFFF"/>
                </a:solidFill>
                <a:latin typeface="+mn-ea"/>
                <a:sym typeface="宋体" panose="02010600030101010101" pitchFamily="2" charset="-122"/>
              </a:endParaRPr>
            </a:p>
          </p:txBody>
        </p:sp>
        <p:sp>
          <p:nvSpPr>
            <p:cNvPr id="25" name="圆角矩形 75"/>
            <p:cNvSpPr>
              <a:spLocks noChangeArrowheads="1"/>
            </p:cNvSpPr>
            <p:nvPr/>
          </p:nvSpPr>
          <p:spPr bwMode="auto">
            <a:xfrm rot="-5400000">
              <a:off x="6413500" y="5190951"/>
              <a:ext cx="768350" cy="95250"/>
            </a:xfrm>
            <a:prstGeom prst="roundRect">
              <a:avLst>
                <a:gd name="adj" fmla="val 50000"/>
              </a:avLst>
            </a:prstGeom>
            <a:solidFill>
              <a:srgbClr val="424242"/>
            </a:solidFill>
            <a:ln>
              <a:noFill/>
            </a:ln>
            <a:extLst>
              <a:ext uri="{91240B29-F687-4F45-9708-019B960494DF}">
                <a14:hiddenLine xmlns:a14="http://schemas.microsoft.com/office/drawing/2010/main" w="12700">
                  <a:solidFill>
                    <a:srgbClr val="42719B"/>
                  </a:solidFill>
                  <a:bevel/>
                </a14:hiddenLine>
              </a:ext>
            </a:extLst>
          </p:spPr>
          <p:txBody>
            <a:bodyPr anchor="ct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endParaRPr lang="en-US" altLang="en-US" sz="1800" b="0">
                <a:solidFill>
                  <a:srgbClr val="FFFFFF"/>
                </a:solidFill>
                <a:latin typeface="+mn-ea"/>
                <a:sym typeface="宋体" panose="02010600030101010101" pitchFamily="2" charset="-122"/>
              </a:endParaRPr>
            </a:p>
          </p:txBody>
        </p:sp>
        <p:sp>
          <p:nvSpPr>
            <p:cNvPr id="26" name="圆角矩形 76"/>
            <p:cNvSpPr>
              <a:spLocks noChangeArrowheads="1"/>
            </p:cNvSpPr>
            <p:nvPr/>
          </p:nvSpPr>
          <p:spPr bwMode="auto">
            <a:xfrm rot="-5400000">
              <a:off x="6413500" y="6262514"/>
              <a:ext cx="768350" cy="95250"/>
            </a:xfrm>
            <a:prstGeom prst="roundRect">
              <a:avLst>
                <a:gd name="adj" fmla="val 50000"/>
              </a:avLst>
            </a:prstGeom>
            <a:solidFill>
              <a:srgbClr val="21AFE6"/>
            </a:solidFill>
            <a:ln>
              <a:noFill/>
            </a:ln>
            <a:extLst>
              <a:ext uri="{91240B29-F687-4F45-9708-019B960494DF}">
                <a14:hiddenLine xmlns:a14="http://schemas.microsoft.com/office/drawing/2010/main" w="12700">
                  <a:solidFill>
                    <a:srgbClr val="42719B"/>
                  </a:solidFill>
                  <a:bevel/>
                </a14:hiddenLine>
              </a:ext>
            </a:extLst>
          </p:spPr>
          <p:txBody>
            <a:bodyPr anchor="ctr"/>
            <a:lstStyle>
              <a:lvl1pPr eaLnBrk="0" hangingPunct="0">
                <a:lnSpc>
                  <a:spcPct val="90000"/>
                </a:lnSpc>
                <a:spcBef>
                  <a:spcPts val="1250"/>
                </a:spcBef>
                <a:buFont typeface="Arial" panose="020B0604020202020204" pitchFamily="34" charset="0"/>
                <a:buChar char="•"/>
                <a:defRPr sz="1900" b="1">
                  <a:solidFill>
                    <a:srgbClr val="75787B"/>
                  </a:solidFill>
                  <a:latin typeface="Arial" panose="020B0604020202020204" pitchFamily="34" charset="0"/>
                  <a:cs typeface="Arial" panose="020B0604020202020204" pitchFamily="34" charset="0"/>
                </a:defRPr>
              </a:lvl1pPr>
              <a:lvl2pPr marL="860425" indent="-285750" eaLnBrk="0" hangingPunct="0">
                <a:lnSpc>
                  <a:spcPct val="90000"/>
                </a:lnSpc>
                <a:spcBef>
                  <a:spcPts val="625"/>
                </a:spcBef>
                <a:buFont typeface="Arial" panose="020B0604020202020204" pitchFamily="34" charset="0"/>
                <a:buChar char="•"/>
                <a:defRPr sz="1600">
                  <a:solidFill>
                    <a:srgbClr val="75787B"/>
                  </a:solidFill>
                  <a:latin typeface="Arial" panose="020B0604020202020204" pitchFamily="34" charset="0"/>
                  <a:cs typeface="Arial" panose="020B0604020202020204" pitchFamily="34" charset="0"/>
                </a:defRPr>
              </a:lvl2pPr>
              <a:lvl3pPr marL="1433830" indent="-285750" eaLnBrk="0" hangingPunct="0">
                <a:lnSpc>
                  <a:spcPct val="90000"/>
                </a:lnSpc>
                <a:spcBef>
                  <a:spcPts val="625"/>
                </a:spcBef>
                <a:buFont typeface="Arial" panose="020B0604020202020204" pitchFamily="34" charset="0"/>
                <a:buChar char="•"/>
                <a:defRPr sz="1400">
                  <a:solidFill>
                    <a:srgbClr val="75787B"/>
                  </a:solidFill>
                  <a:latin typeface="Arial" panose="020B0604020202020204" pitchFamily="34" charset="0"/>
                  <a:cs typeface="Arial" panose="020B0604020202020204" pitchFamily="34" charset="0"/>
                </a:defRPr>
              </a:lvl3pPr>
              <a:lvl4pPr marL="200850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4pPr>
              <a:lvl5pPr marL="2581275" indent="-285750" eaLnBrk="0" hangingPunct="0">
                <a:lnSpc>
                  <a:spcPct val="90000"/>
                </a:lnSpc>
                <a:spcBef>
                  <a:spcPts val="625"/>
                </a:spcBef>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5pPr>
              <a:lvl6pPr marL="30384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6pPr>
              <a:lvl7pPr marL="34956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7pPr>
              <a:lvl8pPr marL="39528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8pPr>
              <a:lvl9pPr marL="4410075" indent="-285750" eaLnBrk="0" fontAlgn="base" hangingPunct="0">
                <a:lnSpc>
                  <a:spcPct val="90000"/>
                </a:lnSpc>
                <a:spcBef>
                  <a:spcPts val="625"/>
                </a:spcBef>
                <a:spcAft>
                  <a:spcPct val="0"/>
                </a:spcAft>
                <a:buFont typeface="Arial" panose="020B0604020202020204" pitchFamily="34" charset="0"/>
                <a:buChar char="•"/>
                <a:defRPr sz="2500">
                  <a:solidFill>
                    <a:schemeClr val="tx1"/>
                  </a:solidFill>
                  <a:latin typeface="Calibri" panose="020F0502020204030204" pitchFamily="34" charset="0"/>
                  <a:cs typeface="Arial" panose="020B0604020202020204" pitchFamily="34" charset="0"/>
                </a:defRPr>
              </a:lvl9pPr>
            </a:lstStyle>
            <a:p>
              <a:pPr algn="ctr" defTabSz="914400" eaLnBrk="1" hangingPunct="1">
                <a:lnSpc>
                  <a:spcPct val="100000"/>
                </a:lnSpc>
                <a:spcBef>
                  <a:spcPct val="0"/>
                </a:spcBef>
                <a:buFont typeface="Arial" panose="020B0604020202020204" pitchFamily="34" charset="0"/>
                <a:buNone/>
              </a:pPr>
              <a:endParaRPr lang="en-US" altLang="en-US" sz="1800" b="0">
                <a:solidFill>
                  <a:srgbClr val="FFFFFF"/>
                </a:solidFill>
                <a:latin typeface="+mn-ea"/>
                <a:sym typeface="宋体" panose="02010600030101010101" pitchFamily="2" charset="-122"/>
              </a:endParaRPr>
            </a:p>
          </p:txBody>
        </p:sp>
      </p:gr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199" y="705204"/>
            <a:ext cx="8238319" cy="418645"/>
          </a:xfrm>
        </p:spPr>
        <p:txBody>
          <a:bodyPr/>
          <a:lstStyle/>
          <a:p>
            <a:r>
              <a:rPr lang="zh-CN" altLang="en-US" dirty="0"/>
              <a:t>文献阅读贯穿科研流程始终</a:t>
            </a:r>
            <a:endParaRPr lang="en-US" dirty="0"/>
          </a:p>
        </p:txBody>
      </p:sp>
      <p:graphicFrame>
        <p:nvGraphicFramePr>
          <p:cNvPr id="4" name="Content Placeholder 3"/>
          <p:cNvGraphicFramePr/>
          <p:nvPr/>
        </p:nvGraphicFramePr>
        <p:xfrm>
          <a:off x="1206889" y="1854292"/>
          <a:ext cx="3994911" cy="3903485"/>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sp>
        <p:nvSpPr>
          <p:cNvPr id="5" name="Down Arrow 15"/>
          <p:cNvSpPr/>
          <p:nvPr/>
        </p:nvSpPr>
        <p:spPr>
          <a:xfrm>
            <a:off x="824822" y="2112589"/>
            <a:ext cx="484632" cy="3428973"/>
          </a:xfrm>
          <a:prstGeom prst="downArrow">
            <a:avLst>
              <a:gd name="adj1" fmla="val 50000"/>
              <a:gd name="adj2" fmla="val 99347"/>
            </a:avLst>
          </a:prstGeom>
          <a:solidFill>
            <a:schemeClr val="accent1"/>
          </a:solidFill>
          <a:ln>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500" dirty="0"/>
              <a:t>文献信息搜集过程</a:t>
            </a:r>
            <a:endParaRPr lang="en-US" sz="1500" dirty="0"/>
          </a:p>
        </p:txBody>
      </p:sp>
      <p:sp>
        <p:nvSpPr>
          <p:cNvPr id="6" name="Left-Right Arrow 4"/>
          <p:cNvSpPr/>
          <p:nvPr/>
        </p:nvSpPr>
        <p:spPr>
          <a:xfrm>
            <a:off x="1206888" y="5807374"/>
            <a:ext cx="3994911" cy="484632"/>
          </a:xfrm>
          <a:prstGeom prst="leftRightArrow">
            <a:avLst>
              <a:gd name="adj1" fmla="val 55806"/>
              <a:gd name="adj2" fmla="val 32583"/>
            </a:avLst>
          </a:prstGeom>
          <a:solidFill>
            <a:schemeClr val="accent1"/>
          </a:solidFill>
          <a:ln>
            <a:solidFill>
              <a:schemeClr val="accent1"/>
            </a:solidFill>
          </a:ln>
        </p:spPr>
        <p:style>
          <a:lnRef idx="1">
            <a:schemeClr val="dk1"/>
          </a:lnRef>
          <a:fillRef idx="3">
            <a:schemeClr val="dk1"/>
          </a:fillRef>
          <a:effectRef idx="2">
            <a:schemeClr val="dk1"/>
          </a:effectRef>
          <a:fontRef idx="minor">
            <a:schemeClr val="lt1"/>
          </a:fontRef>
        </p:style>
        <p:txBody>
          <a:bodyPr rtlCol="0" anchor="ctr"/>
          <a:lstStyle/>
          <a:p>
            <a:pPr algn="ctr"/>
            <a:r>
              <a:rPr lang="zh-CN" altLang="en-US" dirty="0"/>
              <a:t>文献量</a:t>
            </a:r>
            <a:endParaRPr lang="en-US" dirty="0"/>
          </a:p>
        </p:txBody>
      </p:sp>
      <p:pic>
        <p:nvPicPr>
          <p:cNvPr id="43" name="Picture 21" descr="embase logo"/>
          <p:cNvPicPr>
            <a:picLocks noChangeAspect="1" noChangeArrowheads="1"/>
          </p:cNvPicPr>
          <p:nvPr/>
        </p:nvPicPr>
        <p:blipFill>
          <a:blip r:embed="rId6" cstate="screen"/>
          <a:srcRect/>
          <a:stretch>
            <a:fillRect/>
          </a:stretch>
        </p:blipFill>
        <p:spPr bwMode="auto">
          <a:xfrm>
            <a:off x="3913106" y="2562025"/>
            <a:ext cx="1321005" cy="432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图片 8"/>
          <p:cNvPicPr>
            <a:picLocks noChangeAspect="1"/>
          </p:cNvPicPr>
          <p:nvPr/>
        </p:nvPicPr>
        <p:blipFill>
          <a:blip r:embed="rId7">
            <a:clrChange>
              <a:clrFrom>
                <a:srgbClr val="FAFBF1"/>
              </a:clrFrom>
              <a:clrTo>
                <a:srgbClr val="FAFBF1">
                  <a:alpha val="0"/>
                </a:srgbClr>
              </a:clrTo>
            </a:clrChange>
            <a:extLst>
              <a:ext uri="{BEBA8EAE-BF5A-486C-A8C5-ECC9F3942E4B}">
                <a14:imgProps xmlns:a14="http://schemas.microsoft.com/office/drawing/2010/main">
                  <a14:imgLayer r:embed="rId8">
                    <a14:imgEffect>
                      <a14:sharpenSoften amount="25000"/>
                    </a14:imgEffect>
                  </a14:imgLayer>
                </a14:imgProps>
              </a:ext>
            </a:extLst>
          </a:blip>
          <a:srcRect/>
          <a:stretch>
            <a:fillRect/>
          </a:stretch>
        </p:blipFill>
        <p:spPr bwMode="auto">
          <a:xfrm>
            <a:off x="4573608" y="4287485"/>
            <a:ext cx="3051437" cy="615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图片 7"/>
          <p:cNvPicPr>
            <a:picLocks noChangeAspect="1"/>
          </p:cNvPicPr>
          <p:nvPr/>
        </p:nvPicPr>
        <p:blipFill>
          <a:blip r:embed="rId9" cstate="screen"/>
          <a:stretch>
            <a:fillRect/>
          </a:stretch>
        </p:blipFill>
        <p:spPr>
          <a:xfrm>
            <a:off x="7098712" y="2600901"/>
            <a:ext cx="1557032" cy="354834"/>
          </a:xfrm>
          <a:prstGeom prst="rect">
            <a:avLst/>
          </a:prstGeom>
        </p:spPr>
      </p:pic>
      <p:pic>
        <p:nvPicPr>
          <p:cNvPr id="48" name="图片 9"/>
          <p:cNvPicPr>
            <a:picLocks noChangeAspect="1"/>
          </p:cNvPicPr>
          <p:nvPr/>
        </p:nvPicPr>
        <p:blipFill>
          <a:blip r:embed="rId10" cstate="screen"/>
          <a:stretch>
            <a:fillRect/>
          </a:stretch>
        </p:blipFill>
        <p:spPr>
          <a:xfrm>
            <a:off x="5451891" y="2643875"/>
            <a:ext cx="1447457" cy="247638"/>
          </a:xfrm>
          <a:prstGeom prst="rect">
            <a:avLst/>
          </a:prstGeom>
        </p:spPr>
      </p:pic>
      <p:pic>
        <p:nvPicPr>
          <p:cNvPr id="49" name="图片 14"/>
          <p:cNvPicPr>
            <a:picLocks noChangeAspect="1"/>
          </p:cNvPicPr>
          <p:nvPr/>
        </p:nvPicPr>
        <p:blipFill rotWithShape="1">
          <a:blip r:embed="rId11" cstate="screen"/>
          <a:srcRect/>
          <a:stretch>
            <a:fillRect/>
          </a:stretch>
        </p:blipFill>
        <p:spPr>
          <a:xfrm>
            <a:off x="3979869" y="2965048"/>
            <a:ext cx="1436154" cy="477076"/>
          </a:xfrm>
          <a:prstGeom prst="rect">
            <a:avLst/>
          </a:prstGeom>
        </p:spPr>
      </p:pic>
      <p:pic>
        <p:nvPicPr>
          <p:cNvPr id="50" name="Picture 49"/>
          <p:cNvPicPr>
            <a:picLocks noChangeAspect="1"/>
          </p:cNvPicPr>
          <p:nvPr/>
        </p:nvPicPr>
        <p:blipFill>
          <a:blip r:embed="rId12"/>
          <a:stretch>
            <a:fillRect/>
          </a:stretch>
        </p:blipFill>
        <p:spPr>
          <a:xfrm>
            <a:off x="5813645" y="3571072"/>
            <a:ext cx="1199555" cy="512005"/>
          </a:xfrm>
          <a:prstGeom prst="rect">
            <a:avLst/>
          </a:prstGeom>
        </p:spPr>
      </p:pic>
      <p:pic>
        <p:nvPicPr>
          <p:cNvPr id="51" name="Picture 50"/>
          <p:cNvPicPr>
            <a:picLocks noChangeAspect="1"/>
          </p:cNvPicPr>
          <p:nvPr/>
        </p:nvPicPr>
        <p:blipFill rotWithShape="1">
          <a:blip r:embed="rId13"/>
          <a:srcRect b="9989"/>
          <a:stretch>
            <a:fillRect/>
          </a:stretch>
        </p:blipFill>
        <p:spPr>
          <a:xfrm>
            <a:off x="4342786" y="3535817"/>
            <a:ext cx="1448447" cy="500548"/>
          </a:xfrm>
          <a:prstGeom prst="rect">
            <a:avLst/>
          </a:prstGeom>
        </p:spPr>
      </p:pic>
      <p:pic>
        <p:nvPicPr>
          <p:cNvPr id="52" name="Picture 51"/>
          <p:cNvPicPr>
            <a:picLocks noChangeAspect="1"/>
          </p:cNvPicPr>
          <p:nvPr/>
        </p:nvPicPr>
        <p:blipFill rotWithShape="1">
          <a:blip r:embed="rId14"/>
          <a:srcRect b="29084"/>
          <a:stretch>
            <a:fillRect/>
          </a:stretch>
        </p:blipFill>
        <p:spPr>
          <a:xfrm>
            <a:off x="5113493" y="5068701"/>
            <a:ext cx="2715621" cy="429244"/>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580011"/>
            <a:ext cx="8238319" cy="418645"/>
          </a:xfrm>
        </p:spPr>
        <p:txBody>
          <a:bodyPr/>
          <a:lstStyle/>
          <a:p>
            <a:r>
              <a:rPr lang="zh-CN" altLang="en-US" sz="2400" b="1" dirty="0"/>
              <a:t>在各个学科领域使用</a:t>
            </a:r>
            <a:r>
              <a:rPr lang="en-US" altLang="zh-CN" sz="2400" b="1" dirty="0"/>
              <a:t>Elsevier</a:t>
            </a:r>
            <a:r>
              <a:rPr lang="zh-CN" altLang="en-US" sz="2400" b="1" dirty="0"/>
              <a:t>回溯期刊的情况</a:t>
            </a:r>
            <a:endParaRPr lang="en-US" sz="2400" b="1" dirty="0"/>
          </a:p>
        </p:txBody>
      </p:sp>
      <p:sp>
        <p:nvSpPr>
          <p:cNvPr id="4" name="Slide Number Placeholder 3"/>
          <p:cNvSpPr>
            <a:spLocks noGrp="1"/>
          </p:cNvSpPr>
          <p:nvPr>
            <p:ph type="sldNum" sz="quarter" idx="12"/>
          </p:nvPr>
        </p:nvSpPr>
        <p:spPr/>
        <p:txBody>
          <a:bodyPr/>
          <a:lstStyle/>
          <a:p>
            <a:fld id="{0C5C99C1-96E4-4976-B473-28DDBE1C5CF1}" type="slidenum">
              <a:rPr lang="en-US" smtClean="0"/>
            </a:fld>
            <a:endParaRPr lang="en-US" dirty="0"/>
          </a:p>
        </p:txBody>
      </p:sp>
      <p:sp>
        <p:nvSpPr>
          <p:cNvPr id="6" name="TextBox 5"/>
          <p:cNvSpPr txBox="1"/>
          <p:nvPr/>
        </p:nvSpPr>
        <p:spPr>
          <a:xfrm>
            <a:off x="107504" y="6457234"/>
            <a:ext cx="5040560" cy="276999"/>
          </a:xfrm>
          <a:prstGeom prst="rect">
            <a:avLst/>
          </a:prstGeom>
          <a:noFill/>
        </p:spPr>
        <p:txBody>
          <a:bodyPr wrap="square" rtlCol="0">
            <a:spAutoFit/>
          </a:bodyPr>
          <a:lstStyle/>
          <a:p>
            <a:r>
              <a:rPr lang="en-GB" sz="1200" dirty="0"/>
              <a:t>*</a:t>
            </a:r>
            <a:r>
              <a:rPr lang="zh-CN" altLang="en-US" sz="1200" dirty="0"/>
              <a:t>一份期刊可能属于多个学科领域</a:t>
            </a:r>
            <a:endParaRPr lang="en-US" sz="1200" dirty="0"/>
          </a:p>
        </p:txBody>
      </p:sp>
      <p:graphicFrame>
        <p:nvGraphicFramePr>
          <p:cNvPr id="9" name="Chart 8"/>
          <p:cNvGraphicFramePr/>
          <p:nvPr/>
        </p:nvGraphicFramePr>
        <p:xfrm>
          <a:off x="0" y="2160000"/>
          <a:ext cx="9180000" cy="3600000"/>
        </p:xfrm>
        <a:graphic>
          <a:graphicData uri="http://schemas.openxmlformats.org/drawingml/2006/chart">
            <c:chart xmlns:c="http://schemas.openxmlformats.org/drawingml/2006/chart" xmlns:r="http://schemas.openxmlformats.org/officeDocument/2006/relationships" r:id="rId1"/>
          </a:graphicData>
        </a:graphic>
      </p:graphicFrame>
      <p:sp>
        <p:nvSpPr>
          <p:cNvPr id="7" name="TextBox 6"/>
          <p:cNvSpPr txBox="1"/>
          <p:nvPr/>
        </p:nvSpPr>
        <p:spPr>
          <a:xfrm>
            <a:off x="304800" y="980728"/>
            <a:ext cx="8731697" cy="646331"/>
          </a:xfrm>
          <a:prstGeom prst="rect">
            <a:avLst/>
          </a:prstGeom>
          <a:noFill/>
        </p:spPr>
        <p:txBody>
          <a:bodyPr wrap="square" rtlCol="0">
            <a:spAutoFit/>
          </a:bodyPr>
          <a:lstStyle/>
          <a:p>
            <a:pPr algn="ctr"/>
            <a:r>
              <a:rPr lang="zh-CN" altLang="en-US" b="1" dirty="0"/>
              <a:t>请注意，在基础学科如物理和工程用量大， 另外计算机科学、药理学、毒物学和制药学等快速发展的领域，回溯期刊的使用量也较大</a:t>
            </a:r>
            <a:endParaRPr lang="en-US" b="1"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4388940" y="2677251"/>
            <a:ext cx="3895917" cy="3219094"/>
          </a:xfrm>
          <a:prstGeom prst="rect">
            <a:avLst/>
          </a:prstGeom>
          <a:gradFill flip="none" rotWithShape="1">
            <a:gsLst>
              <a:gs pos="31000">
                <a:srgbClr val="FF8200">
                  <a:lumMod val="5000"/>
                  <a:lumOff val="95000"/>
                </a:srgbClr>
              </a:gs>
              <a:gs pos="76000">
                <a:srgbClr val="FF8200">
                  <a:lumMod val="45000"/>
                  <a:lumOff val="55000"/>
                </a:srgbClr>
              </a:gs>
              <a:gs pos="83000">
                <a:srgbClr val="FF8200">
                  <a:lumMod val="45000"/>
                  <a:lumOff val="55000"/>
                </a:srgbClr>
              </a:gs>
              <a:gs pos="100000">
                <a:srgbClr val="FF8200">
                  <a:lumMod val="30000"/>
                  <a:lumOff val="70000"/>
                </a:srgbClr>
              </a:gs>
            </a:gsLst>
            <a:lin ang="5400000" scaled="1"/>
            <a:tileRect/>
          </a:gradFill>
          <a:ln w="25400" cap="flat" cmpd="sng" algn="ctr">
            <a:noFill/>
            <a:prstDash val="solid"/>
          </a:ln>
          <a:effectLst/>
        </p:spPr>
        <p:txBody>
          <a:bodyPr rtlCol="0" anchor="ctr"/>
          <a:lstStyle/>
          <a:p>
            <a:pPr algn="ctr">
              <a:defRPr/>
            </a:pPr>
            <a:endParaRPr lang="en-GB" sz="1200" kern="0">
              <a:solidFill>
                <a:prstClr val="white"/>
              </a:solidFill>
              <a:latin typeface="Arial" panose="020B0604020202020204"/>
            </a:endParaRPr>
          </a:p>
        </p:txBody>
      </p:sp>
      <p:sp>
        <p:nvSpPr>
          <p:cNvPr id="47" name="Rectangle 46"/>
          <p:cNvSpPr/>
          <p:nvPr/>
        </p:nvSpPr>
        <p:spPr>
          <a:xfrm>
            <a:off x="1012990" y="2677250"/>
            <a:ext cx="3586292" cy="1178516"/>
          </a:xfrm>
          <a:prstGeom prst="rect">
            <a:avLst/>
          </a:prstGeom>
          <a:gradFill rotWithShape="1">
            <a:gsLst>
              <a:gs pos="0">
                <a:srgbClr val="00966C">
                  <a:lumMod val="20000"/>
                  <a:lumOff val="80000"/>
                </a:srgbClr>
              </a:gs>
              <a:gs pos="100000">
                <a:sysClr val="window" lastClr="FFFFFF"/>
              </a:gs>
            </a:gsLst>
            <a:lin ang="11040000" scaled="0"/>
          </a:gradFill>
          <a:ln w="9525" cap="flat" cmpd="sng" algn="ctr">
            <a:noFill/>
            <a:prstDash val="solid"/>
          </a:ln>
          <a:effectLst/>
        </p:spPr>
        <p:txBody>
          <a:bodyPr rtlCol="0" anchor="ctr"/>
          <a:lstStyle/>
          <a:p>
            <a:pPr algn="ctr">
              <a:defRPr/>
            </a:pPr>
            <a:endParaRPr lang="en-US" sz="1350" kern="0">
              <a:solidFill>
                <a:prstClr val="white"/>
              </a:solidFill>
              <a:latin typeface="Arial" panose="020B0604020202020204"/>
            </a:endParaRPr>
          </a:p>
        </p:txBody>
      </p:sp>
      <p:sp>
        <p:nvSpPr>
          <p:cNvPr id="50" name="Freeform 56"/>
          <p:cNvSpPr/>
          <p:nvPr>
            <p:custDataLst>
              <p:tags r:id="rId1"/>
            </p:custDataLst>
          </p:nvPr>
        </p:nvSpPr>
        <p:spPr bwMode="auto">
          <a:xfrm>
            <a:off x="3508915" y="3447956"/>
            <a:ext cx="1723621" cy="419240"/>
          </a:xfrm>
          <a:custGeom>
            <a:avLst/>
            <a:gdLst>
              <a:gd name="T0" fmla="*/ 2147483647 w 988"/>
              <a:gd name="T1" fmla="*/ 2147483647 h 324"/>
              <a:gd name="T2" fmla="*/ 0 w 988"/>
              <a:gd name="T3" fmla="*/ 2147483647 h 324"/>
              <a:gd name="T4" fmla="*/ 2147483647 w 988"/>
              <a:gd name="T5" fmla="*/ 0 h 324"/>
              <a:gd name="T6" fmla="*/ 2147483647 w 988"/>
              <a:gd name="T7" fmla="*/ 0 h 324"/>
              <a:gd name="T8" fmla="*/ 2147483647 w 988"/>
              <a:gd name="T9" fmla="*/ 2147483647 h 324"/>
              <a:gd name="T10" fmla="*/ 0 60000 65536"/>
              <a:gd name="T11" fmla="*/ 0 60000 65536"/>
              <a:gd name="T12" fmla="*/ 0 60000 65536"/>
              <a:gd name="T13" fmla="*/ 0 60000 65536"/>
              <a:gd name="T14" fmla="*/ 0 60000 65536"/>
              <a:gd name="T15" fmla="*/ 0 w 988"/>
              <a:gd name="T16" fmla="*/ 0 h 324"/>
              <a:gd name="T17" fmla="*/ 988 w 988"/>
              <a:gd name="T18" fmla="*/ 324 h 324"/>
            </a:gdLst>
            <a:ahLst/>
            <a:cxnLst>
              <a:cxn ang="T10">
                <a:pos x="T0" y="T1"/>
              </a:cxn>
              <a:cxn ang="T11">
                <a:pos x="T2" y="T3"/>
              </a:cxn>
              <a:cxn ang="T12">
                <a:pos x="T4" y="T5"/>
              </a:cxn>
              <a:cxn ang="T13">
                <a:pos x="T6" y="T7"/>
              </a:cxn>
              <a:cxn ang="T14">
                <a:pos x="T8" y="T9"/>
              </a:cxn>
            </a:cxnLst>
            <a:rect l="T15" t="T16" r="T17" b="T18"/>
            <a:pathLst>
              <a:path w="988" h="324">
                <a:moveTo>
                  <a:pt x="988" y="324"/>
                </a:moveTo>
                <a:lnTo>
                  <a:pt x="0" y="324"/>
                </a:lnTo>
                <a:lnTo>
                  <a:pt x="184" y="0"/>
                </a:lnTo>
                <a:lnTo>
                  <a:pt x="804" y="0"/>
                </a:lnTo>
                <a:lnTo>
                  <a:pt x="988" y="324"/>
                </a:lnTo>
                <a:close/>
              </a:path>
            </a:pathLst>
          </a:custGeom>
          <a:solidFill>
            <a:srgbClr val="00966C"/>
          </a:solidFill>
          <a:ln w="12700">
            <a:solidFill>
              <a:sysClr val="window" lastClr="FFFFFF"/>
            </a:solidFill>
            <a:miter lim="800000"/>
          </a:ln>
          <a:effectLst/>
        </p:spPr>
        <p:txBody>
          <a:bodyPr/>
          <a:lstStyle>
            <a:lvl1pPr eaLnBrk="0" hangingPunct="0">
              <a:defRPr sz="2400">
                <a:solidFill>
                  <a:schemeClr val="tx1"/>
                </a:solidFill>
                <a:latin typeface="Arial" panose="020B0604020202020204" pitchFamily="34" charset="0"/>
                <a:ea typeface="ヒラギノ角ゴ Pro W3" charset="-128"/>
              </a:defRPr>
            </a:lvl1pPr>
            <a:lvl2pPr marL="742950" indent="-285750" eaLnBrk="0" hangingPunct="0">
              <a:defRPr sz="2400">
                <a:solidFill>
                  <a:schemeClr val="tx1"/>
                </a:solidFill>
                <a:latin typeface="Arial" panose="020B0604020202020204" pitchFamily="34" charset="0"/>
                <a:ea typeface="ヒラギノ角ゴ Pro W3" charset="-128"/>
              </a:defRPr>
            </a:lvl2pPr>
            <a:lvl3pPr marL="1143000" indent="-228600" eaLnBrk="0" hangingPunct="0">
              <a:defRPr sz="2400">
                <a:solidFill>
                  <a:schemeClr val="tx1"/>
                </a:solidFill>
                <a:latin typeface="Arial" panose="020B0604020202020204" pitchFamily="34" charset="0"/>
                <a:ea typeface="ヒラギノ角ゴ Pro W3" charset="-128"/>
              </a:defRPr>
            </a:lvl3pPr>
            <a:lvl4pPr marL="1600200" indent="-228600" eaLnBrk="0" hangingPunct="0">
              <a:defRPr sz="2400">
                <a:solidFill>
                  <a:schemeClr val="tx1"/>
                </a:solidFill>
                <a:latin typeface="Arial" panose="020B0604020202020204" pitchFamily="34" charset="0"/>
                <a:ea typeface="ヒラギノ角ゴ Pro W3" charset="-128"/>
              </a:defRPr>
            </a:lvl4pPr>
            <a:lvl5pPr marL="2057400" indent="-228600" eaLnBrk="0" hangingPunct="0">
              <a:defRPr sz="2400">
                <a:solidFill>
                  <a:schemeClr val="tx1"/>
                </a:solidFill>
                <a:latin typeface="Arial" panose="020B0604020202020204"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9pPr>
          </a:lstStyle>
          <a:p>
            <a:pPr eaLnBrk="1" fontAlgn="base" hangingPunct="1">
              <a:spcBef>
                <a:spcPct val="0"/>
              </a:spcBef>
              <a:spcAft>
                <a:spcPct val="0"/>
              </a:spcAft>
              <a:defRPr/>
            </a:pPr>
            <a:endParaRPr lang="en-US" sz="1200" kern="0" dirty="0">
              <a:solidFill>
                <a:prstClr val="black"/>
              </a:solidFill>
            </a:endParaRPr>
          </a:p>
        </p:txBody>
      </p:sp>
      <p:sp>
        <p:nvSpPr>
          <p:cNvPr id="48" name="Freeform 54"/>
          <p:cNvSpPr/>
          <p:nvPr>
            <p:custDataLst>
              <p:tags r:id="rId2"/>
            </p:custDataLst>
          </p:nvPr>
        </p:nvSpPr>
        <p:spPr bwMode="auto">
          <a:xfrm>
            <a:off x="3828204" y="2688681"/>
            <a:ext cx="1080703" cy="757262"/>
          </a:xfrm>
          <a:custGeom>
            <a:avLst/>
            <a:gdLst>
              <a:gd name="T0" fmla="*/ 2147483647 w 620"/>
              <a:gd name="T1" fmla="*/ 2147483647 h 542"/>
              <a:gd name="T2" fmla="*/ 0 w 620"/>
              <a:gd name="T3" fmla="*/ 2147483647 h 542"/>
              <a:gd name="T4" fmla="*/ 2147483647 w 620"/>
              <a:gd name="T5" fmla="*/ 0 h 542"/>
              <a:gd name="T6" fmla="*/ 2147483647 w 620"/>
              <a:gd name="T7" fmla="*/ 2147483647 h 542"/>
              <a:gd name="T8" fmla="*/ 0 60000 65536"/>
              <a:gd name="T9" fmla="*/ 0 60000 65536"/>
              <a:gd name="T10" fmla="*/ 0 60000 65536"/>
              <a:gd name="T11" fmla="*/ 0 60000 65536"/>
              <a:gd name="T12" fmla="*/ 0 w 620"/>
              <a:gd name="T13" fmla="*/ 0 h 542"/>
              <a:gd name="T14" fmla="*/ 620 w 620"/>
              <a:gd name="T15" fmla="*/ 542 h 542"/>
            </a:gdLst>
            <a:ahLst/>
            <a:cxnLst>
              <a:cxn ang="T8">
                <a:pos x="T0" y="T1"/>
              </a:cxn>
              <a:cxn ang="T9">
                <a:pos x="T2" y="T3"/>
              </a:cxn>
              <a:cxn ang="T10">
                <a:pos x="T4" y="T5"/>
              </a:cxn>
              <a:cxn ang="T11">
                <a:pos x="T6" y="T7"/>
              </a:cxn>
            </a:cxnLst>
            <a:rect l="T12" t="T13" r="T14" b="T15"/>
            <a:pathLst>
              <a:path w="620" h="542">
                <a:moveTo>
                  <a:pt x="620" y="542"/>
                </a:moveTo>
                <a:lnTo>
                  <a:pt x="0" y="542"/>
                </a:lnTo>
                <a:lnTo>
                  <a:pt x="312" y="0"/>
                </a:lnTo>
                <a:lnTo>
                  <a:pt x="620" y="542"/>
                </a:lnTo>
                <a:close/>
              </a:path>
            </a:pathLst>
          </a:custGeom>
          <a:solidFill>
            <a:srgbClr val="00966C"/>
          </a:solidFill>
          <a:ln w="12700">
            <a:solidFill>
              <a:sysClr val="window" lastClr="FFFFFF"/>
            </a:solidFill>
            <a:miter lim="800000"/>
          </a:ln>
          <a:effectLst/>
        </p:spPr>
        <p:txBody>
          <a:bodyPr/>
          <a:lstStyle>
            <a:lvl1pPr eaLnBrk="0" hangingPunct="0">
              <a:defRPr sz="2400">
                <a:solidFill>
                  <a:schemeClr val="tx1"/>
                </a:solidFill>
                <a:latin typeface="Arial" panose="020B0604020202020204" pitchFamily="34" charset="0"/>
                <a:ea typeface="ヒラギノ角ゴ Pro W3" charset="-128"/>
              </a:defRPr>
            </a:lvl1pPr>
            <a:lvl2pPr marL="742950" indent="-285750" eaLnBrk="0" hangingPunct="0">
              <a:defRPr sz="2400">
                <a:solidFill>
                  <a:schemeClr val="tx1"/>
                </a:solidFill>
                <a:latin typeface="Arial" panose="020B0604020202020204" pitchFamily="34" charset="0"/>
                <a:ea typeface="ヒラギノ角ゴ Pro W3" charset="-128"/>
              </a:defRPr>
            </a:lvl2pPr>
            <a:lvl3pPr marL="1143000" indent="-228600" eaLnBrk="0" hangingPunct="0">
              <a:defRPr sz="2400">
                <a:solidFill>
                  <a:schemeClr val="tx1"/>
                </a:solidFill>
                <a:latin typeface="Arial" panose="020B0604020202020204" pitchFamily="34" charset="0"/>
                <a:ea typeface="ヒラギノ角ゴ Pro W3" charset="-128"/>
              </a:defRPr>
            </a:lvl3pPr>
            <a:lvl4pPr marL="1600200" indent="-228600" eaLnBrk="0" hangingPunct="0">
              <a:defRPr sz="2400">
                <a:solidFill>
                  <a:schemeClr val="tx1"/>
                </a:solidFill>
                <a:latin typeface="Arial" panose="020B0604020202020204" pitchFamily="34" charset="0"/>
                <a:ea typeface="ヒラギノ角ゴ Pro W3" charset="-128"/>
              </a:defRPr>
            </a:lvl4pPr>
            <a:lvl5pPr marL="2057400" indent="-228600" eaLnBrk="0" hangingPunct="0">
              <a:defRPr sz="2400">
                <a:solidFill>
                  <a:schemeClr val="tx1"/>
                </a:solidFill>
                <a:latin typeface="Arial" panose="020B0604020202020204"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9pPr>
          </a:lstStyle>
          <a:p>
            <a:pPr eaLnBrk="1" fontAlgn="base" hangingPunct="1">
              <a:spcBef>
                <a:spcPct val="0"/>
              </a:spcBef>
              <a:spcAft>
                <a:spcPct val="0"/>
              </a:spcAft>
              <a:defRPr/>
            </a:pPr>
            <a:endParaRPr lang="en-US" sz="1200" kern="0" dirty="0">
              <a:solidFill>
                <a:prstClr val="black"/>
              </a:solidFill>
            </a:endParaRPr>
          </a:p>
        </p:txBody>
      </p:sp>
      <p:sp>
        <p:nvSpPr>
          <p:cNvPr id="4" name="Rectangle 3"/>
          <p:cNvSpPr/>
          <p:nvPr/>
        </p:nvSpPr>
        <p:spPr>
          <a:xfrm>
            <a:off x="1426858" y="3861182"/>
            <a:ext cx="2758002" cy="2040302"/>
          </a:xfrm>
          <a:prstGeom prst="rect">
            <a:avLst/>
          </a:prstGeom>
          <a:gradFill>
            <a:gsLst>
              <a:gs pos="0">
                <a:schemeClr val="tx2">
                  <a:lumMod val="20000"/>
                  <a:lumOff val="80000"/>
                </a:schemeClr>
              </a:gs>
              <a:gs pos="100000">
                <a:schemeClr val="bg1"/>
              </a:gs>
              <a:gs pos="73000">
                <a:schemeClr val="tx2">
                  <a:lumMod val="20000"/>
                  <a:lumOff val="80000"/>
                  <a:alpha val="76000"/>
                </a:schemeClr>
              </a:gs>
            </a:gsLst>
            <a:lin ang="105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grpSp>
        <p:nvGrpSpPr>
          <p:cNvPr id="11" name="Group 10"/>
          <p:cNvGrpSpPr/>
          <p:nvPr/>
        </p:nvGrpSpPr>
        <p:grpSpPr>
          <a:xfrm>
            <a:off x="1861519" y="3864842"/>
            <a:ext cx="4995749" cy="2036642"/>
            <a:chOff x="637590" y="3021850"/>
            <a:chExt cx="5364701" cy="2635381"/>
          </a:xfrm>
        </p:grpSpPr>
        <p:sp>
          <p:nvSpPr>
            <p:cNvPr id="12" name="Freeform 43"/>
            <p:cNvSpPr/>
            <p:nvPr>
              <p:custDataLst>
                <p:tags r:id="rId3"/>
              </p:custDataLst>
            </p:nvPr>
          </p:nvSpPr>
          <p:spPr bwMode="auto">
            <a:xfrm>
              <a:off x="637590" y="5136214"/>
              <a:ext cx="5364701" cy="521017"/>
            </a:xfrm>
            <a:custGeom>
              <a:avLst/>
              <a:gdLst>
                <a:gd name="T0" fmla="*/ 2147483647 w 2864"/>
                <a:gd name="T1" fmla="*/ 2147483647 h 324"/>
                <a:gd name="T2" fmla="*/ 0 w 2864"/>
                <a:gd name="T3" fmla="*/ 2147483647 h 324"/>
                <a:gd name="T4" fmla="*/ 2147483647 w 2864"/>
                <a:gd name="T5" fmla="*/ 0 h 324"/>
                <a:gd name="T6" fmla="*/ 2147483647 w 2864"/>
                <a:gd name="T7" fmla="*/ 0 h 324"/>
                <a:gd name="T8" fmla="*/ 2147483647 w 2864"/>
                <a:gd name="T9" fmla="*/ 2147483647 h 324"/>
                <a:gd name="T10" fmla="*/ 0 60000 65536"/>
                <a:gd name="T11" fmla="*/ 0 60000 65536"/>
                <a:gd name="T12" fmla="*/ 0 60000 65536"/>
                <a:gd name="T13" fmla="*/ 0 60000 65536"/>
                <a:gd name="T14" fmla="*/ 0 60000 65536"/>
                <a:gd name="T15" fmla="*/ 0 w 2864"/>
                <a:gd name="T16" fmla="*/ 0 h 324"/>
                <a:gd name="T17" fmla="*/ 2864 w 2864"/>
                <a:gd name="T18" fmla="*/ 324 h 324"/>
              </a:gdLst>
              <a:ahLst/>
              <a:cxnLst>
                <a:cxn ang="T10">
                  <a:pos x="T0" y="T1"/>
                </a:cxn>
                <a:cxn ang="T11">
                  <a:pos x="T2" y="T3"/>
                </a:cxn>
                <a:cxn ang="T12">
                  <a:pos x="T4" y="T5"/>
                </a:cxn>
                <a:cxn ang="T13">
                  <a:pos x="T6" y="T7"/>
                </a:cxn>
                <a:cxn ang="T14">
                  <a:pos x="T8" y="T9"/>
                </a:cxn>
              </a:cxnLst>
              <a:rect l="T15" t="T16" r="T17" b="T18"/>
              <a:pathLst>
                <a:path w="2864" h="324">
                  <a:moveTo>
                    <a:pt x="2864" y="324"/>
                  </a:moveTo>
                  <a:lnTo>
                    <a:pt x="0" y="324"/>
                  </a:lnTo>
                  <a:lnTo>
                    <a:pt x="188" y="0"/>
                  </a:lnTo>
                  <a:lnTo>
                    <a:pt x="2676" y="0"/>
                  </a:lnTo>
                  <a:lnTo>
                    <a:pt x="2864" y="324"/>
                  </a:lnTo>
                  <a:close/>
                </a:path>
              </a:pathLst>
            </a:custGeom>
            <a:solidFill>
              <a:srgbClr val="FF6600"/>
            </a:solidFill>
            <a:ln w="12700">
              <a:solidFill>
                <a:sysClr val="window" lastClr="FFFFFF"/>
              </a:solidFill>
              <a:miter lim="800000"/>
            </a:ln>
            <a:effectLst/>
          </p:spPr>
          <p:txBody>
            <a:bodyPr/>
            <a:lstStyle>
              <a:lvl1pPr eaLnBrk="0" hangingPunct="0">
                <a:defRPr sz="2400">
                  <a:solidFill>
                    <a:schemeClr val="tx1"/>
                  </a:solidFill>
                  <a:latin typeface="Arial" panose="020B0604020202020204" pitchFamily="34" charset="0"/>
                  <a:ea typeface="ヒラギノ角ゴ Pro W3" charset="-128"/>
                </a:defRPr>
              </a:lvl1pPr>
              <a:lvl2pPr marL="742950" indent="-285750" eaLnBrk="0" hangingPunct="0">
                <a:defRPr sz="2400">
                  <a:solidFill>
                    <a:schemeClr val="tx1"/>
                  </a:solidFill>
                  <a:latin typeface="Arial" panose="020B0604020202020204" pitchFamily="34" charset="0"/>
                  <a:ea typeface="ヒラギノ角ゴ Pro W3" charset="-128"/>
                </a:defRPr>
              </a:lvl2pPr>
              <a:lvl3pPr marL="1143000" indent="-228600" eaLnBrk="0" hangingPunct="0">
                <a:defRPr sz="2400">
                  <a:solidFill>
                    <a:schemeClr val="tx1"/>
                  </a:solidFill>
                  <a:latin typeface="Arial" panose="020B0604020202020204" pitchFamily="34" charset="0"/>
                  <a:ea typeface="ヒラギノ角ゴ Pro W3" charset="-128"/>
                </a:defRPr>
              </a:lvl3pPr>
              <a:lvl4pPr marL="1600200" indent="-228600" eaLnBrk="0" hangingPunct="0">
                <a:defRPr sz="2400">
                  <a:solidFill>
                    <a:schemeClr val="tx1"/>
                  </a:solidFill>
                  <a:latin typeface="Arial" panose="020B0604020202020204" pitchFamily="34" charset="0"/>
                  <a:ea typeface="ヒラギノ角ゴ Pro W3" charset="-128"/>
                </a:defRPr>
              </a:lvl4pPr>
              <a:lvl5pPr marL="2057400" indent="-228600" eaLnBrk="0" hangingPunct="0">
                <a:defRPr sz="2400">
                  <a:solidFill>
                    <a:schemeClr val="tx1"/>
                  </a:solidFill>
                  <a:latin typeface="Arial" panose="020B0604020202020204"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9pPr>
            </a:lstStyle>
            <a:p>
              <a:pPr eaLnBrk="1" fontAlgn="base" hangingPunct="1">
                <a:spcBef>
                  <a:spcPct val="0"/>
                </a:spcBef>
                <a:spcAft>
                  <a:spcPct val="0"/>
                </a:spcAft>
                <a:defRPr/>
              </a:pPr>
              <a:endParaRPr lang="en-US" sz="1350" kern="0" dirty="0">
                <a:solidFill>
                  <a:prstClr val="black"/>
                </a:solidFill>
              </a:endParaRPr>
            </a:p>
          </p:txBody>
        </p:sp>
        <p:sp>
          <p:nvSpPr>
            <p:cNvPr id="13" name="Freeform 44"/>
            <p:cNvSpPr/>
            <p:nvPr>
              <p:custDataLst>
                <p:tags r:id="rId4"/>
              </p:custDataLst>
            </p:nvPr>
          </p:nvSpPr>
          <p:spPr bwMode="auto">
            <a:xfrm>
              <a:off x="999344" y="4589789"/>
              <a:ext cx="4660869" cy="549332"/>
            </a:xfrm>
            <a:custGeom>
              <a:avLst/>
              <a:gdLst>
                <a:gd name="T0" fmla="*/ 2147483647 w 2488"/>
                <a:gd name="T1" fmla="*/ 2147483647 h 324"/>
                <a:gd name="T2" fmla="*/ 0 w 2488"/>
                <a:gd name="T3" fmla="*/ 2147483647 h 324"/>
                <a:gd name="T4" fmla="*/ 2147483647 w 2488"/>
                <a:gd name="T5" fmla="*/ 0 h 324"/>
                <a:gd name="T6" fmla="*/ 2147483647 w 2488"/>
                <a:gd name="T7" fmla="*/ 0 h 324"/>
                <a:gd name="T8" fmla="*/ 2147483647 w 2488"/>
                <a:gd name="T9" fmla="*/ 2147483647 h 324"/>
                <a:gd name="T10" fmla="*/ 0 60000 65536"/>
                <a:gd name="T11" fmla="*/ 0 60000 65536"/>
                <a:gd name="T12" fmla="*/ 0 60000 65536"/>
                <a:gd name="T13" fmla="*/ 0 60000 65536"/>
                <a:gd name="T14" fmla="*/ 0 60000 65536"/>
                <a:gd name="T15" fmla="*/ 0 w 2488"/>
                <a:gd name="T16" fmla="*/ 0 h 324"/>
                <a:gd name="T17" fmla="*/ 2488 w 2488"/>
                <a:gd name="T18" fmla="*/ 324 h 324"/>
              </a:gdLst>
              <a:ahLst/>
              <a:cxnLst>
                <a:cxn ang="T10">
                  <a:pos x="T0" y="T1"/>
                </a:cxn>
                <a:cxn ang="T11">
                  <a:pos x="T2" y="T3"/>
                </a:cxn>
                <a:cxn ang="T12">
                  <a:pos x="T4" y="T5"/>
                </a:cxn>
                <a:cxn ang="T13">
                  <a:pos x="T6" y="T7"/>
                </a:cxn>
                <a:cxn ang="T14">
                  <a:pos x="T8" y="T9"/>
                </a:cxn>
              </a:cxnLst>
              <a:rect l="T15" t="T16" r="T17" b="T18"/>
              <a:pathLst>
                <a:path w="2488" h="324">
                  <a:moveTo>
                    <a:pt x="2488" y="324"/>
                  </a:moveTo>
                  <a:lnTo>
                    <a:pt x="0" y="324"/>
                  </a:lnTo>
                  <a:lnTo>
                    <a:pt x="188" y="0"/>
                  </a:lnTo>
                  <a:lnTo>
                    <a:pt x="2304" y="0"/>
                  </a:lnTo>
                  <a:lnTo>
                    <a:pt x="2488" y="324"/>
                  </a:lnTo>
                  <a:close/>
                </a:path>
              </a:pathLst>
            </a:custGeom>
            <a:solidFill>
              <a:srgbClr val="FF6600"/>
            </a:solidFill>
            <a:ln w="12700">
              <a:solidFill>
                <a:sysClr val="window" lastClr="FFFFFF"/>
              </a:solidFill>
              <a:miter lim="800000"/>
            </a:ln>
            <a:effectLst/>
          </p:spPr>
          <p:txBody>
            <a:bodyPr/>
            <a:lstStyle>
              <a:lvl1pPr eaLnBrk="0" hangingPunct="0">
                <a:defRPr sz="2400">
                  <a:solidFill>
                    <a:schemeClr val="tx1"/>
                  </a:solidFill>
                  <a:latin typeface="Arial" panose="020B0604020202020204" pitchFamily="34" charset="0"/>
                  <a:ea typeface="ヒラギノ角ゴ Pro W3" charset="-128"/>
                </a:defRPr>
              </a:lvl1pPr>
              <a:lvl2pPr marL="742950" indent="-285750" eaLnBrk="0" hangingPunct="0">
                <a:defRPr sz="2400">
                  <a:solidFill>
                    <a:schemeClr val="tx1"/>
                  </a:solidFill>
                  <a:latin typeface="Arial" panose="020B0604020202020204" pitchFamily="34" charset="0"/>
                  <a:ea typeface="ヒラギノ角ゴ Pro W3" charset="-128"/>
                </a:defRPr>
              </a:lvl2pPr>
              <a:lvl3pPr marL="1143000" indent="-228600" eaLnBrk="0" hangingPunct="0">
                <a:defRPr sz="2400">
                  <a:solidFill>
                    <a:schemeClr val="tx1"/>
                  </a:solidFill>
                  <a:latin typeface="Arial" panose="020B0604020202020204" pitchFamily="34" charset="0"/>
                  <a:ea typeface="ヒラギノ角ゴ Pro W3" charset="-128"/>
                </a:defRPr>
              </a:lvl3pPr>
              <a:lvl4pPr marL="1600200" indent="-228600" eaLnBrk="0" hangingPunct="0">
                <a:defRPr sz="2400">
                  <a:solidFill>
                    <a:schemeClr val="tx1"/>
                  </a:solidFill>
                  <a:latin typeface="Arial" panose="020B0604020202020204" pitchFamily="34" charset="0"/>
                  <a:ea typeface="ヒラギノ角ゴ Pro W3" charset="-128"/>
                </a:defRPr>
              </a:lvl4pPr>
              <a:lvl5pPr marL="2057400" indent="-228600" eaLnBrk="0" hangingPunct="0">
                <a:defRPr sz="2400">
                  <a:solidFill>
                    <a:schemeClr val="tx1"/>
                  </a:solidFill>
                  <a:latin typeface="Arial" panose="020B0604020202020204"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9pPr>
            </a:lstStyle>
            <a:p>
              <a:pPr eaLnBrk="1" fontAlgn="base" hangingPunct="1">
                <a:spcBef>
                  <a:spcPct val="0"/>
                </a:spcBef>
                <a:spcAft>
                  <a:spcPct val="0"/>
                </a:spcAft>
                <a:defRPr/>
              </a:pPr>
              <a:endParaRPr lang="en-US" sz="1200" kern="0" dirty="0">
                <a:solidFill>
                  <a:prstClr val="black"/>
                </a:solidFill>
              </a:endParaRPr>
            </a:p>
          </p:txBody>
        </p:sp>
        <p:sp>
          <p:nvSpPr>
            <p:cNvPr id="14" name="Freeform 45"/>
            <p:cNvSpPr/>
            <p:nvPr>
              <p:custDataLst>
                <p:tags r:id="rId5"/>
              </p:custDataLst>
            </p:nvPr>
          </p:nvSpPr>
          <p:spPr bwMode="auto">
            <a:xfrm>
              <a:off x="1348390" y="4058851"/>
              <a:ext cx="3963753" cy="531783"/>
            </a:xfrm>
            <a:custGeom>
              <a:avLst/>
              <a:gdLst>
                <a:gd name="T0" fmla="*/ 2147483647 w 2116"/>
                <a:gd name="T1" fmla="*/ 2147483647 h 320"/>
                <a:gd name="T2" fmla="*/ 0 w 2116"/>
                <a:gd name="T3" fmla="*/ 2147483647 h 320"/>
                <a:gd name="T4" fmla="*/ 2147483647 w 2116"/>
                <a:gd name="T5" fmla="*/ 0 h 320"/>
                <a:gd name="T6" fmla="*/ 2147483647 w 2116"/>
                <a:gd name="T7" fmla="*/ 0 h 320"/>
                <a:gd name="T8" fmla="*/ 2147483647 w 2116"/>
                <a:gd name="T9" fmla="*/ 2147483647 h 320"/>
                <a:gd name="T10" fmla="*/ 0 60000 65536"/>
                <a:gd name="T11" fmla="*/ 0 60000 65536"/>
                <a:gd name="T12" fmla="*/ 0 60000 65536"/>
                <a:gd name="T13" fmla="*/ 0 60000 65536"/>
                <a:gd name="T14" fmla="*/ 0 60000 65536"/>
                <a:gd name="T15" fmla="*/ 0 w 2116"/>
                <a:gd name="T16" fmla="*/ 0 h 320"/>
                <a:gd name="T17" fmla="*/ 2116 w 2116"/>
                <a:gd name="T18" fmla="*/ 320 h 320"/>
              </a:gdLst>
              <a:ahLst/>
              <a:cxnLst>
                <a:cxn ang="T10">
                  <a:pos x="T0" y="T1"/>
                </a:cxn>
                <a:cxn ang="T11">
                  <a:pos x="T2" y="T3"/>
                </a:cxn>
                <a:cxn ang="T12">
                  <a:pos x="T4" y="T5"/>
                </a:cxn>
                <a:cxn ang="T13">
                  <a:pos x="T6" y="T7"/>
                </a:cxn>
                <a:cxn ang="T14">
                  <a:pos x="T8" y="T9"/>
                </a:cxn>
              </a:cxnLst>
              <a:rect l="T15" t="T16" r="T17" b="T18"/>
              <a:pathLst>
                <a:path w="2116" h="320">
                  <a:moveTo>
                    <a:pt x="2116" y="320"/>
                  </a:moveTo>
                  <a:lnTo>
                    <a:pt x="0" y="320"/>
                  </a:lnTo>
                  <a:lnTo>
                    <a:pt x="192" y="0"/>
                  </a:lnTo>
                  <a:lnTo>
                    <a:pt x="1936" y="0"/>
                  </a:lnTo>
                  <a:lnTo>
                    <a:pt x="2116" y="320"/>
                  </a:lnTo>
                  <a:close/>
                </a:path>
              </a:pathLst>
            </a:custGeom>
            <a:solidFill>
              <a:srgbClr val="FF6600"/>
            </a:solidFill>
            <a:ln w="12700">
              <a:solidFill>
                <a:sysClr val="window" lastClr="FFFFFF"/>
              </a:solidFill>
              <a:miter lim="800000"/>
            </a:ln>
            <a:effectLst/>
          </p:spPr>
          <p:txBody>
            <a:bodyPr/>
            <a:lstStyle>
              <a:lvl1pPr eaLnBrk="0" hangingPunct="0">
                <a:defRPr sz="2400">
                  <a:solidFill>
                    <a:schemeClr val="tx1"/>
                  </a:solidFill>
                  <a:latin typeface="Arial" panose="020B0604020202020204" pitchFamily="34" charset="0"/>
                  <a:ea typeface="ヒラギノ角ゴ Pro W3" charset="-128"/>
                </a:defRPr>
              </a:lvl1pPr>
              <a:lvl2pPr marL="742950" indent="-285750" eaLnBrk="0" hangingPunct="0">
                <a:defRPr sz="2400">
                  <a:solidFill>
                    <a:schemeClr val="tx1"/>
                  </a:solidFill>
                  <a:latin typeface="Arial" panose="020B0604020202020204" pitchFamily="34" charset="0"/>
                  <a:ea typeface="ヒラギノ角ゴ Pro W3" charset="-128"/>
                </a:defRPr>
              </a:lvl2pPr>
              <a:lvl3pPr marL="1143000" indent="-228600" eaLnBrk="0" hangingPunct="0">
                <a:defRPr sz="2400">
                  <a:solidFill>
                    <a:schemeClr val="tx1"/>
                  </a:solidFill>
                  <a:latin typeface="Arial" panose="020B0604020202020204" pitchFamily="34" charset="0"/>
                  <a:ea typeface="ヒラギノ角ゴ Pro W3" charset="-128"/>
                </a:defRPr>
              </a:lvl3pPr>
              <a:lvl4pPr marL="1600200" indent="-228600" eaLnBrk="0" hangingPunct="0">
                <a:defRPr sz="2400">
                  <a:solidFill>
                    <a:schemeClr val="tx1"/>
                  </a:solidFill>
                  <a:latin typeface="Arial" panose="020B0604020202020204" pitchFamily="34" charset="0"/>
                  <a:ea typeface="ヒラギノ角ゴ Pro W3" charset="-128"/>
                </a:defRPr>
              </a:lvl4pPr>
              <a:lvl5pPr marL="2057400" indent="-228600" eaLnBrk="0" hangingPunct="0">
                <a:defRPr sz="2400">
                  <a:solidFill>
                    <a:schemeClr val="tx1"/>
                  </a:solidFill>
                  <a:latin typeface="Arial" panose="020B0604020202020204"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9pPr>
            </a:lstStyle>
            <a:p>
              <a:pPr eaLnBrk="1" fontAlgn="base" hangingPunct="1">
                <a:spcBef>
                  <a:spcPct val="0"/>
                </a:spcBef>
                <a:spcAft>
                  <a:spcPct val="0"/>
                </a:spcAft>
                <a:defRPr/>
              </a:pPr>
              <a:endParaRPr lang="en-US" sz="1200" kern="0" dirty="0">
                <a:solidFill>
                  <a:prstClr val="black"/>
                </a:solidFill>
              </a:endParaRPr>
            </a:p>
          </p:txBody>
        </p:sp>
        <p:sp>
          <p:nvSpPr>
            <p:cNvPr id="15" name="Freeform 46"/>
            <p:cNvSpPr/>
            <p:nvPr>
              <p:custDataLst>
                <p:tags r:id="rId6"/>
              </p:custDataLst>
            </p:nvPr>
          </p:nvSpPr>
          <p:spPr bwMode="auto">
            <a:xfrm>
              <a:off x="1708997" y="3531437"/>
              <a:ext cx="3258579" cy="526471"/>
            </a:xfrm>
            <a:custGeom>
              <a:avLst/>
              <a:gdLst>
                <a:gd name="T0" fmla="*/ 2147483647 w 1740"/>
                <a:gd name="T1" fmla="*/ 2147483647 h 326"/>
                <a:gd name="T2" fmla="*/ 0 w 1740"/>
                <a:gd name="T3" fmla="*/ 2147483647 h 326"/>
                <a:gd name="T4" fmla="*/ 2147483647 w 1740"/>
                <a:gd name="T5" fmla="*/ 0 h 326"/>
                <a:gd name="T6" fmla="*/ 2147483647 w 1740"/>
                <a:gd name="T7" fmla="*/ 0 h 326"/>
                <a:gd name="T8" fmla="*/ 2147483647 w 1740"/>
                <a:gd name="T9" fmla="*/ 2147483647 h 326"/>
                <a:gd name="T10" fmla="*/ 0 60000 65536"/>
                <a:gd name="T11" fmla="*/ 0 60000 65536"/>
                <a:gd name="T12" fmla="*/ 0 60000 65536"/>
                <a:gd name="T13" fmla="*/ 0 60000 65536"/>
                <a:gd name="T14" fmla="*/ 0 60000 65536"/>
                <a:gd name="T15" fmla="*/ 0 w 1740"/>
                <a:gd name="T16" fmla="*/ 0 h 326"/>
                <a:gd name="T17" fmla="*/ 1740 w 1740"/>
                <a:gd name="T18" fmla="*/ 326 h 326"/>
              </a:gdLst>
              <a:ahLst/>
              <a:cxnLst>
                <a:cxn ang="T10">
                  <a:pos x="T0" y="T1"/>
                </a:cxn>
                <a:cxn ang="T11">
                  <a:pos x="T2" y="T3"/>
                </a:cxn>
                <a:cxn ang="T12">
                  <a:pos x="T4" y="T5"/>
                </a:cxn>
                <a:cxn ang="T13">
                  <a:pos x="T6" y="T7"/>
                </a:cxn>
                <a:cxn ang="T14">
                  <a:pos x="T8" y="T9"/>
                </a:cxn>
              </a:cxnLst>
              <a:rect l="T15" t="T16" r="T17" b="T18"/>
              <a:pathLst>
                <a:path w="1740" h="326">
                  <a:moveTo>
                    <a:pt x="1740" y="326"/>
                  </a:moveTo>
                  <a:lnTo>
                    <a:pt x="0" y="326"/>
                  </a:lnTo>
                  <a:lnTo>
                    <a:pt x="184" y="0"/>
                  </a:lnTo>
                  <a:lnTo>
                    <a:pt x="1552" y="0"/>
                  </a:lnTo>
                  <a:lnTo>
                    <a:pt x="1740" y="326"/>
                  </a:lnTo>
                  <a:close/>
                </a:path>
              </a:pathLst>
            </a:custGeom>
            <a:solidFill>
              <a:srgbClr val="FF6600"/>
            </a:solidFill>
            <a:ln w="12700">
              <a:solidFill>
                <a:sysClr val="window" lastClr="FFFFFF"/>
              </a:solidFill>
              <a:miter lim="800000"/>
            </a:ln>
            <a:effectLst/>
          </p:spPr>
          <p:txBody>
            <a:bodyPr/>
            <a:lstStyle>
              <a:lvl1pPr eaLnBrk="0" hangingPunct="0">
                <a:defRPr sz="2400">
                  <a:solidFill>
                    <a:schemeClr val="tx1"/>
                  </a:solidFill>
                  <a:latin typeface="Arial" panose="020B0604020202020204" pitchFamily="34" charset="0"/>
                  <a:ea typeface="ヒラギノ角ゴ Pro W3" charset="-128"/>
                </a:defRPr>
              </a:lvl1pPr>
              <a:lvl2pPr marL="742950" indent="-285750" eaLnBrk="0" hangingPunct="0">
                <a:defRPr sz="2400">
                  <a:solidFill>
                    <a:schemeClr val="tx1"/>
                  </a:solidFill>
                  <a:latin typeface="Arial" panose="020B0604020202020204" pitchFamily="34" charset="0"/>
                  <a:ea typeface="ヒラギノ角ゴ Pro W3" charset="-128"/>
                </a:defRPr>
              </a:lvl2pPr>
              <a:lvl3pPr marL="1143000" indent="-228600" eaLnBrk="0" hangingPunct="0">
                <a:defRPr sz="2400">
                  <a:solidFill>
                    <a:schemeClr val="tx1"/>
                  </a:solidFill>
                  <a:latin typeface="Arial" panose="020B0604020202020204" pitchFamily="34" charset="0"/>
                  <a:ea typeface="ヒラギノ角ゴ Pro W3" charset="-128"/>
                </a:defRPr>
              </a:lvl3pPr>
              <a:lvl4pPr marL="1600200" indent="-228600" eaLnBrk="0" hangingPunct="0">
                <a:defRPr sz="2400">
                  <a:solidFill>
                    <a:schemeClr val="tx1"/>
                  </a:solidFill>
                  <a:latin typeface="Arial" panose="020B0604020202020204" pitchFamily="34" charset="0"/>
                  <a:ea typeface="ヒラギノ角ゴ Pro W3" charset="-128"/>
                </a:defRPr>
              </a:lvl4pPr>
              <a:lvl5pPr marL="2057400" indent="-228600" eaLnBrk="0" hangingPunct="0">
                <a:defRPr sz="2400">
                  <a:solidFill>
                    <a:schemeClr val="tx1"/>
                  </a:solidFill>
                  <a:latin typeface="Arial" panose="020B0604020202020204"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9pPr>
            </a:lstStyle>
            <a:p>
              <a:pPr eaLnBrk="1" fontAlgn="base" hangingPunct="1">
                <a:spcBef>
                  <a:spcPct val="0"/>
                </a:spcBef>
                <a:spcAft>
                  <a:spcPct val="0"/>
                </a:spcAft>
                <a:defRPr/>
              </a:pPr>
              <a:endParaRPr lang="en-US" sz="1200" kern="0" dirty="0">
                <a:solidFill>
                  <a:prstClr val="black"/>
                </a:solidFill>
              </a:endParaRPr>
            </a:p>
          </p:txBody>
        </p:sp>
        <p:sp>
          <p:nvSpPr>
            <p:cNvPr id="16" name="Freeform 34"/>
            <p:cNvSpPr/>
            <p:nvPr>
              <p:custDataLst>
                <p:tags r:id="rId7"/>
              </p:custDataLst>
            </p:nvPr>
          </p:nvSpPr>
          <p:spPr bwMode="auto">
            <a:xfrm>
              <a:off x="2049835" y="3021850"/>
              <a:ext cx="2558777" cy="514988"/>
            </a:xfrm>
            <a:custGeom>
              <a:avLst/>
              <a:gdLst>
                <a:gd name="T0" fmla="*/ 2147483647 w 1366"/>
                <a:gd name="T1" fmla="*/ 2147483647 h 320"/>
                <a:gd name="T2" fmla="*/ 0 w 1366"/>
                <a:gd name="T3" fmla="*/ 2147483647 h 320"/>
                <a:gd name="T4" fmla="*/ 2147483647 w 1366"/>
                <a:gd name="T5" fmla="*/ 0 h 320"/>
                <a:gd name="T6" fmla="*/ 2147483647 w 1366"/>
                <a:gd name="T7" fmla="*/ 0 h 320"/>
                <a:gd name="T8" fmla="*/ 2147483647 w 1366"/>
                <a:gd name="T9" fmla="*/ 2147483647 h 320"/>
                <a:gd name="T10" fmla="*/ 0 60000 65536"/>
                <a:gd name="T11" fmla="*/ 0 60000 65536"/>
                <a:gd name="T12" fmla="*/ 0 60000 65536"/>
                <a:gd name="T13" fmla="*/ 0 60000 65536"/>
                <a:gd name="T14" fmla="*/ 0 60000 65536"/>
                <a:gd name="T15" fmla="*/ 0 w 1366"/>
                <a:gd name="T16" fmla="*/ 0 h 320"/>
                <a:gd name="T17" fmla="*/ 1366 w 1366"/>
                <a:gd name="T18" fmla="*/ 320 h 320"/>
              </a:gdLst>
              <a:ahLst/>
              <a:cxnLst>
                <a:cxn ang="T10">
                  <a:pos x="T0" y="T1"/>
                </a:cxn>
                <a:cxn ang="T11">
                  <a:pos x="T2" y="T3"/>
                </a:cxn>
                <a:cxn ang="T12">
                  <a:pos x="T4" y="T5"/>
                </a:cxn>
                <a:cxn ang="T13">
                  <a:pos x="T6" y="T7"/>
                </a:cxn>
                <a:cxn ang="T14">
                  <a:pos x="T8" y="T9"/>
                </a:cxn>
              </a:cxnLst>
              <a:rect l="T15" t="T16" r="T17" b="T18"/>
              <a:pathLst>
                <a:path w="1366" h="320">
                  <a:moveTo>
                    <a:pt x="1366" y="320"/>
                  </a:moveTo>
                  <a:lnTo>
                    <a:pt x="0" y="320"/>
                  </a:lnTo>
                  <a:lnTo>
                    <a:pt x="188" y="0"/>
                  </a:lnTo>
                  <a:lnTo>
                    <a:pt x="1180" y="0"/>
                  </a:lnTo>
                  <a:lnTo>
                    <a:pt x="1366" y="320"/>
                  </a:lnTo>
                  <a:close/>
                </a:path>
              </a:pathLst>
            </a:custGeom>
            <a:solidFill>
              <a:srgbClr val="FC6D07"/>
            </a:solidFill>
            <a:ln w="12700">
              <a:solidFill>
                <a:sysClr val="window" lastClr="FFFFFF"/>
              </a:solidFill>
              <a:miter lim="800000"/>
            </a:ln>
            <a:effectLst/>
          </p:spPr>
          <p:txBody>
            <a:bodyPr/>
            <a:lstStyle>
              <a:lvl1pPr eaLnBrk="0" hangingPunct="0">
                <a:defRPr sz="2400">
                  <a:solidFill>
                    <a:schemeClr val="tx1"/>
                  </a:solidFill>
                  <a:latin typeface="Arial" panose="020B0604020202020204" pitchFamily="34" charset="0"/>
                  <a:ea typeface="ヒラギノ角ゴ Pro W3" charset="-128"/>
                </a:defRPr>
              </a:lvl1pPr>
              <a:lvl2pPr marL="742950" indent="-285750" eaLnBrk="0" hangingPunct="0">
                <a:defRPr sz="2400">
                  <a:solidFill>
                    <a:schemeClr val="tx1"/>
                  </a:solidFill>
                  <a:latin typeface="Arial" panose="020B0604020202020204" pitchFamily="34" charset="0"/>
                  <a:ea typeface="ヒラギノ角ゴ Pro W3" charset="-128"/>
                </a:defRPr>
              </a:lvl2pPr>
              <a:lvl3pPr marL="1143000" indent="-228600" eaLnBrk="0" hangingPunct="0">
                <a:defRPr sz="2400">
                  <a:solidFill>
                    <a:schemeClr val="tx1"/>
                  </a:solidFill>
                  <a:latin typeface="Arial" panose="020B0604020202020204" pitchFamily="34" charset="0"/>
                  <a:ea typeface="ヒラギノ角ゴ Pro W3" charset="-128"/>
                </a:defRPr>
              </a:lvl3pPr>
              <a:lvl4pPr marL="1600200" indent="-228600" eaLnBrk="0" hangingPunct="0">
                <a:defRPr sz="2400">
                  <a:solidFill>
                    <a:schemeClr val="tx1"/>
                  </a:solidFill>
                  <a:latin typeface="Arial" panose="020B0604020202020204" pitchFamily="34" charset="0"/>
                  <a:ea typeface="ヒラギノ角ゴ Pro W3" charset="-128"/>
                </a:defRPr>
              </a:lvl4pPr>
              <a:lvl5pPr marL="2057400" indent="-228600" eaLnBrk="0" hangingPunct="0">
                <a:defRPr sz="2400">
                  <a:solidFill>
                    <a:schemeClr val="tx1"/>
                  </a:solidFill>
                  <a:latin typeface="Arial" panose="020B0604020202020204"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9pPr>
            </a:lstStyle>
            <a:p>
              <a:pPr eaLnBrk="1" fontAlgn="base" hangingPunct="1">
                <a:spcBef>
                  <a:spcPct val="0"/>
                </a:spcBef>
                <a:spcAft>
                  <a:spcPct val="0"/>
                </a:spcAft>
                <a:defRPr/>
              </a:pPr>
              <a:endParaRPr lang="en-US" sz="1200" kern="0" dirty="0">
                <a:solidFill>
                  <a:prstClr val="black"/>
                </a:solidFill>
              </a:endParaRPr>
            </a:p>
          </p:txBody>
        </p:sp>
      </p:grpSp>
      <p:sp>
        <p:nvSpPr>
          <p:cNvPr id="19" name="TextBox 18"/>
          <p:cNvSpPr txBox="1"/>
          <p:nvPr/>
        </p:nvSpPr>
        <p:spPr>
          <a:xfrm>
            <a:off x="1675805" y="6123912"/>
            <a:ext cx="4022110" cy="230832"/>
          </a:xfrm>
          <a:prstGeom prst="rect">
            <a:avLst/>
          </a:prstGeom>
          <a:noFill/>
          <a:ln w="9525" cmpd="sng">
            <a:solidFill>
              <a:srgbClr val="787977"/>
            </a:solidFill>
            <a:prstDash val="dot"/>
          </a:ln>
          <a:effectLst/>
        </p:spPr>
        <p:txBody>
          <a:bodyPr wrap="square" rtlCol="0" anchor="ctr">
            <a:spAutoFit/>
          </a:bodyPr>
          <a:lstStyle/>
          <a:p>
            <a:pPr marL="891540" indent="-891540" algn="ctr" defTabSz="773430"/>
            <a:r>
              <a:rPr lang="en-US" sz="900" b="1" dirty="0">
                <a:solidFill>
                  <a:srgbClr val="FC6D07"/>
                </a:solidFill>
                <a:latin typeface="Roboto Condensed Bold Italic"/>
                <a:cs typeface="Roboto Condensed Bold Italic"/>
              </a:rPr>
              <a:t>Books are the knowledge repository from which we learn.</a:t>
            </a:r>
            <a:endParaRPr lang="en-US" sz="900" b="1" dirty="0">
              <a:solidFill>
                <a:srgbClr val="FC6D07"/>
              </a:solidFill>
              <a:latin typeface="Roboto Condensed Bold Italic"/>
              <a:cs typeface="Roboto Condensed Bold Italic"/>
            </a:endParaRPr>
          </a:p>
        </p:txBody>
      </p:sp>
      <p:sp>
        <p:nvSpPr>
          <p:cNvPr id="20" name="Text Placeholder 2"/>
          <p:cNvSpPr/>
          <p:nvPr>
            <p:custDataLst>
              <p:tags r:id="rId8"/>
            </p:custDataLst>
          </p:nvPr>
        </p:nvSpPr>
        <p:spPr bwMode="auto">
          <a:xfrm>
            <a:off x="3966181" y="3106637"/>
            <a:ext cx="754796" cy="276999"/>
          </a:xfrm>
          <a:prstGeom prst="rect">
            <a:avLst/>
          </a:prstGeom>
          <a:noFill/>
          <a:ln w="9525">
            <a:noFill/>
            <a:miter lim="800000"/>
          </a:ln>
        </p:spPr>
        <p:txBody>
          <a:bodyPr wrap="square" lIns="0" tIns="0" rIns="0" bIns="0" anchor="ctr">
            <a:spAutoFit/>
          </a:bodyPr>
          <a:lstStyle/>
          <a:p>
            <a:pPr algn="ctr" eaLnBrk="0" hangingPunct="0">
              <a:spcBef>
                <a:spcPct val="20000"/>
              </a:spcBef>
              <a:buClr>
                <a:srgbClr val="036635"/>
              </a:buClr>
              <a:buSzPct val="140000"/>
              <a:buFont typeface="Arial" panose="020B0604020202020204" pitchFamily="34" charset="0"/>
              <a:buNone/>
            </a:pPr>
            <a:r>
              <a:rPr lang="en-US" sz="900" dirty="0">
                <a:solidFill>
                  <a:prstClr val="white"/>
                </a:solidFill>
                <a:cs typeface="Arial" panose="020B0604020202020204" pitchFamily="34" charset="0"/>
              </a:rPr>
              <a:t>Primary research</a:t>
            </a:r>
            <a:endParaRPr lang="en-US" sz="900" dirty="0">
              <a:solidFill>
                <a:prstClr val="white"/>
              </a:solidFill>
              <a:cs typeface="Arial" panose="020B0604020202020204" pitchFamily="34" charset="0"/>
            </a:endParaRPr>
          </a:p>
        </p:txBody>
      </p:sp>
      <p:sp>
        <p:nvSpPr>
          <p:cNvPr id="21" name="Text Placeholder 2"/>
          <p:cNvSpPr/>
          <p:nvPr>
            <p:custDataLst>
              <p:tags r:id="rId9"/>
            </p:custDataLst>
          </p:nvPr>
        </p:nvSpPr>
        <p:spPr bwMode="auto">
          <a:xfrm>
            <a:off x="3810339" y="3508224"/>
            <a:ext cx="1179406" cy="276999"/>
          </a:xfrm>
          <a:prstGeom prst="rect">
            <a:avLst/>
          </a:prstGeom>
          <a:noFill/>
          <a:ln w="9525">
            <a:noFill/>
            <a:miter lim="800000"/>
          </a:ln>
        </p:spPr>
        <p:txBody>
          <a:bodyPr wrap="square" lIns="0" tIns="0" rIns="0" bIns="0" anchor="ctr">
            <a:spAutoFit/>
          </a:bodyPr>
          <a:lstStyle/>
          <a:p>
            <a:pPr algn="ctr" eaLnBrk="0" hangingPunct="0">
              <a:spcBef>
                <a:spcPct val="20000"/>
              </a:spcBef>
              <a:buClr>
                <a:srgbClr val="036635"/>
              </a:buClr>
              <a:buSzPct val="140000"/>
              <a:buFont typeface="Arial" panose="020B0604020202020204" pitchFamily="34" charset="0"/>
              <a:buNone/>
            </a:pPr>
            <a:r>
              <a:rPr lang="en-US" sz="900" dirty="0">
                <a:solidFill>
                  <a:prstClr val="white"/>
                </a:solidFill>
                <a:cs typeface="Arial" panose="020B0604020202020204" pitchFamily="34" charset="0"/>
              </a:rPr>
              <a:t>Summary of journal articles on a topic</a:t>
            </a:r>
            <a:endParaRPr lang="en-US" sz="900" dirty="0">
              <a:solidFill>
                <a:prstClr val="white"/>
              </a:solidFill>
              <a:cs typeface="Arial" panose="020B0604020202020204" pitchFamily="34" charset="0"/>
            </a:endParaRPr>
          </a:p>
        </p:txBody>
      </p:sp>
      <p:sp>
        <p:nvSpPr>
          <p:cNvPr id="22" name="Text Placeholder 2"/>
          <p:cNvSpPr/>
          <p:nvPr>
            <p:custDataLst>
              <p:tags r:id="rId10"/>
            </p:custDataLst>
          </p:nvPr>
        </p:nvSpPr>
        <p:spPr bwMode="auto">
          <a:xfrm>
            <a:off x="3329754" y="3907763"/>
            <a:ext cx="2090451" cy="276999"/>
          </a:xfrm>
          <a:prstGeom prst="rect">
            <a:avLst/>
          </a:prstGeom>
          <a:noFill/>
          <a:ln w="9525">
            <a:noFill/>
            <a:miter lim="800000"/>
          </a:ln>
        </p:spPr>
        <p:txBody>
          <a:bodyPr wrap="square" lIns="0" tIns="0" rIns="0" bIns="0" anchor="ctr">
            <a:spAutoFit/>
          </a:bodyPr>
          <a:lstStyle/>
          <a:p>
            <a:pPr algn="ctr" eaLnBrk="0" hangingPunct="0">
              <a:spcBef>
                <a:spcPct val="20000"/>
              </a:spcBef>
              <a:buClr>
                <a:srgbClr val="036635"/>
              </a:buClr>
              <a:buSzPct val="140000"/>
              <a:buFont typeface="Arial" panose="020B0604020202020204" pitchFamily="34" charset="0"/>
              <a:buNone/>
            </a:pPr>
            <a:r>
              <a:rPr lang="en-US" sz="900" dirty="0">
                <a:solidFill>
                  <a:schemeClr val="bg1"/>
                </a:solidFill>
                <a:cs typeface="Arial" panose="020B0604020202020204" pitchFamily="34" charset="0"/>
              </a:rPr>
              <a:t>In-depth explorations of  recent developments and methods in a  field </a:t>
            </a:r>
            <a:endParaRPr lang="en-US" sz="900" dirty="0">
              <a:solidFill>
                <a:schemeClr val="bg1"/>
              </a:solidFill>
              <a:cs typeface="Arial" panose="020B0604020202020204" pitchFamily="34" charset="0"/>
            </a:endParaRPr>
          </a:p>
        </p:txBody>
      </p:sp>
      <p:sp>
        <p:nvSpPr>
          <p:cNvPr id="23" name="Text Placeholder 2"/>
          <p:cNvSpPr/>
          <p:nvPr>
            <p:custDataLst>
              <p:tags r:id="rId11"/>
            </p:custDataLst>
          </p:nvPr>
        </p:nvSpPr>
        <p:spPr bwMode="auto">
          <a:xfrm>
            <a:off x="2872354" y="5153382"/>
            <a:ext cx="2760701" cy="276999"/>
          </a:xfrm>
          <a:prstGeom prst="rect">
            <a:avLst/>
          </a:prstGeom>
          <a:noFill/>
          <a:ln w="9525">
            <a:noFill/>
            <a:miter lim="800000"/>
          </a:ln>
        </p:spPr>
        <p:txBody>
          <a:bodyPr wrap="square" lIns="0" tIns="0" rIns="0" bIns="0" anchor="ctr">
            <a:spAutoFit/>
          </a:bodyPr>
          <a:lstStyle/>
          <a:p>
            <a:pPr algn="ctr" eaLnBrk="0" hangingPunct="0">
              <a:spcBef>
                <a:spcPct val="20000"/>
              </a:spcBef>
              <a:buClr>
                <a:srgbClr val="036635"/>
              </a:buClr>
              <a:buSzPct val="140000"/>
              <a:buFont typeface="Arial" panose="020B0604020202020204" pitchFamily="34" charset="0"/>
              <a:buNone/>
            </a:pPr>
            <a:r>
              <a:rPr lang="en-US" sz="900" dirty="0">
                <a:solidFill>
                  <a:prstClr val="white"/>
                </a:solidFill>
                <a:cs typeface="Arial" panose="020B0604020202020204" pitchFamily="34" charset="0"/>
              </a:rPr>
              <a:t>Pedagogical examination or didactic presentation of key subject area concepts and methods</a:t>
            </a:r>
            <a:endParaRPr lang="en-US" sz="900" dirty="0">
              <a:solidFill>
                <a:prstClr val="white"/>
              </a:solidFill>
              <a:cs typeface="Arial" panose="020B0604020202020204" pitchFamily="34" charset="0"/>
            </a:endParaRPr>
          </a:p>
        </p:txBody>
      </p:sp>
      <p:sp>
        <p:nvSpPr>
          <p:cNvPr id="24" name="Text Placeholder 2"/>
          <p:cNvSpPr/>
          <p:nvPr>
            <p:custDataLst>
              <p:tags r:id="rId12"/>
            </p:custDataLst>
          </p:nvPr>
        </p:nvSpPr>
        <p:spPr bwMode="auto">
          <a:xfrm>
            <a:off x="2876714" y="4733886"/>
            <a:ext cx="2842088" cy="276999"/>
          </a:xfrm>
          <a:prstGeom prst="rect">
            <a:avLst/>
          </a:prstGeom>
          <a:noFill/>
          <a:ln w="9525">
            <a:noFill/>
            <a:miter lim="800000"/>
          </a:ln>
        </p:spPr>
        <p:txBody>
          <a:bodyPr wrap="square" lIns="0" tIns="0" rIns="0" bIns="0" anchor="ctr">
            <a:spAutoFit/>
          </a:bodyPr>
          <a:lstStyle/>
          <a:p>
            <a:pPr algn="ctr" eaLnBrk="0" hangingPunct="0">
              <a:spcBef>
                <a:spcPct val="20000"/>
              </a:spcBef>
              <a:buClr>
                <a:srgbClr val="036635"/>
              </a:buClr>
              <a:buSzPct val="140000"/>
              <a:buFont typeface="Arial" panose="020B0604020202020204" pitchFamily="34" charset="0"/>
              <a:buNone/>
            </a:pPr>
            <a:r>
              <a:rPr lang="en-US" sz="900" dirty="0">
                <a:solidFill>
                  <a:prstClr val="white"/>
                </a:solidFill>
                <a:cs typeface="Arial" panose="020B0604020202020204" pitchFamily="34" charset="0"/>
              </a:rPr>
              <a:t>Compendiums of information / data sets for field or techniques, providing quick answers on the job</a:t>
            </a:r>
            <a:endParaRPr lang="en-US" sz="900" dirty="0">
              <a:solidFill>
                <a:prstClr val="white"/>
              </a:solidFill>
              <a:cs typeface="Arial" panose="020B0604020202020204" pitchFamily="34" charset="0"/>
            </a:endParaRPr>
          </a:p>
        </p:txBody>
      </p:sp>
      <p:sp>
        <p:nvSpPr>
          <p:cNvPr id="25" name="Text Placeholder 2"/>
          <p:cNvSpPr/>
          <p:nvPr>
            <p:custDataLst>
              <p:tags r:id="rId13"/>
            </p:custDataLst>
          </p:nvPr>
        </p:nvSpPr>
        <p:spPr bwMode="auto">
          <a:xfrm>
            <a:off x="3155818" y="4329471"/>
            <a:ext cx="2476742" cy="276999"/>
          </a:xfrm>
          <a:prstGeom prst="rect">
            <a:avLst/>
          </a:prstGeom>
          <a:noFill/>
          <a:ln w="9525">
            <a:noFill/>
            <a:miter lim="800000"/>
          </a:ln>
        </p:spPr>
        <p:txBody>
          <a:bodyPr wrap="square" lIns="0" tIns="0" rIns="0" bIns="0" anchor="ctr">
            <a:spAutoFit/>
          </a:bodyPr>
          <a:lstStyle/>
          <a:p>
            <a:pPr algn="ctr" eaLnBrk="0" hangingPunct="0">
              <a:spcBef>
                <a:spcPct val="20000"/>
              </a:spcBef>
              <a:buClr>
                <a:srgbClr val="036635"/>
              </a:buClr>
              <a:buSzPct val="140000"/>
              <a:buFont typeface="Arial" panose="020B0604020202020204" pitchFamily="34" charset="0"/>
              <a:buNone/>
            </a:pPr>
            <a:r>
              <a:rPr lang="en-US" sz="900" dirty="0">
                <a:solidFill>
                  <a:prstClr val="white"/>
                </a:solidFill>
                <a:cs typeface="Arial" panose="020B0604020202020204" pitchFamily="34" charset="0"/>
              </a:rPr>
              <a:t>Complete, advanced and detailed descriptions providing depth in subject areas</a:t>
            </a:r>
            <a:endParaRPr lang="en-US" sz="900" dirty="0">
              <a:solidFill>
                <a:prstClr val="white"/>
              </a:solidFill>
              <a:cs typeface="Arial" panose="020B0604020202020204" pitchFamily="34" charset="0"/>
            </a:endParaRPr>
          </a:p>
        </p:txBody>
      </p:sp>
      <p:sp>
        <p:nvSpPr>
          <p:cNvPr id="26" name="Text Placeholder 2"/>
          <p:cNvSpPr/>
          <p:nvPr>
            <p:custDataLst>
              <p:tags r:id="rId14"/>
            </p:custDataLst>
          </p:nvPr>
        </p:nvSpPr>
        <p:spPr bwMode="auto">
          <a:xfrm>
            <a:off x="2537071" y="5578354"/>
            <a:ext cx="3494995" cy="276999"/>
          </a:xfrm>
          <a:prstGeom prst="rect">
            <a:avLst/>
          </a:prstGeom>
          <a:noFill/>
          <a:ln w="9525">
            <a:noFill/>
            <a:miter lim="800000"/>
          </a:ln>
        </p:spPr>
        <p:txBody>
          <a:bodyPr wrap="square" lIns="0" tIns="0" rIns="0" bIns="0" anchor="ctr">
            <a:spAutoFit/>
          </a:bodyPr>
          <a:lstStyle/>
          <a:p>
            <a:pPr algn="ctr" eaLnBrk="0" hangingPunct="0">
              <a:spcBef>
                <a:spcPct val="20000"/>
              </a:spcBef>
              <a:buClr>
                <a:srgbClr val="036635"/>
              </a:buClr>
              <a:buSzPct val="140000"/>
              <a:buFont typeface="Arial" panose="020B0604020202020204" pitchFamily="34" charset="0"/>
              <a:buNone/>
            </a:pPr>
            <a:r>
              <a:rPr lang="en-US" sz="900" dirty="0">
                <a:solidFill>
                  <a:prstClr val="white"/>
                </a:solidFill>
                <a:cs typeface="Arial" panose="020B0604020202020204" pitchFamily="34" charset="0"/>
              </a:rPr>
              <a:t>Comprehensive, foundational introduction </a:t>
            </a:r>
            <a:br>
              <a:rPr lang="en-US" sz="900" dirty="0">
                <a:solidFill>
                  <a:prstClr val="white"/>
                </a:solidFill>
                <a:cs typeface="Arial" panose="020B0604020202020204" pitchFamily="34" charset="0"/>
              </a:rPr>
            </a:br>
            <a:r>
              <a:rPr lang="en-US" sz="900" dirty="0">
                <a:solidFill>
                  <a:prstClr val="white"/>
                </a:solidFill>
                <a:cs typeface="Arial" panose="020B0604020202020204" pitchFamily="34" charset="0"/>
              </a:rPr>
              <a:t>to a discipline; encyclopedias</a:t>
            </a:r>
            <a:endParaRPr lang="en-US" sz="900" dirty="0">
              <a:solidFill>
                <a:prstClr val="white"/>
              </a:solidFill>
              <a:cs typeface="Arial" panose="020B0604020202020204" pitchFamily="34" charset="0"/>
            </a:endParaRPr>
          </a:p>
        </p:txBody>
      </p:sp>
      <p:cxnSp>
        <p:nvCxnSpPr>
          <p:cNvPr id="27" name="Straight Connector 26"/>
          <p:cNvCxnSpPr/>
          <p:nvPr/>
        </p:nvCxnSpPr>
        <p:spPr>
          <a:xfrm>
            <a:off x="4892579" y="3444312"/>
            <a:ext cx="229832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28" name="Text Placeholder 2"/>
          <p:cNvSpPr/>
          <p:nvPr>
            <p:custDataLst>
              <p:tags r:id="rId15"/>
            </p:custDataLst>
          </p:nvPr>
        </p:nvSpPr>
        <p:spPr bwMode="auto">
          <a:xfrm>
            <a:off x="4926184" y="3086662"/>
            <a:ext cx="994445" cy="173124"/>
          </a:xfrm>
          <a:prstGeom prst="rect">
            <a:avLst/>
          </a:prstGeom>
          <a:noFill/>
          <a:ln w="9525">
            <a:noFill/>
            <a:miter lim="800000"/>
          </a:ln>
        </p:spPr>
        <p:txBody>
          <a:bodyPr wrap="square" lIns="0" tIns="0" rIns="0" bIns="0" anchor="ctr">
            <a:spAutoFit/>
          </a:bodyPr>
          <a:lstStyle/>
          <a:p>
            <a:pPr eaLnBrk="0" hangingPunct="0">
              <a:spcBef>
                <a:spcPct val="20000"/>
              </a:spcBef>
              <a:buClr>
                <a:srgbClr val="036635"/>
              </a:buClr>
              <a:buSzPct val="140000"/>
              <a:buFont typeface="Arial" panose="020B0604020202020204" pitchFamily="34" charset="0"/>
              <a:buNone/>
            </a:pPr>
            <a:r>
              <a:rPr lang="en-US" sz="1125" dirty="0">
                <a:solidFill>
                  <a:srgbClr val="53565A"/>
                </a:solidFill>
                <a:cs typeface="Arial" panose="020B0604020202020204" pitchFamily="34" charset="0"/>
              </a:rPr>
              <a:t>Journals</a:t>
            </a:r>
            <a:endParaRPr lang="en-US" sz="1125" dirty="0">
              <a:solidFill>
                <a:srgbClr val="53565A"/>
              </a:solidFill>
              <a:cs typeface="Arial" panose="020B0604020202020204" pitchFamily="34" charset="0"/>
            </a:endParaRPr>
          </a:p>
        </p:txBody>
      </p:sp>
      <p:sp>
        <p:nvSpPr>
          <p:cNvPr id="29" name="Text Placeholder 2"/>
          <p:cNvSpPr/>
          <p:nvPr>
            <p:custDataLst>
              <p:tags r:id="rId16"/>
            </p:custDataLst>
          </p:nvPr>
        </p:nvSpPr>
        <p:spPr bwMode="auto">
          <a:xfrm>
            <a:off x="5253883" y="3540484"/>
            <a:ext cx="1849389" cy="173124"/>
          </a:xfrm>
          <a:prstGeom prst="rect">
            <a:avLst/>
          </a:prstGeom>
          <a:noFill/>
          <a:ln w="9525">
            <a:noFill/>
            <a:miter lim="800000"/>
          </a:ln>
        </p:spPr>
        <p:txBody>
          <a:bodyPr wrap="square" lIns="0" tIns="0" rIns="0" bIns="0" anchor="ctr">
            <a:spAutoFit/>
          </a:bodyPr>
          <a:lstStyle/>
          <a:p>
            <a:pPr eaLnBrk="0" hangingPunct="0">
              <a:spcBef>
                <a:spcPct val="20000"/>
              </a:spcBef>
              <a:buClr>
                <a:srgbClr val="036635"/>
              </a:buClr>
              <a:buSzPct val="140000"/>
              <a:buFont typeface="Arial" panose="020B0604020202020204" pitchFamily="34" charset="0"/>
              <a:buNone/>
            </a:pPr>
            <a:r>
              <a:rPr lang="en-US" sz="1125" dirty="0">
                <a:solidFill>
                  <a:srgbClr val="53565A"/>
                </a:solidFill>
                <a:cs typeface="Arial" panose="020B0604020202020204" pitchFamily="34" charset="0"/>
              </a:rPr>
              <a:t>Journal (Review Journals)</a:t>
            </a:r>
            <a:endParaRPr lang="en-US" sz="1125" dirty="0">
              <a:solidFill>
                <a:srgbClr val="53565A"/>
              </a:solidFill>
              <a:cs typeface="Arial" panose="020B0604020202020204" pitchFamily="34" charset="0"/>
            </a:endParaRPr>
          </a:p>
        </p:txBody>
      </p:sp>
      <p:cxnSp>
        <p:nvCxnSpPr>
          <p:cNvPr id="30" name="Straight Connector 29"/>
          <p:cNvCxnSpPr/>
          <p:nvPr/>
        </p:nvCxnSpPr>
        <p:spPr>
          <a:xfrm>
            <a:off x="5569648" y="4260921"/>
            <a:ext cx="1750133"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31" name="Text Placeholder 2"/>
          <p:cNvSpPr/>
          <p:nvPr>
            <p:custDataLst>
              <p:tags r:id="rId17"/>
            </p:custDataLst>
          </p:nvPr>
        </p:nvSpPr>
        <p:spPr bwMode="auto">
          <a:xfrm>
            <a:off x="5568265" y="3974839"/>
            <a:ext cx="1458306" cy="173124"/>
          </a:xfrm>
          <a:prstGeom prst="rect">
            <a:avLst/>
          </a:prstGeom>
          <a:noFill/>
          <a:ln w="9525">
            <a:noFill/>
            <a:miter lim="800000"/>
          </a:ln>
        </p:spPr>
        <p:txBody>
          <a:bodyPr wrap="square" lIns="0" tIns="0" rIns="0" bIns="0" anchor="ctr">
            <a:spAutoFit/>
          </a:bodyPr>
          <a:lstStyle/>
          <a:p>
            <a:pPr eaLnBrk="0" hangingPunct="0">
              <a:spcBef>
                <a:spcPct val="20000"/>
              </a:spcBef>
              <a:buClr>
                <a:srgbClr val="036635"/>
              </a:buClr>
              <a:buSzPct val="140000"/>
              <a:buFont typeface="Arial" panose="020B0604020202020204" pitchFamily="34" charset="0"/>
              <a:buNone/>
            </a:pPr>
            <a:r>
              <a:rPr lang="en-US" sz="1125" dirty="0">
                <a:solidFill>
                  <a:srgbClr val="53565A"/>
                </a:solidFill>
                <a:cs typeface="Arial" panose="020B0604020202020204" pitchFamily="34" charset="0"/>
              </a:rPr>
              <a:t>Book Series (Serials)</a:t>
            </a:r>
            <a:endParaRPr lang="en-US" sz="1125" dirty="0">
              <a:solidFill>
                <a:srgbClr val="53565A"/>
              </a:solidFill>
              <a:cs typeface="Arial" panose="020B0604020202020204" pitchFamily="34" charset="0"/>
            </a:endParaRPr>
          </a:p>
        </p:txBody>
      </p:sp>
      <p:cxnSp>
        <p:nvCxnSpPr>
          <p:cNvPr id="32" name="Straight Connector 31"/>
          <p:cNvCxnSpPr/>
          <p:nvPr/>
        </p:nvCxnSpPr>
        <p:spPr>
          <a:xfrm>
            <a:off x="6218203" y="5070246"/>
            <a:ext cx="1249510"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33" name="Text Placeholder 2"/>
          <p:cNvSpPr/>
          <p:nvPr>
            <p:custDataLst>
              <p:tags r:id="rId18"/>
            </p:custDataLst>
          </p:nvPr>
        </p:nvSpPr>
        <p:spPr bwMode="auto">
          <a:xfrm>
            <a:off x="6719046" y="5541946"/>
            <a:ext cx="1577242" cy="323165"/>
          </a:xfrm>
          <a:prstGeom prst="rect">
            <a:avLst/>
          </a:prstGeom>
          <a:noFill/>
          <a:ln w="9525">
            <a:noFill/>
            <a:miter lim="800000"/>
          </a:ln>
        </p:spPr>
        <p:txBody>
          <a:bodyPr wrap="square" lIns="0" tIns="0" rIns="0" bIns="0" anchor="ctr">
            <a:spAutoFit/>
          </a:bodyPr>
          <a:lstStyle/>
          <a:p>
            <a:pPr algn="ctr" eaLnBrk="0" hangingPunct="0">
              <a:spcBef>
                <a:spcPct val="20000"/>
              </a:spcBef>
              <a:buClr>
                <a:srgbClr val="036635"/>
              </a:buClr>
              <a:buSzPct val="140000"/>
              <a:buFont typeface="Arial" panose="020B0604020202020204" pitchFamily="34" charset="0"/>
              <a:buNone/>
            </a:pPr>
            <a:r>
              <a:rPr lang="en-US" sz="1050" dirty="0">
                <a:solidFill>
                  <a:srgbClr val="53565A"/>
                </a:solidFill>
                <a:cs typeface="Arial" panose="020B0604020202020204" pitchFamily="34" charset="0"/>
              </a:rPr>
              <a:t>Reference Modules  &amp; Major Ref. Works (MRWs) </a:t>
            </a:r>
            <a:endParaRPr lang="en-US" sz="1050" dirty="0">
              <a:solidFill>
                <a:srgbClr val="53565A"/>
              </a:solidFill>
              <a:cs typeface="Arial" panose="020B0604020202020204" pitchFamily="34" charset="0"/>
            </a:endParaRPr>
          </a:p>
        </p:txBody>
      </p:sp>
      <p:sp>
        <p:nvSpPr>
          <p:cNvPr id="34" name="Text Placeholder 2"/>
          <p:cNvSpPr/>
          <p:nvPr>
            <p:custDataLst>
              <p:tags r:id="rId19"/>
            </p:custDataLst>
          </p:nvPr>
        </p:nvSpPr>
        <p:spPr bwMode="auto">
          <a:xfrm>
            <a:off x="6529894" y="5223487"/>
            <a:ext cx="754115" cy="173124"/>
          </a:xfrm>
          <a:prstGeom prst="rect">
            <a:avLst/>
          </a:prstGeom>
          <a:noFill/>
          <a:ln w="9525">
            <a:noFill/>
            <a:miter lim="800000"/>
          </a:ln>
        </p:spPr>
        <p:txBody>
          <a:bodyPr wrap="square" lIns="0" tIns="0" rIns="0" bIns="0" anchor="ctr">
            <a:spAutoFit/>
          </a:bodyPr>
          <a:lstStyle/>
          <a:p>
            <a:pPr eaLnBrk="0" hangingPunct="0">
              <a:spcBef>
                <a:spcPct val="20000"/>
              </a:spcBef>
              <a:buClr>
                <a:srgbClr val="036635"/>
              </a:buClr>
              <a:buSzPct val="140000"/>
              <a:buFont typeface="Arial" panose="020B0604020202020204" pitchFamily="34" charset="0"/>
              <a:buNone/>
            </a:pPr>
            <a:r>
              <a:rPr lang="en-US" sz="1125" dirty="0">
                <a:solidFill>
                  <a:srgbClr val="53565A"/>
                </a:solidFill>
                <a:cs typeface="Arial" panose="020B0604020202020204" pitchFamily="34" charset="0"/>
              </a:rPr>
              <a:t>Textbooks</a:t>
            </a:r>
            <a:endParaRPr lang="en-US" sz="1125" dirty="0">
              <a:solidFill>
                <a:srgbClr val="53565A"/>
              </a:solidFill>
              <a:cs typeface="Arial" panose="020B0604020202020204" pitchFamily="34" charset="0"/>
            </a:endParaRPr>
          </a:p>
        </p:txBody>
      </p:sp>
      <p:cxnSp>
        <p:nvCxnSpPr>
          <p:cNvPr id="35" name="Straight Connector 34"/>
          <p:cNvCxnSpPr/>
          <p:nvPr/>
        </p:nvCxnSpPr>
        <p:spPr>
          <a:xfrm>
            <a:off x="5227359" y="3861881"/>
            <a:ext cx="2056562"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6537106" y="5498706"/>
            <a:ext cx="959852"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37" name="Text Placeholder 2"/>
          <p:cNvSpPr/>
          <p:nvPr>
            <p:custDataLst>
              <p:tags r:id="rId20"/>
            </p:custDataLst>
          </p:nvPr>
        </p:nvSpPr>
        <p:spPr bwMode="auto">
          <a:xfrm>
            <a:off x="5981772" y="4549329"/>
            <a:ext cx="2182249" cy="173124"/>
          </a:xfrm>
          <a:prstGeom prst="rect">
            <a:avLst/>
          </a:prstGeom>
          <a:noFill/>
          <a:ln w="9525">
            <a:noFill/>
            <a:miter lim="800000"/>
          </a:ln>
        </p:spPr>
        <p:txBody>
          <a:bodyPr wrap="square" lIns="0" tIns="0" rIns="0" bIns="0" anchor="ctr">
            <a:spAutoFit/>
          </a:bodyPr>
          <a:lstStyle/>
          <a:p>
            <a:pPr eaLnBrk="0" hangingPunct="0">
              <a:spcBef>
                <a:spcPct val="20000"/>
              </a:spcBef>
              <a:buClr>
                <a:srgbClr val="036635"/>
              </a:buClr>
              <a:buSzPct val="140000"/>
              <a:buFont typeface="Arial" panose="020B0604020202020204" pitchFamily="34" charset="0"/>
              <a:buNone/>
            </a:pPr>
            <a:r>
              <a:rPr lang="en-US" sz="1125" dirty="0">
                <a:solidFill>
                  <a:srgbClr val="53565A"/>
                </a:solidFill>
                <a:cs typeface="Arial" panose="020B0604020202020204" pitchFamily="34" charset="0"/>
              </a:rPr>
              <a:t>eBooks (Monographs)</a:t>
            </a:r>
            <a:endParaRPr lang="en-US" sz="1125" dirty="0">
              <a:solidFill>
                <a:srgbClr val="53565A"/>
              </a:solidFill>
              <a:cs typeface="Arial" panose="020B0604020202020204" pitchFamily="34" charset="0"/>
            </a:endParaRPr>
          </a:p>
        </p:txBody>
      </p:sp>
      <p:sp>
        <p:nvSpPr>
          <p:cNvPr id="41" name="Text Placeholder 2"/>
          <p:cNvSpPr/>
          <p:nvPr>
            <p:custDataLst>
              <p:tags r:id="rId21"/>
            </p:custDataLst>
          </p:nvPr>
        </p:nvSpPr>
        <p:spPr bwMode="auto">
          <a:xfrm>
            <a:off x="3262141" y="6013330"/>
            <a:ext cx="1767269" cy="138499"/>
          </a:xfrm>
          <a:prstGeom prst="rect">
            <a:avLst/>
          </a:prstGeom>
          <a:noFill/>
          <a:ln w="9525">
            <a:noFill/>
            <a:miter lim="800000"/>
          </a:ln>
        </p:spPr>
        <p:txBody>
          <a:bodyPr wrap="square" lIns="0" tIns="0" rIns="0" bIns="0" anchor="ctr">
            <a:spAutoFit/>
          </a:bodyPr>
          <a:lstStyle/>
          <a:p>
            <a:pPr algn="ctr" eaLnBrk="0" hangingPunct="0">
              <a:spcBef>
                <a:spcPct val="20000"/>
              </a:spcBef>
              <a:buClr>
                <a:srgbClr val="036635"/>
              </a:buClr>
              <a:buSzPct val="140000"/>
              <a:buFont typeface="Arial" panose="020B0604020202020204" pitchFamily="34" charset="0"/>
              <a:buNone/>
            </a:pPr>
            <a:r>
              <a:rPr lang="en-US" sz="900" dirty="0">
                <a:solidFill>
                  <a:srgbClr val="53565A"/>
                </a:solidFill>
                <a:cs typeface="Arial" panose="020B0604020202020204" pitchFamily="34" charset="0"/>
              </a:rPr>
              <a:t>Relevance of information over time</a:t>
            </a:r>
            <a:endParaRPr lang="en-US" sz="900" dirty="0">
              <a:solidFill>
                <a:srgbClr val="53565A"/>
              </a:solidFill>
              <a:cs typeface="Arial" panose="020B0604020202020204" pitchFamily="34" charset="0"/>
            </a:endParaRPr>
          </a:p>
        </p:txBody>
      </p:sp>
      <p:cxnSp>
        <p:nvCxnSpPr>
          <p:cNvPr id="42" name="Straight Arrow Connector 41"/>
          <p:cNvCxnSpPr/>
          <p:nvPr/>
        </p:nvCxnSpPr>
        <p:spPr>
          <a:xfrm flipV="1">
            <a:off x="5049882" y="6082579"/>
            <a:ext cx="1091416" cy="1"/>
          </a:xfrm>
          <a:prstGeom prst="straightConnector1">
            <a:avLst/>
          </a:prstGeom>
          <a:ln w="12700">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cxnSp>
        <p:nvCxnSpPr>
          <p:cNvPr id="43" name="Straight Arrow Connector 42"/>
          <p:cNvCxnSpPr/>
          <p:nvPr/>
        </p:nvCxnSpPr>
        <p:spPr>
          <a:xfrm flipH="1">
            <a:off x="2169349" y="6082578"/>
            <a:ext cx="1062081" cy="0"/>
          </a:xfrm>
          <a:prstGeom prst="straightConnector1">
            <a:avLst/>
          </a:prstGeom>
          <a:ln w="12700">
            <a:solidFill>
              <a:schemeClr val="accent4"/>
            </a:solidFill>
            <a:tailEnd type="stealth" w="lg" len="lg"/>
          </a:ln>
          <a:effectLst/>
        </p:spPr>
        <p:style>
          <a:lnRef idx="2">
            <a:schemeClr val="accent1"/>
          </a:lnRef>
          <a:fillRef idx="0">
            <a:schemeClr val="accent1"/>
          </a:fillRef>
          <a:effectRef idx="1">
            <a:schemeClr val="accent1"/>
          </a:effectRef>
          <a:fontRef idx="minor">
            <a:schemeClr val="tx1"/>
          </a:fontRef>
        </p:style>
      </p:cxnSp>
      <p:sp>
        <p:nvSpPr>
          <p:cNvPr id="44" name="TextBox 43"/>
          <p:cNvSpPr txBox="1"/>
          <p:nvPr/>
        </p:nvSpPr>
        <p:spPr>
          <a:xfrm>
            <a:off x="1637884" y="3217529"/>
            <a:ext cx="1364967" cy="415498"/>
          </a:xfrm>
          <a:prstGeom prst="rect">
            <a:avLst/>
          </a:prstGeom>
          <a:noFill/>
        </p:spPr>
        <p:txBody>
          <a:bodyPr wrap="square" rtlCol="0">
            <a:spAutoFit/>
          </a:bodyPr>
          <a:lstStyle/>
          <a:p>
            <a:pPr algn="r"/>
            <a:r>
              <a:rPr lang="en-US" sz="2100" dirty="0">
                <a:solidFill>
                  <a:srgbClr val="759497"/>
                </a:solidFill>
                <a:cs typeface="Roboto Condensed Bold Italic"/>
              </a:rPr>
              <a:t>Journals</a:t>
            </a:r>
            <a:endParaRPr lang="en-US" sz="2100" dirty="0"/>
          </a:p>
        </p:txBody>
      </p:sp>
      <p:sp>
        <p:nvSpPr>
          <p:cNvPr id="45" name="TextBox 44"/>
          <p:cNvSpPr txBox="1"/>
          <p:nvPr/>
        </p:nvSpPr>
        <p:spPr>
          <a:xfrm>
            <a:off x="1452658" y="4428562"/>
            <a:ext cx="1101458" cy="415498"/>
          </a:xfrm>
          <a:prstGeom prst="rect">
            <a:avLst/>
          </a:prstGeom>
          <a:noFill/>
        </p:spPr>
        <p:txBody>
          <a:bodyPr wrap="square" rtlCol="0">
            <a:spAutoFit/>
          </a:bodyPr>
          <a:lstStyle/>
          <a:p>
            <a:pPr algn="r"/>
            <a:r>
              <a:rPr lang="en-US" sz="2100" dirty="0">
                <a:solidFill>
                  <a:srgbClr val="FC6D07"/>
                </a:solidFill>
                <a:cs typeface="Roboto Condensed Bold Italic"/>
              </a:rPr>
              <a:t>Books</a:t>
            </a:r>
            <a:endParaRPr lang="en-US" sz="2100" dirty="0"/>
          </a:p>
        </p:txBody>
      </p:sp>
      <p:sp>
        <p:nvSpPr>
          <p:cNvPr id="46" name="Text Placeholder 3"/>
          <p:cNvSpPr txBox="1"/>
          <p:nvPr/>
        </p:nvSpPr>
        <p:spPr>
          <a:xfrm>
            <a:off x="729133" y="1097480"/>
            <a:ext cx="7662300" cy="586757"/>
          </a:xfrm>
          <a:prstGeom prst="rect">
            <a:avLst/>
          </a:prstGeom>
        </p:spPr>
        <p:txBody>
          <a:bodyPr vert="horz" lIns="68580" tIns="34290" rIns="68580" bIns="3429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b="1" kern="1200" baseline="0">
                <a:solidFill>
                  <a:srgbClr val="00739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1300" kern="1200">
                <a:solidFill>
                  <a:srgbClr val="75787B"/>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100" kern="1200">
                <a:solidFill>
                  <a:srgbClr val="75787B"/>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10000"/>
              </a:lnSpc>
              <a:spcBef>
                <a:spcPct val="0"/>
              </a:spcBef>
            </a:pPr>
            <a:r>
              <a:rPr lang="zh-CN" altLang="en-US" b="0" dirty="0">
                <a:latin typeface="Arial Bold" panose="020B0704020202020204" pitchFamily="34" charset="0"/>
                <a:cs typeface="Arial Bold" panose="020B0704020202020204" pitchFamily="34" charset="0"/>
              </a:rPr>
              <a:t>研究人员的工作流程</a:t>
            </a:r>
            <a:r>
              <a:rPr lang="en-GB" b="0" dirty="0">
                <a:latin typeface="Arial Bold" panose="020B0704020202020204" pitchFamily="34" charset="0"/>
                <a:cs typeface="Arial Bold" panose="020B0704020202020204" pitchFamily="34" charset="0"/>
              </a:rPr>
              <a:t>– </a:t>
            </a:r>
            <a:r>
              <a:rPr lang="zh-CN" altLang="en-US" b="0" dirty="0">
                <a:latin typeface="Arial Bold" panose="020B0704020202020204" pitchFamily="34" charset="0"/>
                <a:cs typeface="Arial Bold" panose="020B0704020202020204" pitchFamily="34" charset="0"/>
              </a:rPr>
              <a:t>在不同的研究阶段，获取内容资源的主要信息载体略有不同，图书和期刊在交叉使用。整体来说，图书在学生和科研人员在累积学科的基础知识，深入了解论题和相关论题的内容，并加深研究方法论等阶段，为主要信息来源</a:t>
            </a:r>
            <a:endParaRPr lang="en-US" altLang="zh-CN" b="0" dirty="0">
              <a:latin typeface="Arial Bold" panose="020B0704020202020204" pitchFamily="34" charset="0"/>
              <a:cs typeface="Arial Bold" panose="020B0704020202020204" pitchFamily="34" charset="0"/>
            </a:endParaRPr>
          </a:p>
        </p:txBody>
      </p:sp>
      <p:sp>
        <p:nvSpPr>
          <p:cNvPr id="40" name="Title 1"/>
          <p:cNvSpPr>
            <a:spLocks noGrp="1"/>
          </p:cNvSpPr>
          <p:nvPr>
            <p:ph type="title"/>
          </p:nvPr>
        </p:nvSpPr>
        <p:spPr>
          <a:xfrm>
            <a:off x="196265" y="543755"/>
            <a:ext cx="8238319" cy="418645"/>
          </a:xfrm>
        </p:spPr>
        <p:txBody>
          <a:bodyPr/>
          <a:lstStyle/>
          <a:p>
            <a:r>
              <a:rPr lang="zh-CN" altLang="en-US" sz="2000" dirty="0"/>
              <a:t>电子书和期刊交叉使用</a:t>
            </a:r>
            <a:endParaRPr lang="zh-CN" altLang="en-US" sz="2000"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1"/>
          <a:srcRect r="2505"/>
          <a:stretch>
            <a:fillRect/>
          </a:stretch>
        </p:blipFill>
        <p:spPr>
          <a:xfrm>
            <a:off x="330589" y="1592083"/>
            <a:ext cx="4227343" cy="3902352"/>
          </a:xfrm>
          <a:prstGeom prst="rect">
            <a:avLst/>
          </a:prstGeom>
        </p:spPr>
      </p:pic>
      <p:sp>
        <p:nvSpPr>
          <p:cNvPr id="4" name="Title 1"/>
          <p:cNvSpPr>
            <a:spLocks noGrp="1"/>
          </p:cNvSpPr>
          <p:nvPr>
            <p:ph type="title"/>
          </p:nvPr>
        </p:nvSpPr>
        <p:spPr>
          <a:xfrm>
            <a:off x="196265" y="543755"/>
            <a:ext cx="8238319" cy="418645"/>
          </a:xfrm>
        </p:spPr>
        <p:txBody>
          <a:bodyPr/>
          <a:lstStyle/>
          <a:p>
            <a:r>
              <a:rPr lang="zh-CN" altLang="en-US" sz="2000" dirty="0"/>
              <a:t>电子书和期刊交叉使用</a:t>
            </a:r>
            <a:endParaRPr lang="zh-CN" altLang="en-US" sz="2000" dirty="0"/>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89120" y="1810016"/>
            <a:ext cx="4547133" cy="3409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754880" y="0"/>
            <a:ext cx="4389120" cy="12435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p:cNvSpPr>
            <a:spLocks noGrp="1"/>
          </p:cNvSpPr>
          <p:nvPr>
            <p:ph type="title" idx="4294967295"/>
          </p:nvPr>
        </p:nvSpPr>
        <p:spPr>
          <a:xfrm>
            <a:off x="4752895" y="253568"/>
            <a:ext cx="4509977" cy="640080"/>
          </a:xfrm>
          <a:prstGeom prst="rect">
            <a:avLst/>
          </a:prstGeom>
        </p:spPr>
        <p:txBody>
          <a:bodyPr/>
          <a:lstStyle/>
          <a:p>
            <a:r>
              <a:rPr lang="nl-NL" sz="2400" b="1" dirty="0">
                <a:solidFill>
                  <a:schemeClr val="bg1"/>
                </a:solidFill>
              </a:rPr>
              <a:t>The Value of ScienceDirect</a:t>
            </a:r>
            <a:endParaRPr lang="en-US" sz="2400" b="1" dirty="0">
              <a:solidFill>
                <a:schemeClr val="bg1"/>
              </a:solidFill>
            </a:endParaRPr>
          </a:p>
        </p:txBody>
      </p:sp>
      <p:sp>
        <p:nvSpPr>
          <p:cNvPr id="11" name="Rounded Rectangle 10"/>
          <p:cNvSpPr/>
          <p:nvPr/>
        </p:nvSpPr>
        <p:spPr>
          <a:xfrm>
            <a:off x="5337469" y="440729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bg2">
                    <a:lumMod val="95000"/>
                  </a:schemeClr>
                </a:solidFill>
              </a:rPr>
              <a:t>提升可见性</a:t>
            </a:r>
            <a:endParaRPr lang="en-GB" sz="1600" dirty="0">
              <a:solidFill>
                <a:schemeClr val="bg2">
                  <a:lumMod val="95000"/>
                </a:schemeClr>
              </a:solidFill>
            </a:endParaRPr>
          </a:p>
        </p:txBody>
      </p:sp>
      <p:sp>
        <p:nvSpPr>
          <p:cNvPr id="13" name="Rounded Rectangle 12"/>
          <p:cNvSpPr/>
          <p:nvPr/>
        </p:nvSpPr>
        <p:spPr>
          <a:xfrm>
            <a:off x="5337470" y="1568196"/>
            <a:ext cx="3200401" cy="4572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bg2">
                    <a:lumMod val="95000"/>
                  </a:schemeClr>
                </a:solidFill>
              </a:rPr>
              <a:t>Elsevier</a:t>
            </a:r>
            <a:r>
              <a:rPr lang="zh-CN" altLang="en-US" sz="1600" dirty="0">
                <a:solidFill>
                  <a:schemeClr val="bg2">
                    <a:lumMod val="95000"/>
                  </a:schemeClr>
                </a:solidFill>
              </a:rPr>
              <a:t>的历史及传承</a:t>
            </a:r>
            <a:endParaRPr lang="en-GB" sz="1600" dirty="0">
              <a:solidFill>
                <a:schemeClr val="bg2">
                  <a:lumMod val="95000"/>
                </a:schemeClr>
              </a:solidFill>
            </a:endParaRPr>
          </a:p>
        </p:txBody>
      </p:sp>
      <p:sp>
        <p:nvSpPr>
          <p:cNvPr id="14" name="Rounded Rectangle 13"/>
          <p:cNvSpPr/>
          <p:nvPr/>
        </p:nvSpPr>
        <p:spPr>
          <a:xfrm>
            <a:off x="5337471" y="298670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altLang="zh-CN" sz="1600" dirty="0">
                <a:solidFill>
                  <a:schemeClr val="tx2"/>
                </a:solidFill>
              </a:rPr>
              <a:t>S</a:t>
            </a:r>
            <a:r>
              <a:rPr lang="en-US" altLang="zh-CN" sz="1600" dirty="0" err="1">
                <a:solidFill>
                  <a:schemeClr val="tx2"/>
                </a:solidFill>
              </a:rPr>
              <a:t>cienceDirect</a:t>
            </a:r>
            <a:r>
              <a:rPr lang="zh-CN" altLang="en-US" sz="1600" dirty="0">
                <a:solidFill>
                  <a:schemeClr val="tx2"/>
                </a:solidFill>
              </a:rPr>
              <a:t>全文数据库</a:t>
            </a:r>
            <a:endParaRPr lang="en-GB" sz="1600" dirty="0">
              <a:solidFill>
                <a:schemeClr val="tx2"/>
              </a:solidFill>
            </a:endParaRPr>
          </a:p>
        </p:txBody>
      </p:sp>
      <p:sp>
        <p:nvSpPr>
          <p:cNvPr id="15" name="Rounded Rectangle 14"/>
          <p:cNvSpPr/>
          <p:nvPr/>
        </p:nvSpPr>
        <p:spPr>
          <a:xfrm>
            <a:off x="5337471" y="2287456"/>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bg2">
                    <a:lumMod val="95000"/>
                  </a:schemeClr>
                </a:solidFill>
              </a:rPr>
              <a:t>科学研究流程</a:t>
            </a:r>
            <a:endParaRPr lang="en-GB" sz="1600" dirty="0">
              <a:solidFill>
                <a:schemeClr val="bg2">
                  <a:lumMod val="95000"/>
                </a:schemeClr>
              </a:solidFill>
            </a:endParaRPr>
          </a:p>
        </p:txBody>
      </p:sp>
      <p:sp>
        <p:nvSpPr>
          <p:cNvPr id="16" name="Rounded Rectangle 15"/>
          <p:cNvSpPr/>
          <p:nvPr/>
        </p:nvSpPr>
        <p:spPr>
          <a:xfrm>
            <a:off x="5337471" y="3685944"/>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bg2">
                    <a:lumMod val="95000"/>
                  </a:schemeClr>
                </a:solidFill>
              </a:rPr>
              <a:t>SD</a:t>
            </a:r>
            <a:r>
              <a:rPr lang="zh-CN" altLang="en-US" sz="1600" dirty="0">
                <a:solidFill>
                  <a:schemeClr val="bg2">
                    <a:lumMod val="95000"/>
                  </a:schemeClr>
                </a:solidFill>
              </a:rPr>
              <a:t>上线新功能</a:t>
            </a:r>
            <a:endParaRPr lang="en-GB" sz="1600" dirty="0">
              <a:solidFill>
                <a:schemeClr val="bg2">
                  <a:lumMod val="95000"/>
                </a:schemeClr>
              </a:solidFill>
            </a:endParaRPr>
          </a:p>
        </p:txBody>
      </p:sp>
      <p:sp>
        <p:nvSpPr>
          <p:cNvPr id="2" name="Rounded Rectangle 10"/>
          <p:cNvSpPr/>
          <p:nvPr/>
        </p:nvSpPr>
        <p:spPr>
          <a:xfrm>
            <a:off x="5349534" y="5082295"/>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p>
            <a:pPr marL="1270" lvl="1" algn="ctr" eaLnBrk="0" hangingPunct="0">
              <a:spcBef>
                <a:spcPct val="20000"/>
              </a:spcBef>
              <a:buClr>
                <a:schemeClr val="accent1"/>
              </a:buClr>
            </a:pPr>
            <a:r>
              <a:rPr lang="zh-CN" altLang="en-US" sz="1600" dirty="0">
                <a:solidFill>
                  <a:schemeClr val="bg2">
                    <a:lumMod val="95000"/>
                  </a:schemeClr>
                </a:solidFill>
              </a:rPr>
              <a:t>科研论文写作</a:t>
            </a:r>
            <a:endParaRPr lang="zh-CN" altLang="en-US" sz="1600" dirty="0">
              <a:solidFill>
                <a:schemeClr val="bg2">
                  <a:lumMod val="95000"/>
                </a:schemeClr>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p:nvPr/>
        </p:nvSpPr>
        <p:spPr>
          <a:xfrm>
            <a:off x="381114" y="425692"/>
            <a:ext cx="8380741" cy="1337478"/>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pPr fontAlgn="auto">
              <a:spcAft>
                <a:spcPts val="0"/>
              </a:spcAft>
            </a:pPr>
            <a:r>
              <a:rPr lang="en-US" altLang="zh-CN" sz="2000" dirty="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rPr>
              <a:t>2012</a:t>
            </a:r>
            <a:r>
              <a:rPr lang="zh-CN" altLang="en-US" sz="2000" dirty="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rPr>
              <a:t>年</a:t>
            </a:r>
            <a:r>
              <a:rPr lang="en-US" altLang="zh-CN" sz="2000" dirty="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rPr>
              <a:t>-2017</a:t>
            </a:r>
            <a:r>
              <a:rPr lang="zh-CN" altLang="en-US" sz="2000" dirty="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rPr>
              <a:t>年，青岛农业大学发表在不同学科期刊分布</a:t>
            </a:r>
            <a:endParaRPr lang="en-US" altLang="zh-CN" sz="2000" dirty="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endParaRPr>
          </a:p>
          <a:p>
            <a:pPr fontAlgn="auto">
              <a:spcAft>
                <a:spcPts val="0"/>
              </a:spcAft>
            </a:pPr>
            <a:endParaRPr lang="en-US" altLang="zh-CN" sz="1700" b="0" dirty="0">
              <a:latin typeface="微软雅黑" panose="020B0503020204020204" charset="-122"/>
              <a:ea typeface="微软雅黑" panose="020B0503020204020204" charset="-122"/>
              <a:cs typeface="Verdana" panose="020B0604030504040204" pitchFamily="34" charset="0"/>
            </a:endParaRPr>
          </a:p>
          <a:p>
            <a:pPr fontAlgn="auto">
              <a:spcAft>
                <a:spcPts val="0"/>
              </a:spcAft>
            </a:pPr>
            <a:r>
              <a:rPr lang="zh-CN" altLang="en-US" sz="1500" b="0" dirty="0">
                <a:solidFill>
                  <a:schemeClr val="tx1"/>
                </a:solidFill>
                <a:latin typeface="微软雅黑" panose="020B0503020204020204" charset="-122"/>
                <a:ea typeface="微软雅黑" panose="020B0503020204020204" charset="-122"/>
                <a:cs typeface="Verdana" panose="020B0604030504040204" pitchFamily="34" charset="0"/>
              </a:rPr>
              <a:t>通过对近五年来的发文进行归类，发表在农学、生物化学、工程学和环境科学的期刊的占比最高； 学校总体归一化影响力</a:t>
            </a:r>
            <a:r>
              <a:rPr lang="en-US" altLang="zh-CN" sz="1500" b="0" dirty="0">
                <a:solidFill>
                  <a:schemeClr val="tx1"/>
                </a:solidFill>
                <a:latin typeface="微软雅黑" panose="020B0503020204020204" charset="-122"/>
                <a:ea typeface="微软雅黑" panose="020B0503020204020204" charset="-122"/>
                <a:cs typeface="Verdana" panose="020B0604030504040204" pitchFamily="34" charset="0"/>
              </a:rPr>
              <a:t>(FWCI</a:t>
            </a:r>
            <a:r>
              <a:rPr lang="zh-CN" altLang="en-US" sz="1500" b="0" dirty="0">
                <a:solidFill>
                  <a:schemeClr val="tx1"/>
                </a:solidFill>
                <a:latin typeface="微软雅黑" panose="020B0503020204020204" charset="-122"/>
                <a:ea typeface="微软雅黑" panose="020B0503020204020204" charset="-122"/>
                <a:cs typeface="Verdana" panose="020B0604030504040204" pitchFamily="34" charset="0"/>
              </a:rPr>
              <a:t>）为</a:t>
            </a:r>
            <a:r>
              <a:rPr lang="en-US" altLang="zh-CN" sz="1500" b="0" dirty="0">
                <a:solidFill>
                  <a:schemeClr val="tx1"/>
                </a:solidFill>
                <a:latin typeface="微软雅黑" panose="020B0503020204020204" charset="-122"/>
                <a:ea typeface="微软雅黑" panose="020B0503020204020204" charset="-122"/>
                <a:cs typeface="Verdana" panose="020B0604030504040204" pitchFamily="34" charset="0"/>
              </a:rPr>
              <a:t>0.85</a:t>
            </a:r>
            <a:r>
              <a:rPr lang="zh-CN" altLang="en-US" sz="1500" b="0" dirty="0">
                <a:solidFill>
                  <a:schemeClr val="tx1"/>
                </a:solidFill>
                <a:latin typeface="微软雅黑" panose="020B0503020204020204" charset="-122"/>
                <a:ea typeface="微软雅黑" panose="020B0503020204020204" charset="-122"/>
                <a:cs typeface="Verdana" panose="020B0604030504040204" pitchFamily="34" charset="0"/>
              </a:rPr>
              <a:t>（世界影响力的平均水平</a:t>
            </a:r>
            <a:r>
              <a:rPr lang="en-US" altLang="zh-CN" sz="1500" b="0" dirty="0">
                <a:solidFill>
                  <a:schemeClr val="tx1"/>
                </a:solidFill>
                <a:latin typeface="微软雅黑" panose="020B0503020204020204" charset="-122"/>
                <a:ea typeface="微软雅黑" panose="020B0503020204020204" charset="-122"/>
                <a:cs typeface="Verdana" panose="020B0604030504040204" pitchFamily="34" charset="0"/>
              </a:rPr>
              <a:t>1.00</a:t>
            </a:r>
            <a:r>
              <a:rPr lang="zh-CN" altLang="en-US" sz="1500" b="0" dirty="0">
                <a:solidFill>
                  <a:schemeClr val="tx1"/>
                </a:solidFill>
                <a:latin typeface="微软雅黑" panose="020B0503020204020204" charset="-122"/>
                <a:ea typeface="微软雅黑" panose="020B0503020204020204" charset="-122"/>
                <a:cs typeface="Verdana" panose="020B0604030504040204" pitchFamily="34" charset="0"/>
              </a:rPr>
              <a:t>）。</a:t>
            </a:r>
            <a:endParaRPr lang="en-US" altLang="zh-CN" sz="1500" b="0" dirty="0">
              <a:solidFill>
                <a:schemeClr val="tx1"/>
              </a:solidFill>
              <a:latin typeface="微软雅黑" panose="020B0503020204020204" charset="-122"/>
              <a:ea typeface="微软雅黑" panose="020B0503020204020204" charset="-122"/>
              <a:cs typeface="Verdana" panose="020B0604030504040204" pitchFamily="34" charset="0"/>
            </a:endParaRPr>
          </a:p>
        </p:txBody>
      </p:sp>
      <p:sp>
        <p:nvSpPr>
          <p:cNvPr id="7" name="TextBox 6"/>
          <p:cNvSpPr txBox="1"/>
          <p:nvPr/>
        </p:nvSpPr>
        <p:spPr>
          <a:xfrm>
            <a:off x="614144" y="6474375"/>
            <a:ext cx="6223376" cy="276999"/>
          </a:xfrm>
          <a:prstGeom prst="rect">
            <a:avLst/>
          </a:prstGeom>
          <a:noFill/>
        </p:spPr>
        <p:txBody>
          <a:bodyPr wrap="square" rtlCol="0">
            <a:spAutoFit/>
          </a:bodyPr>
          <a:lstStyle/>
          <a:p>
            <a:r>
              <a:rPr lang="zh-CN" altLang="en-US" sz="1200" dirty="0">
                <a:latin typeface="Verdana" panose="020B0604030504040204" pitchFamily="34" charset="0"/>
                <a:ea typeface="Verdana" panose="020B0604030504040204" pitchFamily="34" charset="0"/>
                <a:cs typeface="Verdana" panose="020B0604030504040204" pitchFamily="34" charset="0"/>
              </a:rPr>
              <a:t>数据来源：</a:t>
            </a:r>
            <a:r>
              <a:rPr lang="en-US" altLang="zh-CN" sz="1200" dirty="0">
                <a:latin typeface="Verdana" panose="020B0604030504040204" pitchFamily="34" charset="0"/>
                <a:ea typeface="Verdana" panose="020B0604030504040204" pitchFamily="34" charset="0"/>
                <a:cs typeface="Verdana" panose="020B0604030504040204" pitchFamily="34" charset="0"/>
              </a:rPr>
              <a:t>Scopus &amp; </a:t>
            </a:r>
            <a:r>
              <a:rPr lang="en-US" altLang="zh-CN" sz="1200" dirty="0" err="1">
                <a:latin typeface="Verdana" panose="020B0604030504040204" pitchFamily="34" charset="0"/>
                <a:ea typeface="Verdana" panose="020B0604030504040204" pitchFamily="34" charset="0"/>
                <a:cs typeface="Verdana" panose="020B0604030504040204" pitchFamily="34" charset="0"/>
              </a:rPr>
              <a:t>SciVal</a:t>
            </a:r>
            <a:r>
              <a:rPr lang="en-US" altLang="zh-CN" sz="1200" dirty="0">
                <a:latin typeface="Verdana" panose="020B0604030504040204" pitchFamily="34" charset="0"/>
                <a:ea typeface="Verdana" panose="020B0604030504040204" pitchFamily="34" charset="0"/>
                <a:cs typeface="Verdana" panose="020B0604030504040204" pitchFamily="34" charset="0"/>
              </a:rPr>
              <a:t>, 2017</a:t>
            </a:r>
            <a:r>
              <a:rPr lang="zh-CN" altLang="en-US" sz="1200" dirty="0">
                <a:latin typeface="Verdana" panose="020B0604030504040204" pitchFamily="34" charset="0"/>
                <a:ea typeface="Verdana" panose="020B0604030504040204" pitchFamily="34" charset="0"/>
                <a:cs typeface="Verdana" panose="020B0604030504040204" pitchFamily="34" charset="0"/>
              </a:rPr>
              <a:t>年</a:t>
            </a:r>
            <a:r>
              <a:rPr lang="en-US" altLang="zh-CN" sz="1200" dirty="0">
                <a:latin typeface="Verdana" panose="020B0604030504040204" pitchFamily="34" charset="0"/>
                <a:ea typeface="Verdana" panose="020B0604030504040204" pitchFamily="34" charset="0"/>
                <a:cs typeface="Verdana" panose="020B0604030504040204" pitchFamily="34" charset="0"/>
              </a:rPr>
              <a:t>10</a:t>
            </a:r>
            <a:r>
              <a:rPr lang="zh-CN" altLang="en-US" sz="1200" dirty="0">
                <a:latin typeface="Verdana" panose="020B0604030504040204" pitchFamily="34" charset="0"/>
                <a:ea typeface="Verdana" panose="020B0604030504040204" pitchFamily="34" charset="0"/>
                <a:cs typeface="Verdana" panose="020B0604030504040204" pitchFamily="34" charset="0"/>
              </a:rPr>
              <a:t>月；数据时段</a:t>
            </a:r>
            <a:r>
              <a:rPr lang="en-US" altLang="zh-CN" sz="1200" dirty="0">
                <a:latin typeface="Verdana" panose="020B0604030504040204" pitchFamily="34" charset="0"/>
                <a:ea typeface="Verdana" panose="020B0604030504040204" pitchFamily="34" charset="0"/>
                <a:cs typeface="Verdana" panose="020B0604030504040204" pitchFamily="34" charset="0"/>
              </a:rPr>
              <a:t>2012</a:t>
            </a:r>
            <a:r>
              <a:rPr lang="zh-CN" altLang="en-US" sz="1200" dirty="0">
                <a:latin typeface="Verdana" panose="020B0604030504040204" pitchFamily="34" charset="0"/>
                <a:ea typeface="Verdana" panose="020B0604030504040204" pitchFamily="34" charset="0"/>
                <a:cs typeface="Verdana" panose="020B0604030504040204" pitchFamily="34" charset="0"/>
              </a:rPr>
              <a:t>年</a:t>
            </a:r>
            <a:r>
              <a:rPr lang="en-US" altLang="zh-CN" sz="1200" dirty="0">
                <a:latin typeface="Verdana" panose="020B0604030504040204" pitchFamily="34" charset="0"/>
                <a:ea typeface="Verdana" panose="020B0604030504040204" pitchFamily="34" charset="0"/>
                <a:cs typeface="Verdana" panose="020B0604030504040204" pitchFamily="34" charset="0"/>
              </a:rPr>
              <a:t>-2017</a:t>
            </a:r>
            <a:r>
              <a:rPr lang="zh-CN" altLang="en-US" sz="1200" dirty="0">
                <a:latin typeface="Verdana" panose="020B0604030504040204" pitchFamily="34" charset="0"/>
                <a:ea typeface="Verdana" panose="020B0604030504040204" pitchFamily="34" charset="0"/>
                <a:cs typeface="Verdana" panose="020B0604030504040204" pitchFamily="34" charset="0"/>
              </a:rPr>
              <a:t>年</a:t>
            </a:r>
            <a:endParaRPr lang="en-US" sz="1200" dirty="0">
              <a:latin typeface="Verdana" panose="020B0604030504040204" pitchFamily="34" charset="0"/>
              <a:ea typeface="Verdana" panose="020B0604030504040204" pitchFamily="34" charset="0"/>
              <a:cs typeface="Verdana" panose="020B0604030504040204" pitchFamily="34" charset="0"/>
            </a:endParaRPr>
          </a:p>
        </p:txBody>
      </p:sp>
      <p:pic>
        <p:nvPicPr>
          <p:cNvPr id="8" name="Picture 2"/>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20789" y="6135382"/>
            <a:ext cx="520651" cy="5750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p:cNvPicPr>
          <p:nvPr/>
        </p:nvPicPr>
        <p:blipFill>
          <a:blip r:embed="rId2"/>
          <a:stretch>
            <a:fillRect/>
          </a:stretch>
        </p:blipFill>
        <p:spPr>
          <a:xfrm>
            <a:off x="614144" y="3028279"/>
            <a:ext cx="8362950" cy="3276600"/>
          </a:xfrm>
          <a:prstGeom prst="rect">
            <a:avLst/>
          </a:prstGeom>
        </p:spPr>
      </p:pic>
      <p:pic>
        <p:nvPicPr>
          <p:cNvPr id="4" name="Picture 3"/>
          <p:cNvPicPr>
            <a:picLocks noChangeAspect="1"/>
          </p:cNvPicPr>
          <p:nvPr/>
        </p:nvPicPr>
        <p:blipFill>
          <a:blip r:embed="rId3"/>
          <a:stretch>
            <a:fillRect/>
          </a:stretch>
        </p:blipFill>
        <p:spPr>
          <a:xfrm>
            <a:off x="383085" y="1747288"/>
            <a:ext cx="6781800" cy="571500"/>
          </a:xfrm>
          <a:prstGeom prst="rect">
            <a:avLst/>
          </a:prstGeom>
        </p:spPr>
      </p:pic>
      <p:pic>
        <p:nvPicPr>
          <p:cNvPr id="6" name="Picture 5"/>
          <p:cNvPicPr>
            <a:picLocks noChangeAspect="1"/>
          </p:cNvPicPr>
          <p:nvPr/>
        </p:nvPicPr>
        <p:blipFill>
          <a:blip r:embed="rId4"/>
          <a:stretch>
            <a:fillRect/>
          </a:stretch>
        </p:blipFill>
        <p:spPr>
          <a:xfrm>
            <a:off x="383085" y="2340158"/>
            <a:ext cx="6162675" cy="666750"/>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754880" y="0"/>
            <a:ext cx="4389120" cy="124358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p:cNvSpPr>
            <a:spLocks noGrp="1"/>
          </p:cNvSpPr>
          <p:nvPr>
            <p:ph type="title" idx="4294967295"/>
          </p:nvPr>
        </p:nvSpPr>
        <p:spPr>
          <a:xfrm>
            <a:off x="4752895" y="253568"/>
            <a:ext cx="4509977" cy="640080"/>
          </a:xfrm>
          <a:prstGeom prst="rect">
            <a:avLst/>
          </a:prstGeom>
        </p:spPr>
        <p:txBody>
          <a:bodyPr/>
          <a:lstStyle/>
          <a:p>
            <a:r>
              <a:rPr lang="nl-NL" sz="2400" b="1" dirty="0">
                <a:solidFill>
                  <a:schemeClr val="bg1"/>
                </a:solidFill>
              </a:rPr>
              <a:t>The Value of </a:t>
            </a:r>
            <a:br>
              <a:rPr lang="nl-NL" sz="2400" b="1" dirty="0">
                <a:solidFill>
                  <a:schemeClr val="bg1"/>
                </a:solidFill>
              </a:rPr>
            </a:br>
            <a:r>
              <a:rPr lang="nl-NL" sz="2400" b="1" dirty="0" err="1">
                <a:solidFill>
                  <a:schemeClr val="bg1"/>
                </a:solidFill>
              </a:rPr>
              <a:t>ScienceDirect</a:t>
            </a:r>
            <a:endParaRPr lang="en-US" sz="2400" b="1" dirty="0">
              <a:solidFill>
                <a:schemeClr val="bg1"/>
              </a:solidFill>
            </a:endParaRPr>
          </a:p>
        </p:txBody>
      </p:sp>
      <p:sp>
        <p:nvSpPr>
          <p:cNvPr id="11" name="Rounded Rectangle 10"/>
          <p:cNvSpPr/>
          <p:nvPr/>
        </p:nvSpPr>
        <p:spPr>
          <a:xfrm>
            <a:off x="5337469" y="440729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tx1"/>
                </a:solidFill>
              </a:rPr>
              <a:t>提升可见性</a:t>
            </a:r>
            <a:endParaRPr lang="en-GB" sz="1600" dirty="0">
              <a:solidFill>
                <a:schemeClr val="tx1"/>
              </a:solidFill>
            </a:endParaRPr>
          </a:p>
        </p:txBody>
      </p:sp>
      <p:sp>
        <p:nvSpPr>
          <p:cNvPr id="13" name="Rounded Rectangle 12"/>
          <p:cNvSpPr/>
          <p:nvPr/>
        </p:nvSpPr>
        <p:spPr>
          <a:xfrm>
            <a:off x="5337470" y="1568196"/>
            <a:ext cx="3200401" cy="4572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tx1"/>
                </a:solidFill>
              </a:rPr>
              <a:t>Elsevier</a:t>
            </a:r>
            <a:r>
              <a:rPr lang="zh-CN" altLang="en-US" sz="1600" dirty="0">
                <a:solidFill>
                  <a:schemeClr val="tx1"/>
                </a:solidFill>
              </a:rPr>
              <a:t>的历史及传承</a:t>
            </a:r>
            <a:endParaRPr lang="en-GB" sz="1600" dirty="0">
              <a:solidFill>
                <a:schemeClr val="tx1"/>
              </a:solidFill>
            </a:endParaRPr>
          </a:p>
        </p:txBody>
      </p:sp>
      <p:sp>
        <p:nvSpPr>
          <p:cNvPr id="14" name="Rounded Rectangle 13"/>
          <p:cNvSpPr/>
          <p:nvPr/>
        </p:nvSpPr>
        <p:spPr>
          <a:xfrm>
            <a:off x="5337471" y="298670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altLang="zh-CN" sz="1600" dirty="0">
                <a:solidFill>
                  <a:schemeClr val="tx1"/>
                </a:solidFill>
              </a:rPr>
              <a:t>S</a:t>
            </a:r>
            <a:r>
              <a:rPr lang="en-US" altLang="zh-CN" sz="1600" dirty="0" err="1">
                <a:solidFill>
                  <a:schemeClr val="tx1"/>
                </a:solidFill>
              </a:rPr>
              <a:t>cienceDirect</a:t>
            </a:r>
            <a:r>
              <a:rPr lang="zh-CN" altLang="en-US" sz="1600" dirty="0">
                <a:solidFill>
                  <a:schemeClr val="tx1"/>
                </a:solidFill>
              </a:rPr>
              <a:t>全文数据库</a:t>
            </a:r>
            <a:endParaRPr lang="en-GB" sz="1600" dirty="0">
              <a:solidFill>
                <a:schemeClr val="tx1"/>
              </a:solidFill>
            </a:endParaRPr>
          </a:p>
        </p:txBody>
      </p:sp>
      <p:sp>
        <p:nvSpPr>
          <p:cNvPr id="15" name="Rounded Rectangle 14"/>
          <p:cNvSpPr/>
          <p:nvPr/>
        </p:nvSpPr>
        <p:spPr>
          <a:xfrm>
            <a:off x="5337471" y="2287456"/>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tx1"/>
                </a:solidFill>
              </a:rPr>
              <a:t>科学研究流程</a:t>
            </a:r>
            <a:endParaRPr lang="en-GB" sz="1600" dirty="0">
              <a:solidFill>
                <a:schemeClr val="tx1"/>
              </a:solidFill>
            </a:endParaRPr>
          </a:p>
        </p:txBody>
      </p:sp>
      <p:sp>
        <p:nvSpPr>
          <p:cNvPr id="16" name="Rounded Rectangle 15"/>
          <p:cNvSpPr/>
          <p:nvPr/>
        </p:nvSpPr>
        <p:spPr>
          <a:xfrm>
            <a:off x="5337471" y="3685944"/>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tx1"/>
                </a:solidFill>
              </a:rPr>
              <a:t>SD</a:t>
            </a:r>
            <a:r>
              <a:rPr lang="zh-CN" altLang="en-US" sz="1600" dirty="0">
                <a:solidFill>
                  <a:schemeClr val="tx1"/>
                </a:solidFill>
              </a:rPr>
              <a:t>上线新功能</a:t>
            </a:r>
            <a:endParaRPr lang="en-GB" sz="1600" dirty="0">
              <a:solidFill>
                <a:schemeClr val="tx1"/>
              </a:solidFill>
            </a:endParaRPr>
          </a:p>
        </p:txBody>
      </p:sp>
      <p:sp>
        <p:nvSpPr>
          <p:cNvPr id="2" name="Rounded Rectangle 10"/>
          <p:cNvSpPr/>
          <p:nvPr/>
        </p:nvSpPr>
        <p:spPr>
          <a:xfrm>
            <a:off x="5349534" y="5067055"/>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p>
            <a:pPr marL="1270" lvl="1" algn="ctr" eaLnBrk="0" hangingPunct="0">
              <a:spcBef>
                <a:spcPct val="20000"/>
              </a:spcBef>
              <a:buClr>
                <a:schemeClr val="accent1"/>
              </a:buClr>
            </a:pPr>
            <a:r>
              <a:rPr lang="zh-CN" altLang="en-GB" sz="1600" dirty="0">
                <a:solidFill>
                  <a:schemeClr val="tx1"/>
                </a:solidFill>
              </a:rPr>
              <a:t>科研论文写作</a:t>
            </a:r>
            <a:endParaRPr lang="zh-CN" altLang="en-GB" sz="1600" dirty="0">
              <a:solidFill>
                <a:schemeClr val="tx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Screen Clipping"/>
          <p:cNvPicPr>
            <a:picLocks noChangeAspect="1"/>
          </p:cNvPicPr>
          <p:nvPr/>
        </p:nvPicPr>
        <p:blipFill>
          <a:blip r:embed="rId1"/>
          <a:stretch>
            <a:fillRect/>
          </a:stretch>
        </p:blipFill>
        <p:spPr>
          <a:xfrm>
            <a:off x="0" y="1417638"/>
            <a:ext cx="9144000" cy="4165961"/>
          </a:xfrm>
          <a:prstGeom prst="rect">
            <a:avLst/>
          </a:prstGeom>
        </p:spPr>
      </p:pic>
      <p:pic>
        <p:nvPicPr>
          <p:cNvPr id="4" name="Picture 3"/>
          <p:cNvPicPr>
            <a:picLocks noChangeAspect="1"/>
          </p:cNvPicPr>
          <p:nvPr/>
        </p:nvPicPr>
        <p:blipFill>
          <a:blip r:embed="rId2"/>
          <a:stretch>
            <a:fillRect/>
          </a:stretch>
        </p:blipFill>
        <p:spPr>
          <a:xfrm>
            <a:off x="6465267" y="533412"/>
            <a:ext cx="2562823" cy="625451"/>
          </a:xfrm>
          <a:prstGeom prst="rect">
            <a:avLst/>
          </a:prstGeom>
        </p:spPr>
      </p:pic>
      <p:sp>
        <p:nvSpPr>
          <p:cNvPr id="5" name="TextBox 4"/>
          <p:cNvSpPr txBox="1"/>
          <p:nvPr/>
        </p:nvSpPr>
        <p:spPr>
          <a:xfrm>
            <a:off x="269823" y="533412"/>
            <a:ext cx="5546361" cy="400110"/>
          </a:xfrm>
          <a:prstGeom prst="rect">
            <a:avLst/>
          </a:prstGeom>
          <a:noFill/>
          <a:ln>
            <a:solidFill>
              <a:srgbClr val="FF5050"/>
            </a:solidFill>
          </a:ln>
        </p:spPr>
        <p:txBody>
          <a:bodyPr wrap="square" rtlCol="0">
            <a:spAutoFit/>
          </a:bodyPr>
          <a:lstStyle/>
          <a:p>
            <a:r>
              <a:rPr lang="en-US" altLang="zh-CN" sz="2000" dirty="0">
                <a:solidFill>
                  <a:schemeClr val="tx2"/>
                </a:solidFill>
              </a:rPr>
              <a:t>www.sciencedirect.com</a:t>
            </a:r>
            <a:endParaRPr lang="en-US" sz="2000" dirty="0">
              <a:solidFill>
                <a:schemeClr val="tx2"/>
              </a:solidFill>
            </a:endParaRPr>
          </a:p>
        </p:txBody>
      </p:sp>
    </p:spTree>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half" idx="1"/>
          </p:nvPr>
        </p:nvSpPr>
        <p:spPr>
          <a:xfrm>
            <a:off x="1990725" y="1481339"/>
            <a:ext cx="6992842" cy="4598485"/>
          </a:xfrm>
        </p:spPr>
        <p:txBody>
          <a:bodyPr numCol="2">
            <a:normAutofit fontScale="92500" lnSpcReduction="20000"/>
          </a:bodyPr>
          <a:lstStyle/>
          <a:p>
            <a:pPr marL="86995" indent="0">
              <a:buNone/>
            </a:pPr>
            <a:r>
              <a:rPr lang="zh-CN" altLang="en-US" sz="2100" dirty="0">
                <a:solidFill>
                  <a:srgbClr val="C00000"/>
                </a:solidFill>
              </a:rPr>
              <a:t>物理科学与工程</a:t>
            </a:r>
            <a:endParaRPr lang="en-US" altLang="zh-CN" sz="2100" dirty="0">
              <a:solidFill>
                <a:srgbClr val="C00000"/>
              </a:solidFill>
            </a:endParaRPr>
          </a:p>
          <a:p>
            <a:pPr lvl="1"/>
            <a:r>
              <a:rPr lang="zh-CN" altLang="en-US" dirty="0"/>
              <a:t>化学工程学</a:t>
            </a:r>
            <a:r>
              <a:rPr lang="en-US" altLang="zh-CN" dirty="0"/>
              <a:t>(139)</a:t>
            </a:r>
            <a:endParaRPr lang="en-US" altLang="zh-CN" dirty="0"/>
          </a:p>
          <a:p>
            <a:pPr lvl="1"/>
            <a:r>
              <a:rPr lang="zh-CN" altLang="en-US" dirty="0"/>
              <a:t>化学</a:t>
            </a:r>
            <a:r>
              <a:rPr lang="en-US" altLang="zh-CN" dirty="0"/>
              <a:t>(176)</a:t>
            </a:r>
            <a:endParaRPr lang="en-US" altLang="zh-CN" dirty="0"/>
          </a:p>
          <a:p>
            <a:pPr lvl="1"/>
            <a:r>
              <a:rPr lang="zh-CN" altLang="en-US" dirty="0"/>
              <a:t>计算机科学</a:t>
            </a:r>
            <a:r>
              <a:rPr lang="en-US" altLang="zh-CN" dirty="0"/>
              <a:t>(195)</a:t>
            </a:r>
            <a:endParaRPr lang="en-US" altLang="zh-CN" dirty="0"/>
          </a:p>
          <a:p>
            <a:pPr lvl="1"/>
            <a:r>
              <a:rPr lang="zh-CN" altLang="en-US" dirty="0"/>
              <a:t>地球和行星学</a:t>
            </a:r>
            <a:r>
              <a:rPr lang="en-US" altLang="zh-CN" dirty="0"/>
              <a:t>(161)</a:t>
            </a:r>
            <a:endParaRPr lang="en-US" altLang="zh-CN" dirty="0"/>
          </a:p>
          <a:p>
            <a:pPr lvl="1"/>
            <a:r>
              <a:rPr lang="zh-CN" altLang="en-US" dirty="0"/>
              <a:t>能源和动力</a:t>
            </a:r>
            <a:r>
              <a:rPr lang="en-US" altLang="zh-CN" dirty="0"/>
              <a:t>(98)</a:t>
            </a:r>
            <a:endParaRPr lang="en-US" altLang="zh-CN" dirty="0"/>
          </a:p>
          <a:p>
            <a:pPr lvl="1"/>
            <a:r>
              <a:rPr lang="zh-CN" altLang="en-US" dirty="0"/>
              <a:t>工程与技术</a:t>
            </a:r>
            <a:r>
              <a:rPr lang="en-US" altLang="zh-CN" dirty="0"/>
              <a:t>(324)</a:t>
            </a:r>
            <a:endParaRPr lang="en-US" altLang="zh-CN" dirty="0"/>
          </a:p>
          <a:p>
            <a:pPr lvl="1"/>
            <a:r>
              <a:rPr lang="zh-CN" altLang="en-US" dirty="0"/>
              <a:t>材料科学</a:t>
            </a:r>
            <a:r>
              <a:rPr lang="en-US" altLang="zh-CN" dirty="0"/>
              <a:t>(217)</a:t>
            </a:r>
            <a:endParaRPr lang="en-US" altLang="zh-CN" dirty="0"/>
          </a:p>
          <a:p>
            <a:pPr lvl="1"/>
            <a:r>
              <a:rPr lang="zh-CN" altLang="en-US" dirty="0"/>
              <a:t>数学</a:t>
            </a:r>
            <a:r>
              <a:rPr lang="en-US" altLang="zh-CN" dirty="0"/>
              <a:t>(126)</a:t>
            </a:r>
            <a:endParaRPr lang="en-US" altLang="zh-CN" dirty="0"/>
          </a:p>
          <a:p>
            <a:pPr lvl="1"/>
            <a:r>
              <a:rPr lang="zh-CN" altLang="en-US" dirty="0"/>
              <a:t>物理学和天文学</a:t>
            </a:r>
            <a:r>
              <a:rPr lang="en-US" altLang="zh-CN" dirty="0"/>
              <a:t>(175)</a:t>
            </a:r>
            <a:endParaRPr lang="en-US" altLang="zh-CN" dirty="0"/>
          </a:p>
          <a:p>
            <a:pPr marL="86995" indent="0">
              <a:buNone/>
            </a:pPr>
            <a:r>
              <a:rPr lang="zh-CN" altLang="en-US" sz="2100" dirty="0">
                <a:solidFill>
                  <a:srgbClr val="C00000"/>
                </a:solidFill>
              </a:rPr>
              <a:t>生命科学</a:t>
            </a:r>
            <a:endParaRPr lang="en-US" altLang="zh-CN" sz="2100" dirty="0">
              <a:solidFill>
                <a:srgbClr val="C00000"/>
              </a:solidFill>
            </a:endParaRPr>
          </a:p>
          <a:p>
            <a:pPr lvl="1"/>
            <a:r>
              <a:rPr lang="zh-CN" altLang="en-US" dirty="0"/>
              <a:t>农业和生物学</a:t>
            </a:r>
            <a:r>
              <a:rPr lang="en-US" altLang="zh-CN" dirty="0"/>
              <a:t>(288)</a:t>
            </a:r>
            <a:endParaRPr lang="en-US" altLang="zh-CN" dirty="0"/>
          </a:p>
          <a:p>
            <a:pPr lvl="1"/>
            <a:r>
              <a:rPr lang="zh-CN" altLang="en-US" dirty="0"/>
              <a:t>生物化学</a:t>
            </a:r>
            <a:r>
              <a:rPr lang="en-US" altLang="zh-CN" dirty="0"/>
              <a:t>/</a:t>
            </a:r>
            <a:r>
              <a:rPr lang="zh-CN" altLang="en-US" dirty="0"/>
              <a:t>遗传学</a:t>
            </a:r>
            <a:r>
              <a:rPr lang="en-US" altLang="zh-CN" dirty="0"/>
              <a:t>/</a:t>
            </a:r>
            <a:r>
              <a:rPr lang="zh-CN" altLang="en-US" dirty="0"/>
              <a:t>分子生物学</a:t>
            </a:r>
            <a:r>
              <a:rPr lang="en-US" altLang="zh-CN" dirty="0"/>
              <a:t>(433)</a:t>
            </a:r>
            <a:endParaRPr lang="en-US" altLang="zh-CN" dirty="0"/>
          </a:p>
          <a:p>
            <a:pPr lvl="1"/>
            <a:r>
              <a:rPr lang="zh-CN" altLang="en-US" dirty="0"/>
              <a:t>环境科学</a:t>
            </a:r>
            <a:r>
              <a:rPr lang="en-US" altLang="zh-CN" dirty="0"/>
              <a:t>(189)</a:t>
            </a:r>
            <a:endParaRPr lang="en-US" altLang="zh-CN" dirty="0"/>
          </a:p>
          <a:p>
            <a:pPr lvl="1"/>
            <a:r>
              <a:rPr lang="zh-CN" altLang="en-US" dirty="0"/>
              <a:t>免疫学和微生物学</a:t>
            </a:r>
            <a:r>
              <a:rPr lang="en-US" altLang="zh-CN" dirty="0"/>
              <a:t>(182)</a:t>
            </a:r>
            <a:endParaRPr lang="en-US" altLang="zh-CN" dirty="0"/>
          </a:p>
          <a:p>
            <a:pPr lvl="1"/>
            <a:r>
              <a:rPr lang="zh-CN" altLang="en-US" dirty="0"/>
              <a:t>神经科学</a:t>
            </a:r>
            <a:r>
              <a:rPr lang="en-US" altLang="zh-CN" dirty="0"/>
              <a:t>(189)</a:t>
            </a:r>
            <a:endParaRPr lang="en-US" altLang="zh-CN" dirty="0"/>
          </a:p>
          <a:p>
            <a:pPr marL="86995" indent="0">
              <a:buNone/>
            </a:pPr>
            <a:r>
              <a:rPr lang="zh-CN" altLang="en-US" sz="2100" dirty="0">
                <a:solidFill>
                  <a:srgbClr val="C00000"/>
                </a:solidFill>
              </a:rPr>
              <a:t>健康科学</a:t>
            </a:r>
            <a:endParaRPr lang="en-US" altLang="zh-CN" sz="2100" dirty="0">
              <a:solidFill>
                <a:srgbClr val="C00000"/>
              </a:solidFill>
            </a:endParaRPr>
          </a:p>
          <a:p>
            <a:pPr lvl="1"/>
            <a:r>
              <a:rPr lang="zh-CN" altLang="en-US" dirty="0"/>
              <a:t>医科和牙科</a:t>
            </a:r>
            <a:r>
              <a:rPr lang="en-US" altLang="zh-CN" dirty="0"/>
              <a:t>(1,395)</a:t>
            </a:r>
            <a:endParaRPr lang="en-US" altLang="zh-CN" dirty="0"/>
          </a:p>
          <a:p>
            <a:pPr lvl="1"/>
            <a:r>
              <a:rPr lang="zh-CN" altLang="en-US" dirty="0"/>
              <a:t>护理与卫生保健</a:t>
            </a:r>
            <a:r>
              <a:rPr lang="en-US" altLang="zh-CN" dirty="0"/>
              <a:t>(204)</a:t>
            </a:r>
            <a:endParaRPr lang="en-US" altLang="zh-CN" dirty="0"/>
          </a:p>
          <a:p>
            <a:pPr lvl="1"/>
            <a:r>
              <a:rPr lang="zh-CN" altLang="en-US" dirty="0"/>
              <a:t>药理学</a:t>
            </a:r>
            <a:r>
              <a:rPr lang="en-US" altLang="zh-CN" dirty="0"/>
              <a:t>/</a:t>
            </a:r>
            <a:r>
              <a:rPr lang="zh-CN" altLang="en-US" dirty="0"/>
              <a:t>毒理学</a:t>
            </a:r>
            <a:r>
              <a:rPr lang="en-US" altLang="zh-CN" dirty="0"/>
              <a:t>/</a:t>
            </a:r>
            <a:r>
              <a:rPr lang="zh-CN" altLang="en-US" dirty="0"/>
              <a:t>制药科学</a:t>
            </a:r>
            <a:r>
              <a:rPr lang="en-US" altLang="zh-CN" dirty="0"/>
              <a:t>(164)</a:t>
            </a:r>
            <a:endParaRPr lang="en-US" altLang="zh-CN" dirty="0"/>
          </a:p>
          <a:p>
            <a:pPr lvl="1"/>
            <a:r>
              <a:rPr lang="zh-CN" altLang="en-US" dirty="0"/>
              <a:t>兽医学 </a:t>
            </a:r>
            <a:r>
              <a:rPr lang="en-US" altLang="zh-CN" dirty="0"/>
              <a:t>(70)</a:t>
            </a:r>
            <a:endParaRPr lang="en-US" altLang="zh-CN" dirty="0"/>
          </a:p>
          <a:p>
            <a:pPr marL="86995" indent="0">
              <a:buNone/>
            </a:pPr>
            <a:r>
              <a:rPr lang="zh-CN" altLang="en-US" sz="2100" dirty="0">
                <a:solidFill>
                  <a:srgbClr val="C00000"/>
                </a:solidFill>
              </a:rPr>
              <a:t>社会科学及人文</a:t>
            </a:r>
            <a:endParaRPr lang="en-US" altLang="zh-CN" sz="2100" dirty="0">
              <a:solidFill>
                <a:srgbClr val="C00000"/>
              </a:solidFill>
            </a:endParaRPr>
          </a:p>
          <a:p>
            <a:pPr lvl="1"/>
            <a:r>
              <a:rPr lang="zh-CN" altLang="en-US" dirty="0"/>
              <a:t>艺术与人文</a:t>
            </a:r>
            <a:r>
              <a:rPr lang="en-US" altLang="zh-CN" dirty="0"/>
              <a:t>(58)</a:t>
            </a:r>
            <a:endParaRPr lang="en-US" altLang="zh-CN" dirty="0"/>
          </a:p>
          <a:p>
            <a:pPr lvl="1"/>
            <a:r>
              <a:rPr lang="zh-CN" altLang="en-US" dirty="0"/>
              <a:t>商业</a:t>
            </a:r>
            <a:r>
              <a:rPr lang="en-US" altLang="zh-CN" dirty="0"/>
              <a:t>/</a:t>
            </a:r>
            <a:r>
              <a:rPr lang="zh-CN" altLang="en-US" dirty="0"/>
              <a:t>管理</a:t>
            </a:r>
            <a:r>
              <a:rPr lang="en-US" altLang="zh-CN" dirty="0"/>
              <a:t>/</a:t>
            </a:r>
            <a:r>
              <a:rPr lang="zh-CN" altLang="en-US" dirty="0"/>
              <a:t>会计学</a:t>
            </a:r>
            <a:r>
              <a:rPr lang="en-US" altLang="zh-CN" dirty="0"/>
              <a:t>(142)</a:t>
            </a:r>
            <a:endParaRPr lang="en-US" altLang="zh-CN" dirty="0"/>
          </a:p>
          <a:p>
            <a:pPr lvl="1"/>
            <a:r>
              <a:rPr lang="zh-CN" altLang="en-US" dirty="0"/>
              <a:t>决策科学</a:t>
            </a:r>
            <a:r>
              <a:rPr lang="en-US" altLang="zh-CN" dirty="0"/>
              <a:t>(77)</a:t>
            </a:r>
            <a:endParaRPr lang="en-US" altLang="zh-CN" dirty="0"/>
          </a:p>
          <a:p>
            <a:pPr lvl="1"/>
            <a:r>
              <a:rPr lang="zh-CN" altLang="en-US" dirty="0"/>
              <a:t>经济学</a:t>
            </a:r>
            <a:r>
              <a:rPr lang="en-US" altLang="zh-CN" dirty="0"/>
              <a:t>/</a:t>
            </a:r>
            <a:r>
              <a:rPr lang="zh-CN" altLang="en-US" dirty="0"/>
              <a:t>计量经济学</a:t>
            </a:r>
            <a:r>
              <a:rPr lang="en-US" altLang="zh-CN" dirty="0"/>
              <a:t>/</a:t>
            </a:r>
            <a:r>
              <a:rPr lang="zh-CN" altLang="en-US" dirty="0"/>
              <a:t>金融</a:t>
            </a:r>
            <a:r>
              <a:rPr lang="en-US" altLang="zh-CN" dirty="0"/>
              <a:t>(130)</a:t>
            </a:r>
            <a:endParaRPr lang="en-US" altLang="zh-CN" dirty="0"/>
          </a:p>
          <a:p>
            <a:pPr lvl="1"/>
            <a:r>
              <a:rPr lang="zh-CN" altLang="en-US" dirty="0"/>
              <a:t>心理学</a:t>
            </a:r>
            <a:r>
              <a:rPr lang="en-US" altLang="zh-CN" dirty="0"/>
              <a:t>(174)</a:t>
            </a:r>
            <a:endParaRPr lang="en-US" altLang="zh-CN" dirty="0"/>
          </a:p>
          <a:p>
            <a:pPr lvl="1"/>
            <a:r>
              <a:rPr lang="zh-CN" altLang="en-US" dirty="0"/>
              <a:t>社会科学</a:t>
            </a:r>
            <a:r>
              <a:rPr lang="en-US" altLang="zh-CN" dirty="0"/>
              <a:t>(318)</a:t>
            </a:r>
            <a:endParaRPr lang="en-US" altLang="zh-CN" dirty="0"/>
          </a:p>
          <a:p>
            <a:pPr lvl="1"/>
            <a:endParaRPr lang="en-US" altLang="zh-CN" dirty="0"/>
          </a:p>
          <a:p>
            <a:pPr lvl="1"/>
            <a:endParaRPr lang="en-US" altLang="zh-CN" dirty="0"/>
          </a:p>
        </p:txBody>
      </p:sp>
      <p:sp>
        <p:nvSpPr>
          <p:cNvPr id="7" name="Title 6"/>
          <p:cNvSpPr>
            <a:spLocks noGrp="1"/>
          </p:cNvSpPr>
          <p:nvPr>
            <p:ph type="title"/>
          </p:nvPr>
        </p:nvSpPr>
        <p:spPr/>
        <p:txBody>
          <a:bodyPr/>
          <a:lstStyle/>
          <a:p>
            <a:r>
              <a:rPr lang="zh-CN" altLang="en-US" dirty="0">
                <a:solidFill>
                  <a:schemeClr val="tx2"/>
                </a:solidFill>
              </a:rPr>
              <a:t>全学科全文数据库 </a:t>
            </a:r>
            <a:r>
              <a:rPr lang="en-US" sz="3200" dirty="0">
                <a:solidFill>
                  <a:schemeClr val="tx2"/>
                </a:solidFill>
              </a:rPr>
              <a:t>ScienceDirect</a:t>
            </a:r>
            <a:endParaRPr lang="en-US" dirty="0">
              <a:solidFill>
                <a:schemeClr val="tx2"/>
              </a:solidFill>
            </a:endParaRPr>
          </a:p>
        </p:txBody>
      </p:sp>
      <p:pic>
        <p:nvPicPr>
          <p:cNvPr id="2" name="Picture 1"/>
          <p:cNvPicPr>
            <a:picLocks noChangeAspect="1"/>
          </p:cNvPicPr>
          <p:nvPr/>
        </p:nvPicPr>
        <p:blipFill>
          <a:blip r:embed="rId1"/>
          <a:stretch>
            <a:fillRect/>
          </a:stretch>
        </p:blipFill>
        <p:spPr>
          <a:xfrm>
            <a:off x="173421" y="1478838"/>
            <a:ext cx="1990725" cy="1819275"/>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p:cNvPicPr>
            <a:picLocks noChangeAspect="1"/>
          </p:cNvPicPr>
          <p:nvPr/>
        </p:nvPicPr>
        <p:blipFill>
          <a:blip r:embed="rId1">
            <a:alphaModFix amt="24000"/>
            <a:extLst>
              <a:ext uri="{28A0092B-C50C-407E-A947-70E740481C1C}">
                <a14:useLocalDpi xmlns:a14="http://schemas.microsoft.com/office/drawing/2010/main" val="0"/>
              </a:ext>
            </a:extLst>
          </a:blip>
          <a:stretch>
            <a:fillRect/>
          </a:stretch>
        </p:blipFill>
        <p:spPr>
          <a:xfrm>
            <a:off x="2850156" y="2668564"/>
            <a:ext cx="3387140" cy="3387140"/>
          </a:xfrm>
          <a:prstGeom prst="rect">
            <a:avLst/>
          </a:prstGeom>
          <a:effectLst>
            <a:outerShdw blurRad="50800" dist="50800" dir="5400000" algn="ctr" rotWithShape="0">
              <a:srgbClr val="000000"/>
            </a:outerShdw>
          </a:effectLst>
        </p:spPr>
      </p:pic>
      <p:sp>
        <p:nvSpPr>
          <p:cNvPr id="5" name="Rectangle 4"/>
          <p:cNvSpPr/>
          <p:nvPr/>
        </p:nvSpPr>
        <p:spPr>
          <a:xfrm>
            <a:off x="0" y="3365052"/>
            <a:ext cx="9144000" cy="2807148"/>
          </a:xfrm>
          <a:prstGeom prst="rect">
            <a:avLst/>
          </a:prstGeom>
          <a:solidFill>
            <a:srgbClr val="F6F6F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9F9F9"/>
              </a:solidFill>
            </a:endParaRPr>
          </a:p>
        </p:txBody>
      </p:sp>
      <p:sp>
        <p:nvSpPr>
          <p:cNvPr id="2" name="Title 1"/>
          <p:cNvSpPr>
            <a:spLocks noGrp="1"/>
          </p:cNvSpPr>
          <p:nvPr>
            <p:ph type="title"/>
          </p:nvPr>
        </p:nvSpPr>
        <p:spPr>
          <a:xfrm>
            <a:off x="302010" y="562399"/>
            <a:ext cx="8238319" cy="418645"/>
          </a:xfrm>
        </p:spPr>
        <p:txBody>
          <a:bodyPr/>
          <a:lstStyle/>
          <a:p>
            <a:r>
              <a:rPr lang="en-US" dirty="0"/>
              <a:t>ScienceDirect </a:t>
            </a:r>
            <a:r>
              <a:rPr lang="zh-CN" altLang="en-US" dirty="0"/>
              <a:t>促进全球研究</a:t>
            </a:r>
            <a:endParaRPr lang="en-US" dirty="0"/>
          </a:p>
        </p:txBody>
      </p:sp>
      <p:sp>
        <p:nvSpPr>
          <p:cNvPr id="14" name="Title 1"/>
          <p:cNvSpPr txBox="1"/>
          <p:nvPr/>
        </p:nvSpPr>
        <p:spPr>
          <a:xfrm>
            <a:off x="306346" y="949879"/>
            <a:ext cx="8573703" cy="304001"/>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zh-CN" altLang="en-US" sz="1600" dirty="0">
                <a:solidFill>
                  <a:schemeClr val="tx1"/>
                </a:solidFill>
                <a:latin typeface="+mn-lt"/>
              </a:rPr>
              <a:t>全球</a:t>
            </a:r>
            <a:r>
              <a:rPr lang="en-US" altLang="zh-CN" sz="1600" dirty="0">
                <a:solidFill>
                  <a:schemeClr val="tx1"/>
                </a:solidFill>
                <a:latin typeface="+mn-lt"/>
              </a:rPr>
              <a:t>1/4</a:t>
            </a:r>
            <a:r>
              <a:rPr lang="zh-CN" altLang="en-US" sz="1600" dirty="0">
                <a:solidFill>
                  <a:schemeClr val="tx1"/>
                </a:solidFill>
                <a:latin typeface="+mn-lt"/>
              </a:rPr>
              <a:t>参考文献来自</a:t>
            </a:r>
            <a:r>
              <a:rPr lang="en-US" altLang="zh-CN" sz="1600" dirty="0">
                <a:solidFill>
                  <a:schemeClr val="tx1"/>
                </a:solidFill>
                <a:latin typeface="+mn-lt"/>
              </a:rPr>
              <a:t>SD</a:t>
            </a:r>
            <a:r>
              <a:rPr lang="zh-CN" altLang="en-US" sz="1600" dirty="0">
                <a:solidFill>
                  <a:schemeClr val="tx1"/>
                </a:solidFill>
                <a:latin typeface="+mn-lt"/>
              </a:rPr>
              <a:t>内容</a:t>
            </a:r>
            <a:endParaRPr lang="en-US" sz="1600" dirty="0">
              <a:solidFill>
                <a:schemeClr val="tx1"/>
              </a:solidFill>
              <a:latin typeface="+mn-lt"/>
            </a:endParaRPr>
          </a:p>
        </p:txBody>
      </p:sp>
      <p:sp>
        <p:nvSpPr>
          <p:cNvPr id="15" name="Title Texts2"/>
          <p:cNvSpPr>
            <a:spLocks noGrp="1"/>
          </p:cNvSpPr>
          <p:nvPr>
            <p:ph idx="4294967295"/>
          </p:nvPr>
        </p:nvSpPr>
        <p:spPr>
          <a:xfrm>
            <a:off x="203651" y="6492780"/>
            <a:ext cx="3501040" cy="238155"/>
          </a:xfrm>
        </p:spPr>
        <p:txBody>
          <a:bodyPr>
            <a:normAutofit/>
          </a:bodyPr>
          <a:lstStyle>
            <a:lvl1pPr marL="0" indent="0">
              <a:buNone/>
              <a:defRPr sz="800" baseline="0">
                <a:solidFill>
                  <a:schemeClr val="tx1">
                    <a:lumMod val="75000"/>
                  </a:schemeClr>
                </a:solidFill>
              </a:defRPr>
            </a:lvl1pPr>
          </a:lstStyle>
          <a:p>
            <a:r>
              <a:rPr sz="700" dirty="0"/>
              <a:t>Source: Elsevier Web Analytics Department, Scopus Data 2011–2015</a:t>
            </a:r>
            <a:endParaRPr sz="700" dirty="0"/>
          </a:p>
        </p:txBody>
      </p:sp>
      <p:sp>
        <p:nvSpPr>
          <p:cNvPr id="16" name="Title Texts3"/>
          <p:cNvSpPr>
            <a:spLocks noGrp="1"/>
          </p:cNvSpPr>
          <p:nvPr>
            <p:ph idx="4294967295"/>
          </p:nvPr>
        </p:nvSpPr>
        <p:spPr>
          <a:xfrm>
            <a:off x="5742432" y="1516160"/>
            <a:ext cx="3401568" cy="1666229"/>
          </a:xfrm>
        </p:spPr>
        <p:txBody>
          <a:bodyPr>
            <a:noAutofit/>
          </a:bodyPr>
          <a:lstStyle>
            <a:lvl1pPr marL="0" indent="0">
              <a:spcBef>
                <a:spcPts val="1200"/>
              </a:spcBef>
              <a:buNone/>
              <a:defRPr sz="1200" b="0"/>
            </a:lvl1pPr>
          </a:lstStyle>
          <a:p>
            <a:pPr>
              <a:spcAft>
                <a:spcPts val="300"/>
              </a:spcAft>
            </a:pPr>
            <a:r>
              <a:rPr lang="zh-CN" altLang="en-US" sz="1400" b="1" dirty="0">
                <a:solidFill>
                  <a:schemeClr val="tx2"/>
                </a:solidFill>
              </a:rPr>
              <a:t>在过去</a:t>
            </a:r>
            <a:r>
              <a:rPr lang="en-US" altLang="zh-CN" sz="1400" b="1" dirty="0">
                <a:solidFill>
                  <a:schemeClr val="tx2"/>
                </a:solidFill>
              </a:rPr>
              <a:t>5</a:t>
            </a:r>
            <a:r>
              <a:rPr lang="zh-CN" altLang="en-US" sz="1400" b="1" dirty="0">
                <a:solidFill>
                  <a:schemeClr val="tx2"/>
                </a:solidFill>
              </a:rPr>
              <a:t>年</a:t>
            </a:r>
            <a:r>
              <a:rPr sz="1400" b="1" dirty="0">
                <a:solidFill>
                  <a:schemeClr val="tx2"/>
                </a:solidFill>
              </a:rPr>
              <a:t>:</a:t>
            </a:r>
            <a:endParaRPr sz="1400" b="1" dirty="0">
              <a:solidFill>
                <a:schemeClr val="tx2"/>
              </a:solidFill>
            </a:endParaRPr>
          </a:p>
          <a:p>
            <a:pPr marL="171450" indent="-171450">
              <a:spcBef>
                <a:spcPts val="0"/>
              </a:spcBef>
              <a:buFont typeface="Arial" panose="020B0604020202020204" pitchFamily="34" charset="0"/>
              <a:buChar char="•"/>
            </a:pPr>
            <a:r>
              <a:rPr lang="zh-CN" altLang="en-US" sz="1400" dirty="0"/>
              <a:t>来自</a:t>
            </a:r>
            <a:r>
              <a:rPr lang="en-US" altLang="zh-CN" sz="1400" dirty="0"/>
              <a:t>247</a:t>
            </a:r>
            <a:r>
              <a:rPr lang="zh-CN" altLang="en-US" sz="1400" dirty="0"/>
              <a:t>国家的研究人员从</a:t>
            </a:r>
            <a:r>
              <a:rPr lang="en-US" altLang="zh-CN" sz="1400" dirty="0"/>
              <a:t>ScienceDirect</a:t>
            </a:r>
            <a:r>
              <a:rPr lang="zh-CN" altLang="en-US" sz="1400" dirty="0"/>
              <a:t>平台上下载</a:t>
            </a:r>
            <a:r>
              <a:rPr sz="1400" dirty="0"/>
              <a:t>4,007,955,430</a:t>
            </a:r>
            <a:endParaRPr sz="1400" dirty="0"/>
          </a:p>
          <a:p>
            <a:pPr marL="171450" indent="-171450">
              <a:spcBef>
                <a:spcPts val="1000"/>
              </a:spcBef>
              <a:buFont typeface="Arial" panose="020B0604020202020204" pitchFamily="34" charset="0"/>
              <a:buChar char="•"/>
            </a:pPr>
            <a:r>
              <a:rPr lang="zh-CN" altLang="en-US" sz="1400" dirty="0"/>
              <a:t>全球范围内，在</a:t>
            </a:r>
            <a:r>
              <a:rPr lang="en-US" altLang="zh-CN" sz="1400" dirty="0"/>
              <a:t>SD</a:t>
            </a:r>
            <a:r>
              <a:rPr lang="zh-CN" altLang="en-US" sz="1400" dirty="0"/>
              <a:t>平台收录的文献被引用</a:t>
            </a:r>
            <a:r>
              <a:rPr sz="1400" dirty="0"/>
              <a:t>64,734,635</a:t>
            </a:r>
            <a:r>
              <a:rPr lang="zh-CN" altLang="en-US" sz="1400" dirty="0"/>
              <a:t>次</a:t>
            </a:r>
            <a:endParaRPr sz="1400" dirty="0"/>
          </a:p>
        </p:txBody>
      </p:sp>
      <p:sp>
        <p:nvSpPr>
          <p:cNvPr id="49" name="Rectangle 3"/>
          <p:cNvSpPr>
            <a:spLocks noChangeArrowheads="1"/>
          </p:cNvSpPr>
          <p:nvPr>
            <p:custDataLst>
              <p:tags r:id="rId2"/>
            </p:custDataLst>
          </p:nvPr>
        </p:nvSpPr>
        <p:spPr bwMode="gray">
          <a:xfrm>
            <a:off x="439756" y="1816222"/>
            <a:ext cx="1371600" cy="372410"/>
          </a:xfrm>
          <a:prstGeom prst="rect">
            <a:avLst/>
          </a:prstGeom>
          <a:solidFill>
            <a:schemeClr val="tx2"/>
          </a:solidFill>
          <a:ln w="9525">
            <a:noFill/>
            <a:miter lim="800000"/>
          </a:ln>
        </p:spPr>
        <p:txBody>
          <a:bodyPr wrap="square" lIns="0" tIns="0" rIns="0" bIns="0" anchor="ctr">
            <a:spAutoFit/>
          </a:bodyPr>
          <a:lstStyle/>
          <a:p>
            <a:pPr algn="ctr">
              <a:spcBef>
                <a:spcPct val="20000"/>
              </a:spcBef>
              <a:buClr>
                <a:srgbClr val="000099"/>
              </a:buClr>
              <a:buSzPct val="70000"/>
              <a:buFont typeface="Wingdings" panose="05000000000000000000" pitchFamily="2" charset="2"/>
              <a:buNone/>
            </a:pPr>
            <a:r>
              <a:rPr lang="en-GB" sz="1100" b="1" dirty="0">
                <a:solidFill>
                  <a:schemeClr val="bg1"/>
                </a:solidFill>
              </a:rPr>
              <a:t>GET CITED</a:t>
            </a:r>
            <a:endParaRPr lang="en-GB" sz="1100" b="1" dirty="0">
              <a:solidFill>
                <a:schemeClr val="bg1"/>
              </a:solidFill>
            </a:endParaRPr>
          </a:p>
          <a:p>
            <a:pPr algn="ctr">
              <a:spcBef>
                <a:spcPct val="20000"/>
              </a:spcBef>
              <a:buClr>
                <a:srgbClr val="000099"/>
              </a:buClr>
              <a:buSzPct val="70000"/>
              <a:buFont typeface="Wingdings" panose="05000000000000000000" pitchFamily="2" charset="2"/>
              <a:buNone/>
            </a:pPr>
            <a:r>
              <a:rPr lang="zh-CN" altLang="en-US" sz="1100" b="1" dirty="0">
                <a:solidFill>
                  <a:schemeClr val="bg1"/>
                </a:solidFill>
              </a:rPr>
              <a:t>被引用</a:t>
            </a:r>
            <a:endParaRPr lang="en-GB" sz="1100" b="1" dirty="0">
              <a:solidFill>
                <a:schemeClr val="bg1"/>
              </a:solidFill>
            </a:endParaRPr>
          </a:p>
        </p:txBody>
      </p:sp>
      <p:sp>
        <p:nvSpPr>
          <p:cNvPr id="50" name="Rectangle 3"/>
          <p:cNvSpPr>
            <a:spLocks noChangeArrowheads="1"/>
          </p:cNvSpPr>
          <p:nvPr>
            <p:custDataLst>
              <p:tags r:id="rId3"/>
            </p:custDataLst>
          </p:nvPr>
        </p:nvSpPr>
        <p:spPr bwMode="gray">
          <a:xfrm>
            <a:off x="2219951" y="1819845"/>
            <a:ext cx="1382794" cy="372410"/>
          </a:xfrm>
          <a:prstGeom prst="rect">
            <a:avLst/>
          </a:prstGeom>
          <a:solidFill>
            <a:schemeClr val="tx2"/>
          </a:solidFill>
          <a:ln w="9525">
            <a:noFill/>
            <a:miter lim="800000"/>
          </a:ln>
        </p:spPr>
        <p:txBody>
          <a:bodyPr wrap="square" lIns="0" tIns="0" rIns="0" bIns="0" anchor="ctr">
            <a:spAutoFit/>
          </a:bodyPr>
          <a:lstStyle/>
          <a:p>
            <a:pPr algn="ctr">
              <a:spcBef>
                <a:spcPct val="20000"/>
              </a:spcBef>
              <a:buClr>
                <a:srgbClr val="000099"/>
              </a:buClr>
              <a:buSzPct val="70000"/>
              <a:buFont typeface="Wingdings" panose="05000000000000000000" pitchFamily="2" charset="2"/>
              <a:buNone/>
            </a:pPr>
            <a:r>
              <a:rPr lang="en-GB" sz="1100" b="1" dirty="0">
                <a:solidFill>
                  <a:schemeClr val="bg1"/>
                </a:solidFill>
              </a:rPr>
              <a:t>PUBLISH</a:t>
            </a:r>
            <a:endParaRPr lang="en-GB" sz="1100" b="1" dirty="0">
              <a:solidFill>
                <a:schemeClr val="bg1"/>
              </a:solidFill>
            </a:endParaRPr>
          </a:p>
          <a:p>
            <a:pPr algn="ctr">
              <a:spcBef>
                <a:spcPct val="20000"/>
              </a:spcBef>
              <a:buClr>
                <a:srgbClr val="000099"/>
              </a:buClr>
              <a:buSzPct val="70000"/>
              <a:buFont typeface="Wingdings" panose="05000000000000000000" pitchFamily="2" charset="2"/>
              <a:buNone/>
            </a:pPr>
            <a:r>
              <a:rPr lang="zh-CN" altLang="en-US" sz="1100" b="1" dirty="0">
                <a:solidFill>
                  <a:schemeClr val="bg1"/>
                </a:solidFill>
              </a:rPr>
              <a:t>发表</a:t>
            </a:r>
            <a:endParaRPr lang="en-GB" sz="1100" b="1" dirty="0">
              <a:solidFill>
                <a:schemeClr val="bg1"/>
              </a:solidFill>
            </a:endParaRPr>
          </a:p>
        </p:txBody>
      </p:sp>
      <p:sp>
        <p:nvSpPr>
          <p:cNvPr id="51" name="Rectangle 3"/>
          <p:cNvSpPr>
            <a:spLocks noChangeArrowheads="1"/>
          </p:cNvSpPr>
          <p:nvPr>
            <p:custDataLst>
              <p:tags r:id="rId4"/>
            </p:custDataLst>
          </p:nvPr>
        </p:nvSpPr>
        <p:spPr bwMode="gray">
          <a:xfrm>
            <a:off x="2219952" y="2414493"/>
            <a:ext cx="1382794" cy="372410"/>
          </a:xfrm>
          <a:prstGeom prst="rect">
            <a:avLst/>
          </a:prstGeom>
          <a:solidFill>
            <a:schemeClr val="tx2"/>
          </a:solidFill>
          <a:ln w="9525">
            <a:noFill/>
            <a:miter lim="800000"/>
          </a:ln>
        </p:spPr>
        <p:txBody>
          <a:bodyPr wrap="square" lIns="0" tIns="0" rIns="0" bIns="0" anchor="ctr">
            <a:spAutoFit/>
          </a:bodyPr>
          <a:lstStyle/>
          <a:p>
            <a:pPr algn="ctr">
              <a:spcBef>
                <a:spcPct val="20000"/>
              </a:spcBef>
              <a:buClr>
                <a:srgbClr val="000099"/>
              </a:buClr>
              <a:buSzPct val="70000"/>
              <a:buFont typeface="Wingdings" panose="05000000000000000000" pitchFamily="2" charset="2"/>
              <a:buNone/>
            </a:pPr>
            <a:r>
              <a:rPr lang="en-GB" sz="1100" b="1" dirty="0">
                <a:solidFill>
                  <a:schemeClr val="bg1"/>
                </a:solidFill>
              </a:rPr>
              <a:t>CITE</a:t>
            </a:r>
            <a:endParaRPr lang="en-GB" sz="1100" b="1" dirty="0">
              <a:solidFill>
                <a:schemeClr val="bg1"/>
              </a:solidFill>
            </a:endParaRPr>
          </a:p>
          <a:p>
            <a:pPr algn="ctr">
              <a:spcBef>
                <a:spcPct val="20000"/>
              </a:spcBef>
              <a:buClr>
                <a:srgbClr val="000099"/>
              </a:buClr>
              <a:buSzPct val="70000"/>
              <a:buFont typeface="Wingdings" panose="05000000000000000000" pitchFamily="2" charset="2"/>
              <a:buNone/>
            </a:pPr>
            <a:r>
              <a:rPr lang="zh-CN" altLang="en-US" sz="1100" b="1" dirty="0">
                <a:solidFill>
                  <a:schemeClr val="bg1"/>
                </a:solidFill>
              </a:rPr>
              <a:t>引用</a:t>
            </a:r>
            <a:endParaRPr lang="en-GB" sz="1100" b="1" dirty="0">
              <a:solidFill>
                <a:schemeClr val="bg1"/>
              </a:solidFill>
            </a:endParaRPr>
          </a:p>
        </p:txBody>
      </p:sp>
      <p:sp>
        <p:nvSpPr>
          <p:cNvPr id="52" name="Rectangle 3"/>
          <p:cNvSpPr>
            <a:spLocks noChangeArrowheads="1"/>
          </p:cNvSpPr>
          <p:nvPr>
            <p:custDataLst>
              <p:tags r:id="rId5"/>
            </p:custDataLst>
          </p:nvPr>
        </p:nvSpPr>
        <p:spPr bwMode="gray">
          <a:xfrm>
            <a:off x="473198" y="2416174"/>
            <a:ext cx="1304716" cy="372410"/>
          </a:xfrm>
          <a:prstGeom prst="rect">
            <a:avLst/>
          </a:prstGeom>
          <a:solidFill>
            <a:schemeClr val="tx2"/>
          </a:solidFill>
          <a:ln w="9525">
            <a:noFill/>
            <a:miter lim="800000"/>
          </a:ln>
        </p:spPr>
        <p:txBody>
          <a:bodyPr wrap="square" lIns="0" tIns="0" rIns="0" bIns="0" anchor="ctr">
            <a:spAutoFit/>
          </a:bodyPr>
          <a:lstStyle/>
          <a:p>
            <a:pPr algn="ctr">
              <a:spcBef>
                <a:spcPct val="20000"/>
              </a:spcBef>
              <a:buClr>
                <a:srgbClr val="000099"/>
              </a:buClr>
              <a:buSzPct val="70000"/>
              <a:buFont typeface="Wingdings" panose="05000000000000000000" pitchFamily="2" charset="2"/>
              <a:buNone/>
            </a:pPr>
            <a:r>
              <a:rPr lang="en-GB" sz="1100" b="1" dirty="0">
                <a:solidFill>
                  <a:schemeClr val="bg1"/>
                </a:solidFill>
              </a:rPr>
              <a:t>READ</a:t>
            </a:r>
            <a:endParaRPr lang="en-GB" sz="1100" b="1" dirty="0">
              <a:solidFill>
                <a:schemeClr val="bg1"/>
              </a:solidFill>
            </a:endParaRPr>
          </a:p>
          <a:p>
            <a:pPr algn="ctr">
              <a:spcBef>
                <a:spcPct val="20000"/>
              </a:spcBef>
              <a:buClr>
                <a:srgbClr val="000099"/>
              </a:buClr>
              <a:buSzPct val="70000"/>
              <a:buFont typeface="Wingdings" panose="05000000000000000000" pitchFamily="2" charset="2"/>
              <a:buNone/>
            </a:pPr>
            <a:r>
              <a:rPr lang="zh-CN" altLang="en-US" sz="1100" b="1" dirty="0">
                <a:solidFill>
                  <a:schemeClr val="bg1"/>
                </a:solidFill>
              </a:rPr>
              <a:t>阅读</a:t>
            </a:r>
            <a:endParaRPr lang="en-GB" sz="1100" b="1" dirty="0">
              <a:solidFill>
                <a:schemeClr val="bg1"/>
              </a:solidFill>
            </a:endParaRPr>
          </a:p>
        </p:txBody>
      </p:sp>
      <p:grpSp>
        <p:nvGrpSpPr>
          <p:cNvPr id="6" name="Group 5"/>
          <p:cNvGrpSpPr/>
          <p:nvPr/>
        </p:nvGrpSpPr>
        <p:grpSpPr>
          <a:xfrm>
            <a:off x="1126923" y="3532087"/>
            <a:ext cx="1654515" cy="2119356"/>
            <a:chOff x="1126923" y="3447027"/>
            <a:chExt cx="1654515" cy="2119356"/>
          </a:xfrm>
        </p:grpSpPr>
        <p:grpSp>
          <p:nvGrpSpPr>
            <p:cNvPr id="35" name="Groupe 6"/>
            <p:cNvGrpSpPr/>
            <p:nvPr/>
          </p:nvGrpSpPr>
          <p:grpSpPr>
            <a:xfrm>
              <a:off x="1126923" y="3911939"/>
              <a:ext cx="1654515" cy="1654444"/>
              <a:chOff x="698822" y="1648717"/>
              <a:chExt cx="1654515" cy="1654444"/>
            </a:xfrm>
          </p:grpSpPr>
          <p:sp>
            <p:nvSpPr>
              <p:cNvPr id="36" name="Polygon form 7"/>
              <p:cNvSpPr/>
              <p:nvPr/>
            </p:nvSpPr>
            <p:spPr>
              <a:xfrm>
                <a:off x="1526070" y="1648717"/>
                <a:ext cx="826638" cy="827274"/>
              </a:xfrm>
              <a:custGeom>
                <a:avLst/>
                <a:gdLst/>
                <a:ahLst/>
                <a:cxnLst/>
                <a:rect l="0" t="0" r="0" b="0"/>
                <a:pathLst>
                  <a:path w="826638" h="827274">
                    <a:moveTo>
                      <a:pt x="0" y="827274"/>
                    </a:moveTo>
                    <a:lnTo>
                      <a:pt x="28505" y="826156"/>
                    </a:lnTo>
                    <a:lnTo>
                      <a:pt x="57010" y="825038"/>
                    </a:lnTo>
                    <a:lnTo>
                      <a:pt x="85514" y="823920"/>
                    </a:lnTo>
                    <a:lnTo>
                      <a:pt x="114019" y="822802"/>
                    </a:lnTo>
                    <a:lnTo>
                      <a:pt x="142524" y="821685"/>
                    </a:lnTo>
                    <a:lnTo>
                      <a:pt x="171029" y="820567"/>
                    </a:lnTo>
                    <a:lnTo>
                      <a:pt x="199533" y="819449"/>
                    </a:lnTo>
                    <a:lnTo>
                      <a:pt x="228038" y="818331"/>
                    </a:lnTo>
                    <a:lnTo>
                      <a:pt x="256543" y="817214"/>
                    </a:lnTo>
                    <a:lnTo>
                      <a:pt x="285048" y="816096"/>
                    </a:lnTo>
                    <a:lnTo>
                      <a:pt x="313552" y="814978"/>
                    </a:lnTo>
                    <a:lnTo>
                      <a:pt x="342057" y="813860"/>
                    </a:lnTo>
                    <a:lnTo>
                      <a:pt x="370562" y="812742"/>
                    </a:lnTo>
                    <a:lnTo>
                      <a:pt x="399067" y="811625"/>
                    </a:lnTo>
                    <a:lnTo>
                      <a:pt x="427572" y="810507"/>
                    </a:lnTo>
                    <a:lnTo>
                      <a:pt x="456076" y="809389"/>
                    </a:lnTo>
                    <a:lnTo>
                      <a:pt x="484581" y="808271"/>
                    </a:lnTo>
                    <a:lnTo>
                      <a:pt x="513086" y="807154"/>
                    </a:lnTo>
                    <a:lnTo>
                      <a:pt x="541591" y="806036"/>
                    </a:lnTo>
                    <a:lnTo>
                      <a:pt x="570095" y="804918"/>
                    </a:lnTo>
                    <a:lnTo>
                      <a:pt x="598600" y="803800"/>
                    </a:lnTo>
                    <a:lnTo>
                      <a:pt x="627105" y="802682"/>
                    </a:lnTo>
                    <a:lnTo>
                      <a:pt x="655610" y="801565"/>
                    </a:lnTo>
                    <a:lnTo>
                      <a:pt x="684114" y="800447"/>
                    </a:lnTo>
                    <a:lnTo>
                      <a:pt x="712619" y="799329"/>
                    </a:lnTo>
                    <a:lnTo>
                      <a:pt x="741124" y="798211"/>
                    </a:lnTo>
                    <a:lnTo>
                      <a:pt x="769629" y="797094"/>
                    </a:lnTo>
                    <a:lnTo>
                      <a:pt x="798134" y="795976"/>
                    </a:lnTo>
                    <a:lnTo>
                      <a:pt x="826638" y="794858"/>
                    </a:lnTo>
                    <a:lnTo>
                      <a:pt x="826638" y="794858"/>
                    </a:lnTo>
                    <a:lnTo>
                      <a:pt x="825056" y="766747"/>
                    </a:lnTo>
                    <a:lnTo>
                      <a:pt x="822519" y="738706"/>
                    </a:lnTo>
                    <a:lnTo>
                      <a:pt x="819029" y="710768"/>
                    </a:lnTo>
                    <a:lnTo>
                      <a:pt x="814590" y="682965"/>
                    </a:lnTo>
                    <a:lnTo>
                      <a:pt x="809207" y="655329"/>
                    </a:lnTo>
                    <a:lnTo>
                      <a:pt x="802888" y="627892"/>
                    </a:lnTo>
                    <a:lnTo>
                      <a:pt x="795638" y="600686"/>
                    </a:lnTo>
                    <a:lnTo>
                      <a:pt x="787466" y="573742"/>
                    </a:lnTo>
                    <a:lnTo>
                      <a:pt x="778383" y="547092"/>
                    </a:lnTo>
                    <a:lnTo>
                      <a:pt x="768398" y="520767"/>
                    </a:lnTo>
                    <a:lnTo>
                      <a:pt x="757523" y="494796"/>
                    </a:lnTo>
                    <a:lnTo>
                      <a:pt x="745770" y="469211"/>
                    </a:lnTo>
                    <a:lnTo>
                      <a:pt x="733154" y="444041"/>
                    </a:lnTo>
                    <a:lnTo>
                      <a:pt x="719688" y="419314"/>
                    </a:lnTo>
                    <a:lnTo>
                      <a:pt x="705389" y="395060"/>
                    </a:lnTo>
                    <a:lnTo>
                      <a:pt x="690272" y="371307"/>
                    </a:lnTo>
                    <a:lnTo>
                      <a:pt x="674356" y="348082"/>
                    </a:lnTo>
                    <a:lnTo>
                      <a:pt x="657659" y="325411"/>
                    </a:lnTo>
                    <a:lnTo>
                      <a:pt x="640201" y="303323"/>
                    </a:lnTo>
                    <a:lnTo>
                      <a:pt x="622000" y="281841"/>
                    </a:lnTo>
                    <a:lnTo>
                      <a:pt x="603080" y="260990"/>
                    </a:lnTo>
                    <a:lnTo>
                      <a:pt x="583460" y="240796"/>
                    </a:lnTo>
                    <a:lnTo>
                      <a:pt x="563165" y="221281"/>
                    </a:lnTo>
                    <a:lnTo>
                      <a:pt x="542217" y="202468"/>
                    </a:lnTo>
                    <a:lnTo>
                      <a:pt x="520642" y="184379"/>
                    </a:lnTo>
                    <a:lnTo>
                      <a:pt x="498463" y="167034"/>
                    </a:lnTo>
                    <a:lnTo>
                      <a:pt x="475707" y="150454"/>
                    </a:lnTo>
                    <a:lnTo>
                      <a:pt x="452400" y="134659"/>
                    </a:lnTo>
                    <a:lnTo>
                      <a:pt x="428569" y="119665"/>
                    </a:lnTo>
                    <a:lnTo>
                      <a:pt x="404242" y="105491"/>
                    </a:lnTo>
                    <a:lnTo>
                      <a:pt x="379446" y="92153"/>
                    </a:lnTo>
                    <a:lnTo>
                      <a:pt x="354211" y="79667"/>
                    </a:lnTo>
                    <a:lnTo>
                      <a:pt x="328565" y="68046"/>
                    </a:lnTo>
                    <a:lnTo>
                      <a:pt x="302539" y="57305"/>
                    </a:lnTo>
                    <a:lnTo>
                      <a:pt x="276163" y="47456"/>
                    </a:lnTo>
                    <a:lnTo>
                      <a:pt x="249466" y="38510"/>
                    </a:lnTo>
                    <a:lnTo>
                      <a:pt x="222481" y="30478"/>
                    </a:lnTo>
                    <a:lnTo>
                      <a:pt x="195238" y="23368"/>
                    </a:lnTo>
                    <a:lnTo>
                      <a:pt x="167769" y="17190"/>
                    </a:lnTo>
                    <a:lnTo>
                      <a:pt x="140105" y="11950"/>
                    </a:lnTo>
                    <a:lnTo>
                      <a:pt x="112279" y="7655"/>
                    </a:lnTo>
                    <a:lnTo>
                      <a:pt x="84324" y="4309"/>
                    </a:lnTo>
                    <a:lnTo>
                      <a:pt x="56270" y="1916"/>
                    </a:lnTo>
                    <a:lnTo>
                      <a:pt x="28151" y="479"/>
                    </a:lnTo>
                    <a:lnTo>
                      <a:pt x="0" y="0"/>
                    </a:lnTo>
                    <a:lnTo>
                      <a:pt x="0" y="0"/>
                    </a:lnTo>
                    <a:lnTo>
                      <a:pt x="0" y="28527"/>
                    </a:lnTo>
                    <a:lnTo>
                      <a:pt x="0" y="57053"/>
                    </a:lnTo>
                    <a:lnTo>
                      <a:pt x="0" y="85580"/>
                    </a:lnTo>
                    <a:lnTo>
                      <a:pt x="0" y="114107"/>
                    </a:lnTo>
                    <a:lnTo>
                      <a:pt x="0" y="142633"/>
                    </a:lnTo>
                    <a:lnTo>
                      <a:pt x="0" y="171160"/>
                    </a:lnTo>
                    <a:lnTo>
                      <a:pt x="0" y="199687"/>
                    </a:lnTo>
                    <a:lnTo>
                      <a:pt x="0" y="228213"/>
                    </a:lnTo>
                    <a:lnTo>
                      <a:pt x="0" y="256740"/>
                    </a:lnTo>
                    <a:lnTo>
                      <a:pt x="0" y="285267"/>
                    </a:lnTo>
                    <a:lnTo>
                      <a:pt x="0" y="313793"/>
                    </a:lnTo>
                    <a:lnTo>
                      <a:pt x="0" y="342320"/>
                    </a:lnTo>
                    <a:lnTo>
                      <a:pt x="0" y="370847"/>
                    </a:lnTo>
                    <a:lnTo>
                      <a:pt x="0" y="399373"/>
                    </a:lnTo>
                    <a:lnTo>
                      <a:pt x="0" y="427900"/>
                    </a:lnTo>
                    <a:lnTo>
                      <a:pt x="0" y="456427"/>
                    </a:lnTo>
                    <a:lnTo>
                      <a:pt x="0" y="484953"/>
                    </a:lnTo>
                    <a:lnTo>
                      <a:pt x="0" y="513480"/>
                    </a:lnTo>
                    <a:lnTo>
                      <a:pt x="0" y="542007"/>
                    </a:lnTo>
                    <a:lnTo>
                      <a:pt x="0" y="570534"/>
                    </a:lnTo>
                    <a:lnTo>
                      <a:pt x="0" y="599060"/>
                    </a:lnTo>
                    <a:lnTo>
                      <a:pt x="0" y="627587"/>
                    </a:lnTo>
                    <a:lnTo>
                      <a:pt x="0" y="656114"/>
                    </a:lnTo>
                    <a:lnTo>
                      <a:pt x="0" y="684640"/>
                    </a:lnTo>
                    <a:lnTo>
                      <a:pt x="0" y="713167"/>
                    </a:lnTo>
                    <a:lnTo>
                      <a:pt x="0" y="741694"/>
                    </a:lnTo>
                    <a:lnTo>
                      <a:pt x="0" y="770220"/>
                    </a:lnTo>
                    <a:lnTo>
                      <a:pt x="0" y="798747"/>
                    </a:lnTo>
                    <a:lnTo>
                      <a:pt x="0" y="827274"/>
                    </a:lnTo>
                    <a:lnTo>
                      <a:pt x="0" y="827274"/>
                    </a:lnTo>
                    <a:close/>
                  </a:path>
                </a:pathLst>
              </a:custGeom>
              <a:solidFill>
                <a:schemeClr val="tx2"/>
              </a:solidFill>
              <a:ln w="13500">
                <a:noFill/>
                <a:prstDash val="solid"/>
                <a:round/>
              </a:ln>
            </p:spPr>
            <p:txBody>
              <a:bodyPr/>
              <a:lstStyle/>
              <a:p>
                <a:endParaRPr sz="1400"/>
              </a:p>
            </p:txBody>
          </p:sp>
          <p:sp>
            <p:nvSpPr>
              <p:cNvPr id="37" name="Polygon form 8"/>
              <p:cNvSpPr/>
              <p:nvPr/>
            </p:nvSpPr>
            <p:spPr>
              <a:xfrm>
                <a:off x="1526070" y="2443575"/>
                <a:ext cx="827267" cy="607852"/>
              </a:xfrm>
              <a:custGeom>
                <a:avLst/>
                <a:gdLst/>
                <a:ahLst/>
                <a:cxnLst/>
                <a:rect l="0" t="0" r="0" b="0"/>
                <a:pathLst>
                  <a:path w="827267" h="607852">
                    <a:moveTo>
                      <a:pt x="0" y="32416"/>
                    </a:moveTo>
                    <a:lnTo>
                      <a:pt x="20495" y="52258"/>
                    </a:lnTo>
                    <a:lnTo>
                      <a:pt x="40990" y="72101"/>
                    </a:lnTo>
                    <a:lnTo>
                      <a:pt x="61485" y="91944"/>
                    </a:lnTo>
                    <a:lnTo>
                      <a:pt x="81980" y="111786"/>
                    </a:lnTo>
                    <a:lnTo>
                      <a:pt x="102475" y="131629"/>
                    </a:lnTo>
                    <a:lnTo>
                      <a:pt x="122969" y="151471"/>
                    </a:lnTo>
                    <a:lnTo>
                      <a:pt x="143464" y="171314"/>
                    </a:lnTo>
                    <a:lnTo>
                      <a:pt x="163959" y="191157"/>
                    </a:lnTo>
                    <a:lnTo>
                      <a:pt x="184454" y="210999"/>
                    </a:lnTo>
                    <a:lnTo>
                      <a:pt x="204949" y="230842"/>
                    </a:lnTo>
                    <a:lnTo>
                      <a:pt x="225444" y="250685"/>
                    </a:lnTo>
                    <a:lnTo>
                      <a:pt x="245939" y="270527"/>
                    </a:lnTo>
                    <a:lnTo>
                      <a:pt x="266434" y="290370"/>
                    </a:lnTo>
                    <a:lnTo>
                      <a:pt x="286929" y="310212"/>
                    </a:lnTo>
                    <a:lnTo>
                      <a:pt x="307424" y="330055"/>
                    </a:lnTo>
                    <a:lnTo>
                      <a:pt x="327919" y="349898"/>
                    </a:lnTo>
                    <a:lnTo>
                      <a:pt x="348413" y="369740"/>
                    </a:lnTo>
                    <a:lnTo>
                      <a:pt x="368908" y="389583"/>
                    </a:lnTo>
                    <a:lnTo>
                      <a:pt x="389403" y="409426"/>
                    </a:lnTo>
                    <a:lnTo>
                      <a:pt x="409898" y="429268"/>
                    </a:lnTo>
                    <a:lnTo>
                      <a:pt x="430393" y="449111"/>
                    </a:lnTo>
                    <a:lnTo>
                      <a:pt x="450888" y="468954"/>
                    </a:lnTo>
                    <a:lnTo>
                      <a:pt x="471383" y="488796"/>
                    </a:lnTo>
                    <a:lnTo>
                      <a:pt x="491878" y="508639"/>
                    </a:lnTo>
                    <a:lnTo>
                      <a:pt x="512373" y="528481"/>
                    </a:lnTo>
                    <a:lnTo>
                      <a:pt x="532868" y="548324"/>
                    </a:lnTo>
                    <a:lnTo>
                      <a:pt x="553363" y="568167"/>
                    </a:lnTo>
                    <a:lnTo>
                      <a:pt x="573857" y="588009"/>
                    </a:lnTo>
                    <a:lnTo>
                      <a:pt x="594352" y="607852"/>
                    </a:lnTo>
                    <a:lnTo>
                      <a:pt x="594352" y="607852"/>
                    </a:lnTo>
                    <a:lnTo>
                      <a:pt x="614207" y="586610"/>
                    </a:lnTo>
                    <a:lnTo>
                      <a:pt x="633303" y="564684"/>
                    </a:lnTo>
                    <a:lnTo>
                      <a:pt x="651616" y="542100"/>
                    </a:lnTo>
                    <a:lnTo>
                      <a:pt x="669125" y="518886"/>
                    </a:lnTo>
                    <a:lnTo>
                      <a:pt x="685807" y="495071"/>
                    </a:lnTo>
                    <a:lnTo>
                      <a:pt x="701642" y="470685"/>
                    </a:lnTo>
                    <a:lnTo>
                      <a:pt x="716610" y="445758"/>
                    </a:lnTo>
                    <a:lnTo>
                      <a:pt x="730693" y="420320"/>
                    </a:lnTo>
                    <a:lnTo>
                      <a:pt x="743873" y="394402"/>
                    </a:lnTo>
                    <a:lnTo>
                      <a:pt x="756135" y="368038"/>
                    </a:lnTo>
                    <a:lnTo>
                      <a:pt x="767462" y="341259"/>
                    </a:lnTo>
                    <a:lnTo>
                      <a:pt x="777841" y="314098"/>
                    </a:lnTo>
                    <a:lnTo>
                      <a:pt x="787259" y="286590"/>
                    </a:lnTo>
                    <a:lnTo>
                      <a:pt x="795705" y="258767"/>
                    </a:lnTo>
                    <a:lnTo>
                      <a:pt x="803168" y="230665"/>
                    </a:lnTo>
                    <a:lnTo>
                      <a:pt x="809639" y="202318"/>
                    </a:lnTo>
                    <a:lnTo>
                      <a:pt x="815109" y="173761"/>
                    </a:lnTo>
                    <a:lnTo>
                      <a:pt x="819573" y="145029"/>
                    </a:lnTo>
                    <a:lnTo>
                      <a:pt x="823024" y="116159"/>
                    </a:lnTo>
                    <a:lnTo>
                      <a:pt x="825459" y="87185"/>
                    </a:lnTo>
                    <a:lnTo>
                      <a:pt x="826873" y="58143"/>
                    </a:lnTo>
                    <a:lnTo>
                      <a:pt x="827267" y="29069"/>
                    </a:lnTo>
                    <a:lnTo>
                      <a:pt x="826638" y="0"/>
                    </a:lnTo>
                    <a:lnTo>
                      <a:pt x="826638" y="0"/>
                    </a:lnTo>
                    <a:lnTo>
                      <a:pt x="798134" y="1118"/>
                    </a:lnTo>
                    <a:lnTo>
                      <a:pt x="769629" y="2236"/>
                    </a:lnTo>
                    <a:lnTo>
                      <a:pt x="741124" y="3353"/>
                    </a:lnTo>
                    <a:lnTo>
                      <a:pt x="712619" y="4471"/>
                    </a:lnTo>
                    <a:lnTo>
                      <a:pt x="684114" y="5589"/>
                    </a:lnTo>
                    <a:lnTo>
                      <a:pt x="655610" y="6707"/>
                    </a:lnTo>
                    <a:lnTo>
                      <a:pt x="627105" y="7824"/>
                    </a:lnTo>
                    <a:lnTo>
                      <a:pt x="598600" y="8942"/>
                    </a:lnTo>
                    <a:lnTo>
                      <a:pt x="570095" y="10060"/>
                    </a:lnTo>
                    <a:lnTo>
                      <a:pt x="541591" y="11178"/>
                    </a:lnTo>
                    <a:lnTo>
                      <a:pt x="513086" y="12296"/>
                    </a:lnTo>
                    <a:lnTo>
                      <a:pt x="484581" y="13413"/>
                    </a:lnTo>
                    <a:lnTo>
                      <a:pt x="456076" y="14531"/>
                    </a:lnTo>
                    <a:lnTo>
                      <a:pt x="427572" y="15649"/>
                    </a:lnTo>
                    <a:lnTo>
                      <a:pt x="399067" y="16767"/>
                    </a:lnTo>
                    <a:lnTo>
                      <a:pt x="370562" y="17884"/>
                    </a:lnTo>
                    <a:lnTo>
                      <a:pt x="342057" y="19002"/>
                    </a:lnTo>
                    <a:lnTo>
                      <a:pt x="313552" y="20120"/>
                    </a:lnTo>
                    <a:lnTo>
                      <a:pt x="285048" y="21238"/>
                    </a:lnTo>
                    <a:lnTo>
                      <a:pt x="256543" y="22356"/>
                    </a:lnTo>
                    <a:lnTo>
                      <a:pt x="228038" y="23473"/>
                    </a:lnTo>
                    <a:lnTo>
                      <a:pt x="199533" y="24591"/>
                    </a:lnTo>
                    <a:lnTo>
                      <a:pt x="171029" y="25709"/>
                    </a:lnTo>
                    <a:lnTo>
                      <a:pt x="142524" y="26827"/>
                    </a:lnTo>
                    <a:lnTo>
                      <a:pt x="114019" y="27945"/>
                    </a:lnTo>
                    <a:lnTo>
                      <a:pt x="85514" y="29062"/>
                    </a:lnTo>
                    <a:lnTo>
                      <a:pt x="57010" y="30180"/>
                    </a:lnTo>
                    <a:lnTo>
                      <a:pt x="28505" y="31298"/>
                    </a:lnTo>
                    <a:lnTo>
                      <a:pt x="0" y="32416"/>
                    </a:lnTo>
                    <a:lnTo>
                      <a:pt x="0" y="32416"/>
                    </a:lnTo>
                    <a:close/>
                  </a:path>
                </a:pathLst>
              </a:custGeom>
              <a:solidFill>
                <a:schemeClr val="tx1">
                  <a:lumMod val="20000"/>
                  <a:lumOff val="80000"/>
                </a:schemeClr>
              </a:solidFill>
              <a:ln w="13500">
                <a:noFill/>
                <a:prstDash val="solid"/>
                <a:round/>
              </a:ln>
            </p:spPr>
            <p:txBody>
              <a:bodyPr/>
              <a:lstStyle/>
              <a:p>
                <a:endParaRPr sz="1400"/>
              </a:p>
            </p:txBody>
          </p:sp>
          <p:sp>
            <p:nvSpPr>
              <p:cNvPr id="38" name="Polygon form 9"/>
              <p:cNvSpPr/>
              <p:nvPr/>
            </p:nvSpPr>
            <p:spPr>
              <a:xfrm>
                <a:off x="1526070" y="2475990"/>
                <a:ext cx="594352" cy="812691"/>
              </a:xfrm>
              <a:custGeom>
                <a:avLst/>
                <a:gdLst/>
                <a:ahLst/>
                <a:cxnLst/>
                <a:rect l="0" t="0" r="0" b="0"/>
                <a:pathLst>
                  <a:path w="594352" h="812691">
                    <a:moveTo>
                      <a:pt x="0" y="0"/>
                    </a:moveTo>
                    <a:lnTo>
                      <a:pt x="5333" y="28024"/>
                    </a:lnTo>
                    <a:lnTo>
                      <a:pt x="10665" y="56048"/>
                    </a:lnTo>
                    <a:lnTo>
                      <a:pt x="15998" y="84071"/>
                    </a:lnTo>
                    <a:lnTo>
                      <a:pt x="21331" y="112095"/>
                    </a:lnTo>
                    <a:lnTo>
                      <a:pt x="26663" y="140119"/>
                    </a:lnTo>
                    <a:lnTo>
                      <a:pt x="31996" y="168143"/>
                    </a:lnTo>
                    <a:lnTo>
                      <a:pt x="37328" y="196167"/>
                    </a:lnTo>
                    <a:lnTo>
                      <a:pt x="42661" y="224191"/>
                    </a:lnTo>
                    <a:lnTo>
                      <a:pt x="47994" y="252214"/>
                    </a:lnTo>
                    <a:lnTo>
                      <a:pt x="53326" y="280238"/>
                    </a:lnTo>
                    <a:lnTo>
                      <a:pt x="58659" y="308262"/>
                    </a:lnTo>
                    <a:lnTo>
                      <a:pt x="63992" y="336286"/>
                    </a:lnTo>
                    <a:lnTo>
                      <a:pt x="69324" y="364310"/>
                    </a:lnTo>
                    <a:lnTo>
                      <a:pt x="74657" y="392333"/>
                    </a:lnTo>
                    <a:lnTo>
                      <a:pt x="79990" y="420357"/>
                    </a:lnTo>
                    <a:lnTo>
                      <a:pt x="85322" y="448381"/>
                    </a:lnTo>
                    <a:lnTo>
                      <a:pt x="90655" y="476405"/>
                    </a:lnTo>
                    <a:lnTo>
                      <a:pt x="95987" y="504429"/>
                    </a:lnTo>
                    <a:lnTo>
                      <a:pt x="101320" y="532452"/>
                    </a:lnTo>
                    <a:lnTo>
                      <a:pt x="106653" y="560476"/>
                    </a:lnTo>
                    <a:lnTo>
                      <a:pt x="111985" y="588500"/>
                    </a:lnTo>
                    <a:lnTo>
                      <a:pt x="117318" y="616524"/>
                    </a:lnTo>
                    <a:lnTo>
                      <a:pt x="122651" y="644548"/>
                    </a:lnTo>
                    <a:lnTo>
                      <a:pt x="127983" y="672572"/>
                    </a:lnTo>
                    <a:lnTo>
                      <a:pt x="133316" y="700595"/>
                    </a:lnTo>
                    <a:lnTo>
                      <a:pt x="138649" y="728619"/>
                    </a:lnTo>
                    <a:lnTo>
                      <a:pt x="143981" y="756643"/>
                    </a:lnTo>
                    <a:lnTo>
                      <a:pt x="149314" y="784667"/>
                    </a:lnTo>
                    <a:lnTo>
                      <a:pt x="154646" y="812691"/>
                    </a:lnTo>
                    <a:lnTo>
                      <a:pt x="154646" y="812691"/>
                    </a:lnTo>
                    <a:lnTo>
                      <a:pt x="182252" y="806949"/>
                    </a:lnTo>
                    <a:lnTo>
                      <a:pt x="209645" y="800269"/>
                    </a:lnTo>
                    <a:lnTo>
                      <a:pt x="236795" y="792660"/>
                    </a:lnTo>
                    <a:lnTo>
                      <a:pt x="263670" y="784130"/>
                    </a:lnTo>
                    <a:lnTo>
                      <a:pt x="290239" y="774689"/>
                    </a:lnTo>
                    <a:lnTo>
                      <a:pt x="316470" y="764348"/>
                    </a:lnTo>
                    <a:lnTo>
                      <a:pt x="342334" y="753120"/>
                    </a:lnTo>
                    <a:lnTo>
                      <a:pt x="367800" y="741016"/>
                    </a:lnTo>
                    <a:lnTo>
                      <a:pt x="392839" y="728052"/>
                    </a:lnTo>
                    <a:lnTo>
                      <a:pt x="417421" y="714242"/>
                    </a:lnTo>
                    <a:lnTo>
                      <a:pt x="441519" y="699602"/>
                    </a:lnTo>
                    <a:lnTo>
                      <a:pt x="465103" y="684149"/>
                    </a:lnTo>
                    <a:lnTo>
                      <a:pt x="488148" y="667902"/>
                    </a:lnTo>
                    <a:lnTo>
                      <a:pt x="510625" y="650879"/>
                    </a:lnTo>
                    <a:lnTo>
                      <a:pt x="532509" y="633100"/>
                    </a:lnTo>
                    <a:lnTo>
                      <a:pt x="553775" y="614585"/>
                    </a:lnTo>
                    <a:lnTo>
                      <a:pt x="574397" y="595357"/>
                    </a:lnTo>
                    <a:lnTo>
                      <a:pt x="594352" y="575436"/>
                    </a:lnTo>
                    <a:lnTo>
                      <a:pt x="594352" y="575436"/>
                    </a:lnTo>
                    <a:lnTo>
                      <a:pt x="573857" y="555594"/>
                    </a:lnTo>
                    <a:lnTo>
                      <a:pt x="553363" y="535751"/>
                    </a:lnTo>
                    <a:lnTo>
                      <a:pt x="532868" y="515908"/>
                    </a:lnTo>
                    <a:lnTo>
                      <a:pt x="512373" y="496066"/>
                    </a:lnTo>
                    <a:lnTo>
                      <a:pt x="491878" y="476223"/>
                    </a:lnTo>
                    <a:lnTo>
                      <a:pt x="471383" y="456381"/>
                    </a:lnTo>
                    <a:lnTo>
                      <a:pt x="450888" y="436538"/>
                    </a:lnTo>
                    <a:lnTo>
                      <a:pt x="430393" y="416695"/>
                    </a:lnTo>
                    <a:lnTo>
                      <a:pt x="409898" y="396853"/>
                    </a:lnTo>
                    <a:lnTo>
                      <a:pt x="389403" y="377010"/>
                    </a:lnTo>
                    <a:lnTo>
                      <a:pt x="368908" y="357167"/>
                    </a:lnTo>
                    <a:lnTo>
                      <a:pt x="348413" y="337325"/>
                    </a:lnTo>
                    <a:lnTo>
                      <a:pt x="327919" y="317482"/>
                    </a:lnTo>
                    <a:lnTo>
                      <a:pt x="307424" y="297639"/>
                    </a:lnTo>
                    <a:lnTo>
                      <a:pt x="286929" y="277797"/>
                    </a:lnTo>
                    <a:lnTo>
                      <a:pt x="266434" y="257954"/>
                    </a:lnTo>
                    <a:lnTo>
                      <a:pt x="245939" y="238112"/>
                    </a:lnTo>
                    <a:lnTo>
                      <a:pt x="225444" y="218269"/>
                    </a:lnTo>
                    <a:lnTo>
                      <a:pt x="204949" y="198426"/>
                    </a:lnTo>
                    <a:lnTo>
                      <a:pt x="184454" y="178584"/>
                    </a:lnTo>
                    <a:lnTo>
                      <a:pt x="163959" y="158741"/>
                    </a:lnTo>
                    <a:lnTo>
                      <a:pt x="143464" y="138898"/>
                    </a:lnTo>
                    <a:lnTo>
                      <a:pt x="122969" y="119056"/>
                    </a:lnTo>
                    <a:lnTo>
                      <a:pt x="102475" y="99213"/>
                    </a:lnTo>
                    <a:lnTo>
                      <a:pt x="81980" y="79371"/>
                    </a:lnTo>
                    <a:lnTo>
                      <a:pt x="61485" y="59528"/>
                    </a:lnTo>
                    <a:lnTo>
                      <a:pt x="40990" y="39685"/>
                    </a:lnTo>
                    <a:lnTo>
                      <a:pt x="20495" y="19843"/>
                    </a:lnTo>
                    <a:lnTo>
                      <a:pt x="0" y="0"/>
                    </a:lnTo>
                    <a:lnTo>
                      <a:pt x="0" y="0"/>
                    </a:lnTo>
                    <a:close/>
                  </a:path>
                </a:pathLst>
              </a:custGeom>
              <a:solidFill>
                <a:schemeClr val="tx1">
                  <a:lumMod val="40000"/>
                  <a:lumOff val="60000"/>
                </a:schemeClr>
              </a:solidFill>
              <a:ln w="13500">
                <a:noFill/>
                <a:prstDash val="solid"/>
                <a:round/>
              </a:ln>
            </p:spPr>
            <p:txBody>
              <a:bodyPr/>
              <a:lstStyle/>
              <a:p>
                <a:endParaRPr sz="1400"/>
              </a:p>
            </p:txBody>
          </p:sp>
          <p:sp>
            <p:nvSpPr>
              <p:cNvPr id="39" name="Polygon form 10"/>
              <p:cNvSpPr/>
              <p:nvPr/>
            </p:nvSpPr>
            <p:spPr>
              <a:xfrm>
                <a:off x="698822" y="1648717"/>
                <a:ext cx="981894" cy="1654444"/>
              </a:xfrm>
              <a:custGeom>
                <a:avLst/>
                <a:gdLst/>
                <a:ahLst/>
                <a:cxnLst/>
                <a:rect l="0" t="0" r="0" b="0"/>
                <a:pathLst>
                  <a:path w="981894" h="1654444">
                    <a:moveTo>
                      <a:pt x="827248" y="827274"/>
                    </a:moveTo>
                    <a:lnTo>
                      <a:pt x="827248" y="798747"/>
                    </a:lnTo>
                    <a:lnTo>
                      <a:pt x="827248" y="770220"/>
                    </a:lnTo>
                    <a:lnTo>
                      <a:pt x="827248" y="741694"/>
                    </a:lnTo>
                    <a:lnTo>
                      <a:pt x="827248" y="713167"/>
                    </a:lnTo>
                    <a:lnTo>
                      <a:pt x="827248" y="684640"/>
                    </a:lnTo>
                    <a:lnTo>
                      <a:pt x="827248" y="656114"/>
                    </a:lnTo>
                    <a:lnTo>
                      <a:pt x="827248" y="627587"/>
                    </a:lnTo>
                    <a:lnTo>
                      <a:pt x="827248" y="599060"/>
                    </a:lnTo>
                    <a:lnTo>
                      <a:pt x="827248" y="570534"/>
                    </a:lnTo>
                    <a:lnTo>
                      <a:pt x="827248" y="542007"/>
                    </a:lnTo>
                    <a:lnTo>
                      <a:pt x="827248" y="513480"/>
                    </a:lnTo>
                    <a:lnTo>
                      <a:pt x="827248" y="484953"/>
                    </a:lnTo>
                    <a:lnTo>
                      <a:pt x="827248" y="456427"/>
                    </a:lnTo>
                    <a:lnTo>
                      <a:pt x="827248" y="427900"/>
                    </a:lnTo>
                    <a:lnTo>
                      <a:pt x="827248" y="399373"/>
                    </a:lnTo>
                    <a:lnTo>
                      <a:pt x="827248" y="370847"/>
                    </a:lnTo>
                    <a:lnTo>
                      <a:pt x="827248" y="342320"/>
                    </a:lnTo>
                    <a:lnTo>
                      <a:pt x="827248" y="313793"/>
                    </a:lnTo>
                    <a:lnTo>
                      <a:pt x="827248" y="285267"/>
                    </a:lnTo>
                    <a:lnTo>
                      <a:pt x="827248" y="256740"/>
                    </a:lnTo>
                    <a:lnTo>
                      <a:pt x="827248" y="228213"/>
                    </a:lnTo>
                    <a:lnTo>
                      <a:pt x="827248" y="199687"/>
                    </a:lnTo>
                    <a:lnTo>
                      <a:pt x="827248" y="171160"/>
                    </a:lnTo>
                    <a:lnTo>
                      <a:pt x="827248" y="142633"/>
                    </a:lnTo>
                    <a:lnTo>
                      <a:pt x="827248" y="114107"/>
                    </a:lnTo>
                    <a:lnTo>
                      <a:pt x="827248" y="85580"/>
                    </a:lnTo>
                    <a:lnTo>
                      <a:pt x="827248" y="57053"/>
                    </a:lnTo>
                    <a:lnTo>
                      <a:pt x="827248" y="28527"/>
                    </a:lnTo>
                    <a:lnTo>
                      <a:pt x="827248" y="0"/>
                    </a:lnTo>
                    <a:lnTo>
                      <a:pt x="827248" y="0"/>
                    </a:lnTo>
                    <a:lnTo>
                      <a:pt x="799146" y="477"/>
                    </a:lnTo>
                    <a:lnTo>
                      <a:pt x="771076" y="1909"/>
                    </a:lnTo>
                    <a:lnTo>
                      <a:pt x="743072" y="4294"/>
                    </a:lnTo>
                    <a:lnTo>
                      <a:pt x="715164" y="7628"/>
                    </a:lnTo>
                    <a:lnTo>
                      <a:pt x="687386" y="11908"/>
                    </a:lnTo>
                    <a:lnTo>
                      <a:pt x="659769" y="17130"/>
                    </a:lnTo>
                    <a:lnTo>
                      <a:pt x="632346" y="23287"/>
                    </a:lnTo>
                    <a:lnTo>
                      <a:pt x="605148" y="30371"/>
                    </a:lnTo>
                    <a:lnTo>
                      <a:pt x="578206" y="38376"/>
                    </a:lnTo>
                    <a:lnTo>
                      <a:pt x="551551" y="47291"/>
                    </a:lnTo>
                    <a:lnTo>
                      <a:pt x="525215" y="57106"/>
                    </a:lnTo>
                    <a:lnTo>
                      <a:pt x="499227" y="67811"/>
                    </a:lnTo>
                    <a:lnTo>
                      <a:pt x="473618" y="79392"/>
                    </a:lnTo>
                    <a:lnTo>
                      <a:pt x="448417" y="91836"/>
                    </a:lnTo>
                    <a:lnTo>
                      <a:pt x="423653" y="105129"/>
                    </a:lnTo>
                    <a:lnTo>
                      <a:pt x="399355" y="119256"/>
                    </a:lnTo>
                    <a:lnTo>
                      <a:pt x="375551" y="134199"/>
                    </a:lnTo>
                    <a:lnTo>
                      <a:pt x="352269" y="149943"/>
                    </a:lnTo>
                    <a:lnTo>
                      <a:pt x="329534" y="166469"/>
                    </a:lnTo>
                    <a:lnTo>
                      <a:pt x="307375" y="183757"/>
                    </a:lnTo>
                    <a:lnTo>
                      <a:pt x="285815" y="201788"/>
                    </a:lnTo>
                    <a:lnTo>
                      <a:pt x="264880" y="220541"/>
                    </a:lnTo>
                    <a:lnTo>
                      <a:pt x="244594" y="239995"/>
                    </a:lnTo>
                    <a:lnTo>
                      <a:pt x="224981" y="260126"/>
                    </a:lnTo>
                    <a:lnTo>
                      <a:pt x="206063" y="280912"/>
                    </a:lnTo>
                    <a:lnTo>
                      <a:pt x="187862" y="302328"/>
                    </a:lnTo>
                    <a:lnTo>
                      <a:pt x="170399" y="324351"/>
                    </a:lnTo>
                    <a:lnTo>
                      <a:pt x="153694" y="346954"/>
                    </a:lnTo>
                    <a:lnTo>
                      <a:pt x="137767" y="370111"/>
                    </a:lnTo>
                    <a:lnTo>
                      <a:pt x="122635" y="393796"/>
                    </a:lnTo>
                    <a:lnTo>
                      <a:pt x="108317" y="417982"/>
                    </a:lnTo>
                    <a:lnTo>
                      <a:pt x="94828" y="442640"/>
                    </a:lnTo>
                    <a:lnTo>
                      <a:pt x="82185" y="467741"/>
                    </a:lnTo>
                    <a:lnTo>
                      <a:pt x="70402" y="493258"/>
                    </a:lnTo>
                    <a:lnTo>
                      <a:pt x="59493" y="519160"/>
                    </a:lnTo>
                    <a:lnTo>
                      <a:pt x="49469" y="545418"/>
                    </a:lnTo>
                    <a:lnTo>
                      <a:pt x="40344" y="572002"/>
                    </a:lnTo>
                    <a:lnTo>
                      <a:pt x="32127" y="598879"/>
                    </a:lnTo>
                    <a:lnTo>
                      <a:pt x="24827" y="626021"/>
                    </a:lnTo>
                    <a:lnTo>
                      <a:pt x="18454" y="653395"/>
                    </a:lnTo>
                    <a:lnTo>
                      <a:pt x="13014" y="680969"/>
                    </a:lnTo>
                    <a:lnTo>
                      <a:pt x="8514" y="708713"/>
                    </a:lnTo>
                    <a:lnTo>
                      <a:pt x="4959" y="736593"/>
                    </a:lnTo>
                    <a:lnTo>
                      <a:pt x="2353" y="764578"/>
                    </a:lnTo>
                    <a:lnTo>
                      <a:pt x="700" y="792635"/>
                    </a:lnTo>
                    <a:lnTo>
                      <a:pt x="0" y="820733"/>
                    </a:lnTo>
                    <a:lnTo>
                      <a:pt x="255" y="848837"/>
                    </a:lnTo>
                    <a:lnTo>
                      <a:pt x="1465" y="876917"/>
                    </a:lnTo>
                    <a:lnTo>
                      <a:pt x="3628" y="904940"/>
                    </a:lnTo>
                    <a:lnTo>
                      <a:pt x="6742" y="932873"/>
                    </a:lnTo>
                    <a:lnTo>
                      <a:pt x="10802" y="960684"/>
                    </a:lnTo>
                    <a:lnTo>
                      <a:pt x="15805" y="988341"/>
                    </a:lnTo>
                    <a:lnTo>
                      <a:pt x="21745" y="1015812"/>
                    </a:lnTo>
                    <a:lnTo>
                      <a:pt x="28614" y="1043066"/>
                    </a:lnTo>
                    <a:lnTo>
                      <a:pt x="36406" y="1070070"/>
                    </a:lnTo>
                    <a:lnTo>
                      <a:pt x="45110" y="1096795"/>
                    </a:lnTo>
                    <a:lnTo>
                      <a:pt x="54716" y="1123208"/>
                    </a:lnTo>
                    <a:lnTo>
                      <a:pt x="65215" y="1149279"/>
                    </a:lnTo>
                    <a:lnTo>
                      <a:pt x="76593" y="1174979"/>
                    </a:lnTo>
                    <a:lnTo>
                      <a:pt x="88838" y="1200278"/>
                    </a:lnTo>
                    <a:lnTo>
                      <a:pt x="101934" y="1225146"/>
                    </a:lnTo>
                    <a:lnTo>
                      <a:pt x="115869" y="1249555"/>
                    </a:lnTo>
                    <a:lnTo>
                      <a:pt x="130624" y="1273476"/>
                    </a:lnTo>
                    <a:lnTo>
                      <a:pt x="146183" y="1296882"/>
                    </a:lnTo>
                    <a:lnTo>
                      <a:pt x="162528" y="1319747"/>
                    </a:lnTo>
                    <a:lnTo>
                      <a:pt x="179641" y="1342042"/>
                    </a:lnTo>
                    <a:lnTo>
                      <a:pt x="197501" y="1363744"/>
                    </a:lnTo>
                    <a:lnTo>
                      <a:pt x="216088" y="1384827"/>
                    </a:lnTo>
                    <a:lnTo>
                      <a:pt x="235380" y="1405265"/>
                    </a:lnTo>
                    <a:lnTo>
                      <a:pt x="255356" y="1425037"/>
                    </a:lnTo>
                    <a:lnTo>
                      <a:pt x="275992" y="1444119"/>
                    </a:lnTo>
                    <a:lnTo>
                      <a:pt x="297264" y="1462489"/>
                    </a:lnTo>
                    <a:lnTo>
                      <a:pt x="319147" y="1480125"/>
                    </a:lnTo>
                    <a:lnTo>
                      <a:pt x="341617" y="1497008"/>
                    </a:lnTo>
                    <a:lnTo>
                      <a:pt x="364648" y="1513118"/>
                    </a:lnTo>
                    <a:lnTo>
                      <a:pt x="388213" y="1528437"/>
                    </a:lnTo>
                    <a:lnTo>
                      <a:pt x="412284" y="1542946"/>
                    </a:lnTo>
                    <a:lnTo>
                      <a:pt x="436835" y="1556629"/>
                    </a:lnTo>
                    <a:lnTo>
                      <a:pt x="461836" y="1569470"/>
                    </a:lnTo>
                    <a:lnTo>
                      <a:pt x="487258" y="1581455"/>
                    </a:lnTo>
                    <a:lnTo>
                      <a:pt x="513074" y="1592568"/>
                    </a:lnTo>
                    <a:lnTo>
                      <a:pt x="539251" y="1602799"/>
                    </a:lnTo>
                    <a:lnTo>
                      <a:pt x="565762" y="1612135"/>
                    </a:lnTo>
                    <a:lnTo>
                      <a:pt x="592574" y="1620564"/>
                    </a:lnTo>
                    <a:lnTo>
                      <a:pt x="619657" y="1628078"/>
                    </a:lnTo>
                    <a:lnTo>
                      <a:pt x="646979" y="1634668"/>
                    </a:lnTo>
                    <a:lnTo>
                      <a:pt x="674510" y="1640325"/>
                    </a:lnTo>
                    <a:lnTo>
                      <a:pt x="702217" y="1645044"/>
                    </a:lnTo>
                    <a:lnTo>
                      <a:pt x="730068" y="1648820"/>
                    </a:lnTo>
                    <a:lnTo>
                      <a:pt x="758032" y="1651647"/>
                    </a:lnTo>
                    <a:lnTo>
                      <a:pt x="786075" y="1653522"/>
                    </a:lnTo>
                    <a:lnTo>
                      <a:pt x="814166" y="1654444"/>
                    </a:lnTo>
                    <a:lnTo>
                      <a:pt x="842272" y="1654411"/>
                    </a:lnTo>
                    <a:lnTo>
                      <a:pt x="870361" y="1653423"/>
                    </a:lnTo>
                    <a:lnTo>
                      <a:pt x="898399" y="1651482"/>
                    </a:lnTo>
                    <a:lnTo>
                      <a:pt x="926356" y="1648589"/>
                    </a:lnTo>
                    <a:lnTo>
                      <a:pt x="954198" y="1644748"/>
                    </a:lnTo>
                    <a:lnTo>
                      <a:pt x="981894" y="1639964"/>
                    </a:lnTo>
                    <a:lnTo>
                      <a:pt x="981894" y="1639964"/>
                    </a:lnTo>
                    <a:lnTo>
                      <a:pt x="976562" y="1611940"/>
                    </a:lnTo>
                    <a:lnTo>
                      <a:pt x="971229" y="1583917"/>
                    </a:lnTo>
                    <a:lnTo>
                      <a:pt x="965896" y="1555893"/>
                    </a:lnTo>
                    <a:lnTo>
                      <a:pt x="960564" y="1527869"/>
                    </a:lnTo>
                    <a:lnTo>
                      <a:pt x="955231" y="1499845"/>
                    </a:lnTo>
                    <a:lnTo>
                      <a:pt x="949898" y="1471821"/>
                    </a:lnTo>
                    <a:lnTo>
                      <a:pt x="944566" y="1443798"/>
                    </a:lnTo>
                    <a:lnTo>
                      <a:pt x="939233" y="1415774"/>
                    </a:lnTo>
                    <a:lnTo>
                      <a:pt x="933901" y="1387750"/>
                    </a:lnTo>
                    <a:lnTo>
                      <a:pt x="928568" y="1359726"/>
                    </a:lnTo>
                    <a:lnTo>
                      <a:pt x="923235" y="1331702"/>
                    </a:lnTo>
                    <a:lnTo>
                      <a:pt x="917903" y="1303678"/>
                    </a:lnTo>
                    <a:lnTo>
                      <a:pt x="912570" y="1275655"/>
                    </a:lnTo>
                    <a:lnTo>
                      <a:pt x="907237" y="1247631"/>
                    </a:lnTo>
                    <a:lnTo>
                      <a:pt x="901905" y="1219607"/>
                    </a:lnTo>
                    <a:lnTo>
                      <a:pt x="896572" y="1191583"/>
                    </a:lnTo>
                    <a:lnTo>
                      <a:pt x="891239" y="1163559"/>
                    </a:lnTo>
                    <a:lnTo>
                      <a:pt x="885907" y="1135536"/>
                    </a:lnTo>
                    <a:lnTo>
                      <a:pt x="880574" y="1107512"/>
                    </a:lnTo>
                    <a:lnTo>
                      <a:pt x="875241" y="1079488"/>
                    </a:lnTo>
                    <a:lnTo>
                      <a:pt x="869909" y="1051464"/>
                    </a:lnTo>
                    <a:lnTo>
                      <a:pt x="864576" y="1023440"/>
                    </a:lnTo>
                    <a:lnTo>
                      <a:pt x="859244" y="995417"/>
                    </a:lnTo>
                    <a:lnTo>
                      <a:pt x="853911" y="967393"/>
                    </a:lnTo>
                    <a:lnTo>
                      <a:pt x="848578" y="939369"/>
                    </a:lnTo>
                    <a:lnTo>
                      <a:pt x="843246" y="911345"/>
                    </a:lnTo>
                    <a:lnTo>
                      <a:pt x="837913" y="883321"/>
                    </a:lnTo>
                    <a:lnTo>
                      <a:pt x="832580" y="855297"/>
                    </a:lnTo>
                    <a:lnTo>
                      <a:pt x="827248" y="827274"/>
                    </a:lnTo>
                    <a:lnTo>
                      <a:pt x="827248" y="827274"/>
                    </a:lnTo>
                    <a:close/>
                  </a:path>
                </a:pathLst>
              </a:custGeom>
              <a:solidFill>
                <a:schemeClr val="accent1"/>
              </a:solidFill>
              <a:ln w="13500">
                <a:noFill/>
                <a:prstDash val="solid"/>
                <a:round/>
              </a:ln>
            </p:spPr>
            <p:txBody>
              <a:bodyPr/>
              <a:lstStyle/>
              <a:p>
                <a:endParaRPr sz="1400"/>
              </a:p>
            </p:txBody>
          </p:sp>
          <p:sp>
            <p:nvSpPr>
              <p:cNvPr id="40" name="Text 11"/>
              <p:cNvSpPr/>
              <p:nvPr/>
            </p:nvSpPr>
            <p:spPr>
              <a:xfrm>
                <a:off x="1630762" y="2122706"/>
                <a:ext cx="457200" cy="126744"/>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dirty="0">
                    <a:solidFill>
                      <a:schemeClr val="bg1"/>
                    </a:solidFill>
                    <a:latin typeface="Helvetica"/>
                    <a:cs typeface="Helvetica"/>
                  </a:rPr>
                  <a:t>24%</a:t>
                </a:r>
                <a:endParaRPr sz="1400" dirty="0">
                  <a:solidFill>
                    <a:schemeClr val="bg1"/>
                  </a:solidFill>
                  <a:latin typeface="Helvetica"/>
                  <a:cs typeface="Helvetica"/>
                </a:endParaRPr>
              </a:p>
            </p:txBody>
          </p:sp>
          <p:sp>
            <p:nvSpPr>
              <p:cNvPr id="41" name="Text 12"/>
              <p:cNvSpPr/>
              <p:nvPr/>
            </p:nvSpPr>
            <p:spPr>
              <a:xfrm>
                <a:off x="1791850" y="2673512"/>
                <a:ext cx="457200" cy="115416"/>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a:latin typeface="Helvetica"/>
                    <a:cs typeface="Helvetica"/>
                  </a:rPr>
                  <a:t>13%</a:t>
                </a:r>
                <a:endParaRPr sz="1400">
                  <a:latin typeface="Helvetica"/>
                  <a:cs typeface="Helvetica"/>
                </a:endParaRPr>
              </a:p>
            </p:txBody>
          </p:sp>
          <p:sp>
            <p:nvSpPr>
              <p:cNvPr id="42" name="Text 13"/>
              <p:cNvSpPr/>
              <p:nvPr/>
            </p:nvSpPr>
            <p:spPr>
              <a:xfrm>
                <a:off x="1611741" y="3003976"/>
                <a:ext cx="457200" cy="115416"/>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a:latin typeface="Helvetica"/>
                    <a:cs typeface="Helvetica"/>
                  </a:rPr>
                  <a:t>10%</a:t>
                </a:r>
                <a:endParaRPr sz="1400">
                  <a:latin typeface="Helvetica"/>
                  <a:cs typeface="Helvetica"/>
                </a:endParaRPr>
              </a:p>
            </p:txBody>
          </p:sp>
          <p:sp>
            <p:nvSpPr>
              <p:cNvPr id="43" name="Text 14"/>
              <p:cNvSpPr/>
              <p:nvPr/>
            </p:nvSpPr>
            <p:spPr>
              <a:xfrm>
                <a:off x="847453" y="2546855"/>
                <a:ext cx="457200" cy="127856"/>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dirty="0">
                    <a:solidFill>
                      <a:schemeClr val="bg1"/>
                    </a:solidFill>
                    <a:latin typeface="Helvetica"/>
                    <a:cs typeface="Helvetica"/>
                  </a:rPr>
                  <a:t>53%</a:t>
                </a:r>
                <a:endParaRPr sz="1400" dirty="0">
                  <a:solidFill>
                    <a:schemeClr val="bg1"/>
                  </a:solidFill>
                  <a:latin typeface="Helvetica"/>
                  <a:cs typeface="Helvetica"/>
                </a:endParaRPr>
              </a:p>
            </p:txBody>
          </p:sp>
        </p:grpSp>
        <p:sp>
          <p:nvSpPr>
            <p:cNvPr id="53" name="Rectangle 16"/>
            <p:cNvSpPr>
              <a:spLocks noChangeArrowheads="1"/>
            </p:cNvSpPr>
            <p:nvPr>
              <p:custDataLst>
                <p:tags r:id="rId6"/>
              </p:custDataLst>
            </p:nvPr>
          </p:nvSpPr>
          <p:spPr bwMode="gray">
            <a:xfrm>
              <a:off x="1199738" y="3447027"/>
              <a:ext cx="1524602" cy="313953"/>
            </a:xfrm>
            <a:prstGeom prst="rect">
              <a:avLst/>
            </a:prstGeom>
            <a:noFill/>
            <a:ln w="9525">
              <a:noFill/>
              <a:miter lim="800000"/>
            </a:ln>
            <a:effectLst/>
          </p:spPr>
          <p:txBody>
            <a:bodyPr wrap="none" lIns="82945" tIns="41473" rIns="82945" bIns="41473" anchor="ctr"/>
            <a:lstStyle/>
            <a:p>
              <a:pPr algn="ctr">
                <a:spcBef>
                  <a:spcPct val="50000"/>
                </a:spcBef>
                <a:buClr>
                  <a:srgbClr val="000099"/>
                </a:buClr>
                <a:buSzPct val="70000"/>
                <a:buFont typeface="Wingdings" panose="05000000000000000000" pitchFamily="2" charset="2"/>
                <a:buNone/>
              </a:pPr>
              <a:r>
                <a:rPr lang="zh-CN" altLang="en-US" sz="1800" b="1" dirty="0">
                  <a:solidFill>
                    <a:schemeClr val="accent2"/>
                  </a:solidFill>
                </a:rPr>
                <a:t>引用</a:t>
              </a:r>
              <a:endParaRPr lang="en-GB" sz="1800" b="1" dirty="0">
                <a:solidFill>
                  <a:schemeClr val="accent2"/>
                </a:solidFill>
              </a:endParaRPr>
            </a:p>
          </p:txBody>
        </p:sp>
      </p:grpSp>
      <p:grpSp>
        <p:nvGrpSpPr>
          <p:cNvPr id="9" name="Group 8"/>
          <p:cNvGrpSpPr/>
          <p:nvPr/>
        </p:nvGrpSpPr>
        <p:grpSpPr>
          <a:xfrm>
            <a:off x="6358816" y="3532087"/>
            <a:ext cx="1663021" cy="2136387"/>
            <a:chOff x="6358816" y="3447027"/>
            <a:chExt cx="1663021" cy="2136387"/>
          </a:xfrm>
        </p:grpSpPr>
        <p:grpSp>
          <p:nvGrpSpPr>
            <p:cNvPr id="17" name="Groupe 4"/>
            <p:cNvGrpSpPr/>
            <p:nvPr/>
          </p:nvGrpSpPr>
          <p:grpSpPr>
            <a:xfrm>
              <a:off x="6358816" y="3920410"/>
              <a:ext cx="1663021" cy="1663004"/>
              <a:chOff x="6664246" y="4323083"/>
              <a:chExt cx="1663021" cy="1663004"/>
            </a:xfrm>
          </p:grpSpPr>
          <p:sp>
            <p:nvSpPr>
              <p:cNvPr id="18" name="Polygon form 7"/>
              <p:cNvSpPr/>
              <p:nvPr/>
            </p:nvSpPr>
            <p:spPr>
              <a:xfrm>
                <a:off x="7495731" y="4323083"/>
                <a:ext cx="831536" cy="942930"/>
              </a:xfrm>
              <a:custGeom>
                <a:avLst/>
                <a:gdLst/>
                <a:ahLst/>
                <a:cxnLst/>
                <a:rect l="0" t="0" r="0" b="0"/>
                <a:pathLst>
                  <a:path w="831536" h="942930">
                    <a:moveTo>
                      <a:pt x="0" y="831537"/>
                    </a:moveTo>
                    <a:lnTo>
                      <a:pt x="28415" y="835379"/>
                    </a:lnTo>
                    <a:lnTo>
                      <a:pt x="56831" y="839220"/>
                    </a:lnTo>
                    <a:lnTo>
                      <a:pt x="85246" y="843061"/>
                    </a:lnTo>
                    <a:lnTo>
                      <a:pt x="113661" y="846902"/>
                    </a:lnTo>
                    <a:lnTo>
                      <a:pt x="142076" y="850743"/>
                    </a:lnTo>
                    <a:lnTo>
                      <a:pt x="170492" y="854584"/>
                    </a:lnTo>
                    <a:lnTo>
                      <a:pt x="198907" y="858425"/>
                    </a:lnTo>
                    <a:lnTo>
                      <a:pt x="227322" y="862266"/>
                    </a:lnTo>
                    <a:lnTo>
                      <a:pt x="255737" y="866107"/>
                    </a:lnTo>
                    <a:lnTo>
                      <a:pt x="284153" y="869949"/>
                    </a:lnTo>
                    <a:lnTo>
                      <a:pt x="312568" y="873790"/>
                    </a:lnTo>
                    <a:lnTo>
                      <a:pt x="340983" y="877631"/>
                    </a:lnTo>
                    <a:lnTo>
                      <a:pt x="369398" y="881472"/>
                    </a:lnTo>
                    <a:lnTo>
                      <a:pt x="397814" y="885313"/>
                    </a:lnTo>
                    <a:lnTo>
                      <a:pt x="426229" y="889154"/>
                    </a:lnTo>
                    <a:lnTo>
                      <a:pt x="454644" y="892995"/>
                    </a:lnTo>
                    <a:lnTo>
                      <a:pt x="483059" y="896836"/>
                    </a:lnTo>
                    <a:lnTo>
                      <a:pt x="511475" y="900677"/>
                    </a:lnTo>
                    <a:lnTo>
                      <a:pt x="539890" y="904519"/>
                    </a:lnTo>
                    <a:lnTo>
                      <a:pt x="568305" y="908360"/>
                    </a:lnTo>
                    <a:lnTo>
                      <a:pt x="596721" y="912201"/>
                    </a:lnTo>
                    <a:lnTo>
                      <a:pt x="625136" y="916042"/>
                    </a:lnTo>
                    <a:lnTo>
                      <a:pt x="653551" y="919883"/>
                    </a:lnTo>
                    <a:lnTo>
                      <a:pt x="681966" y="923724"/>
                    </a:lnTo>
                    <a:lnTo>
                      <a:pt x="710382" y="927565"/>
                    </a:lnTo>
                    <a:lnTo>
                      <a:pt x="738797" y="931406"/>
                    </a:lnTo>
                    <a:lnTo>
                      <a:pt x="767212" y="935247"/>
                    </a:lnTo>
                    <a:lnTo>
                      <a:pt x="795627" y="939089"/>
                    </a:lnTo>
                    <a:lnTo>
                      <a:pt x="824043" y="942930"/>
                    </a:lnTo>
                    <a:lnTo>
                      <a:pt x="824043" y="942930"/>
                    </a:lnTo>
                    <a:lnTo>
                      <a:pt x="827362" y="914768"/>
                    </a:lnTo>
                    <a:lnTo>
                      <a:pt x="829718" y="886509"/>
                    </a:lnTo>
                    <a:lnTo>
                      <a:pt x="831110" y="858187"/>
                    </a:lnTo>
                    <a:lnTo>
                      <a:pt x="831536" y="829833"/>
                    </a:lnTo>
                    <a:lnTo>
                      <a:pt x="830994" y="801482"/>
                    </a:lnTo>
                    <a:lnTo>
                      <a:pt x="829486" y="773165"/>
                    </a:lnTo>
                    <a:lnTo>
                      <a:pt x="827013" y="744916"/>
                    </a:lnTo>
                    <a:lnTo>
                      <a:pt x="823579" y="716768"/>
                    </a:lnTo>
                    <a:lnTo>
                      <a:pt x="819187" y="688754"/>
                    </a:lnTo>
                    <a:lnTo>
                      <a:pt x="813842" y="660906"/>
                    </a:lnTo>
                    <a:lnTo>
                      <a:pt x="807551" y="633255"/>
                    </a:lnTo>
                    <a:lnTo>
                      <a:pt x="800321" y="605836"/>
                    </a:lnTo>
                    <a:lnTo>
                      <a:pt x="792160" y="578679"/>
                    </a:lnTo>
                    <a:lnTo>
                      <a:pt x="783078" y="551816"/>
                    </a:lnTo>
                    <a:lnTo>
                      <a:pt x="773085" y="525279"/>
                    </a:lnTo>
                    <a:lnTo>
                      <a:pt x="762193" y="499097"/>
                    </a:lnTo>
                    <a:lnTo>
                      <a:pt x="750415" y="473302"/>
                    </a:lnTo>
                    <a:lnTo>
                      <a:pt x="737764" y="447924"/>
                    </a:lnTo>
                    <a:lnTo>
                      <a:pt x="724255" y="422992"/>
                    </a:lnTo>
                    <a:lnTo>
                      <a:pt x="709904" y="398535"/>
                    </a:lnTo>
                    <a:lnTo>
                      <a:pt x="694727" y="374581"/>
                    </a:lnTo>
                    <a:lnTo>
                      <a:pt x="678742" y="351159"/>
                    </a:lnTo>
                    <a:lnTo>
                      <a:pt x="661968" y="328296"/>
                    </a:lnTo>
                    <a:lnTo>
                      <a:pt x="644425" y="306017"/>
                    </a:lnTo>
                    <a:lnTo>
                      <a:pt x="626132" y="284350"/>
                    </a:lnTo>
                    <a:lnTo>
                      <a:pt x="607110" y="263319"/>
                    </a:lnTo>
                    <a:lnTo>
                      <a:pt x="587383" y="242949"/>
                    </a:lnTo>
                    <a:lnTo>
                      <a:pt x="566973" y="223264"/>
                    </a:lnTo>
                    <a:lnTo>
                      <a:pt x="545903" y="204286"/>
                    </a:lnTo>
                    <a:lnTo>
                      <a:pt x="524198" y="186037"/>
                    </a:lnTo>
                    <a:lnTo>
                      <a:pt x="501884" y="168539"/>
                    </a:lnTo>
                    <a:lnTo>
                      <a:pt x="478986" y="151812"/>
                    </a:lnTo>
                    <a:lnTo>
                      <a:pt x="455532" y="135875"/>
                    </a:lnTo>
                    <a:lnTo>
                      <a:pt x="431547" y="120748"/>
                    </a:lnTo>
                    <a:lnTo>
                      <a:pt x="407061" y="106447"/>
                    </a:lnTo>
                    <a:lnTo>
                      <a:pt x="382101" y="92989"/>
                    </a:lnTo>
                    <a:lnTo>
                      <a:pt x="356697" y="80390"/>
                    </a:lnTo>
                    <a:lnTo>
                      <a:pt x="330878" y="68665"/>
                    </a:lnTo>
                    <a:lnTo>
                      <a:pt x="304674" y="57827"/>
                    </a:lnTo>
                    <a:lnTo>
                      <a:pt x="278116" y="47888"/>
                    </a:lnTo>
                    <a:lnTo>
                      <a:pt x="251234" y="38861"/>
                    </a:lnTo>
                    <a:lnTo>
                      <a:pt x="224061" y="30756"/>
                    </a:lnTo>
                    <a:lnTo>
                      <a:pt x="196627" y="23582"/>
                    </a:lnTo>
                    <a:lnTo>
                      <a:pt x="168964" y="17347"/>
                    </a:lnTo>
                    <a:lnTo>
                      <a:pt x="141104" y="12060"/>
                    </a:lnTo>
                    <a:lnTo>
                      <a:pt x="113081" y="7725"/>
                    </a:lnTo>
                    <a:lnTo>
                      <a:pt x="84926" y="4348"/>
                    </a:lnTo>
                    <a:lnTo>
                      <a:pt x="56672" y="1933"/>
                    </a:lnTo>
                    <a:lnTo>
                      <a:pt x="28353" y="484"/>
                    </a:lnTo>
                    <a:lnTo>
                      <a:pt x="0" y="0"/>
                    </a:lnTo>
                    <a:lnTo>
                      <a:pt x="0" y="0"/>
                    </a:lnTo>
                    <a:lnTo>
                      <a:pt x="0" y="28674"/>
                    </a:lnTo>
                    <a:lnTo>
                      <a:pt x="0" y="57347"/>
                    </a:lnTo>
                    <a:lnTo>
                      <a:pt x="0" y="86021"/>
                    </a:lnTo>
                    <a:lnTo>
                      <a:pt x="0" y="114695"/>
                    </a:lnTo>
                    <a:lnTo>
                      <a:pt x="0" y="143369"/>
                    </a:lnTo>
                    <a:lnTo>
                      <a:pt x="0" y="172042"/>
                    </a:lnTo>
                    <a:lnTo>
                      <a:pt x="0" y="200716"/>
                    </a:lnTo>
                    <a:lnTo>
                      <a:pt x="0" y="229390"/>
                    </a:lnTo>
                    <a:lnTo>
                      <a:pt x="0" y="258063"/>
                    </a:lnTo>
                    <a:lnTo>
                      <a:pt x="0" y="286737"/>
                    </a:lnTo>
                    <a:lnTo>
                      <a:pt x="0" y="315411"/>
                    </a:lnTo>
                    <a:lnTo>
                      <a:pt x="0" y="344084"/>
                    </a:lnTo>
                    <a:lnTo>
                      <a:pt x="0" y="372758"/>
                    </a:lnTo>
                    <a:lnTo>
                      <a:pt x="0" y="401432"/>
                    </a:lnTo>
                    <a:lnTo>
                      <a:pt x="0" y="430106"/>
                    </a:lnTo>
                    <a:lnTo>
                      <a:pt x="0" y="458779"/>
                    </a:lnTo>
                    <a:lnTo>
                      <a:pt x="0" y="487453"/>
                    </a:lnTo>
                    <a:lnTo>
                      <a:pt x="0" y="516127"/>
                    </a:lnTo>
                    <a:lnTo>
                      <a:pt x="0" y="544800"/>
                    </a:lnTo>
                    <a:lnTo>
                      <a:pt x="0" y="573474"/>
                    </a:lnTo>
                    <a:lnTo>
                      <a:pt x="0" y="602148"/>
                    </a:lnTo>
                    <a:lnTo>
                      <a:pt x="0" y="630821"/>
                    </a:lnTo>
                    <a:lnTo>
                      <a:pt x="0" y="659495"/>
                    </a:lnTo>
                    <a:lnTo>
                      <a:pt x="0" y="688169"/>
                    </a:lnTo>
                    <a:lnTo>
                      <a:pt x="0" y="716843"/>
                    </a:lnTo>
                    <a:lnTo>
                      <a:pt x="0" y="745516"/>
                    </a:lnTo>
                    <a:lnTo>
                      <a:pt x="0" y="774190"/>
                    </a:lnTo>
                    <a:lnTo>
                      <a:pt x="0" y="802864"/>
                    </a:lnTo>
                    <a:lnTo>
                      <a:pt x="0" y="831537"/>
                    </a:lnTo>
                    <a:lnTo>
                      <a:pt x="0" y="831537"/>
                    </a:lnTo>
                    <a:close/>
                  </a:path>
                </a:pathLst>
              </a:custGeom>
              <a:solidFill>
                <a:srgbClr val="FF8200"/>
              </a:solidFill>
              <a:ln w="13500">
                <a:noFill/>
                <a:prstDash val="solid"/>
                <a:round/>
              </a:ln>
            </p:spPr>
            <p:txBody>
              <a:bodyPr/>
              <a:lstStyle/>
              <a:p/>
            </p:txBody>
          </p:sp>
          <p:sp>
            <p:nvSpPr>
              <p:cNvPr id="19" name="Polygon form 8"/>
              <p:cNvSpPr/>
              <p:nvPr/>
            </p:nvSpPr>
            <p:spPr>
              <a:xfrm>
                <a:off x="7495731" y="5154620"/>
                <a:ext cx="824043" cy="624822"/>
              </a:xfrm>
              <a:custGeom>
                <a:avLst/>
                <a:gdLst/>
                <a:ahLst/>
                <a:cxnLst/>
                <a:rect l="0" t="0" r="0" b="0"/>
                <a:pathLst>
                  <a:path w="824043" h="624822">
                    <a:moveTo>
                      <a:pt x="0" y="0"/>
                    </a:moveTo>
                    <a:lnTo>
                      <a:pt x="18920" y="21546"/>
                    </a:lnTo>
                    <a:lnTo>
                      <a:pt x="37840" y="43091"/>
                    </a:lnTo>
                    <a:lnTo>
                      <a:pt x="56760" y="64637"/>
                    </a:lnTo>
                    <a:lnTo>
                      <a:pt x="75680" y="86182"/>
                    </a:lnTo>
                    <a:lnTo>
                      <a:pt x="94600" y="107728"/>
                    </a:lnTo>
                    <a:lnTo>
                      <a:pt x="113521" y="129273"/>
                    </a:lnTo>
                    <a:lnTo>
                      <a:pt x="132441" y="150819"/>
                    </a:lnTo>
                    <a:lnTo>
                      <a:pt x="151361" y="172365"/>
                    </a:lnTo>
                    <a:lnTo>
                      <a:pt x="170281" y="193910"/>
                    </a:lnTo>
                    <a:lnTo>
                      <a:pt x="189201" y="215456"/>
                    </a:lnTo>
                    <a:lnTo>
                      <a:pt x="208121" y="237001"/>
                    </a:lnTo>
                    <a:lnTo>
                      <a:pt x="227041" y="258547"/>
                    </a:lnTo>
                    <a:lnTo>
                      <a:pt x="245961" y="280092"/>
                    </a:lnTo>
                    <a:lnTo>
                      <a:pt x="264881" y="301638"/>
                    </a:lnTo>
                    <a:lnTo>
                      <a:pt x="283801" y="323184"/>
                    </a:lnTo>
                    <a:lnTo>
                      <a:pt x="302721" y="344729"/>
                    </a:lnTo>
                    <a:lnTo>
                      <a:pt x="321641" y="366275"/>
                    </a:lnTo>
                    <a:lnTo>
                      <a:pt x="340562" y="387820"/>
                    </a:lnTo>
                    <a:lnTo>
                      <a:pt x="359482" y="409366"/>
                    </a:lnTo>
                    <a:lnTo>
                      <a:pt x="378402" y="430911"/>
                    </a:lnTo>
                    <a:lnTo>
                      <a:pt x="397322" y="452457"/>
                    </a:lnTo>
                    <a:lnTo>
                      <a:pt x="416242" y="474003"/>
                    </a:lnTo>
                    <a:lnTo>
                      <a:pt x="435162" y="495548"/>
                    </a:lnTo>
                    <a:lnTo>
                      <a:pt x="454082" y="517094"/>
                    </a:lnTo>
                    <a:lnTo>
                      <a:pt x="473002" y="538639"/>
                    </a:lnTo>
                    <a:lnTo>
                      <a:pt x="491922" y="560185"/>
                    </a:lnTo>
                    <a:lnTo>
                      <a:pt x="510842" y="581731"/>
                    </a:lnTo>
                    <a:lnTo>
                      <a:pt x="529762" y="603276"/>
                    </a:lnTo>
                    <a:lnTo>
                      <a:pt x="548682" y="624822"/>
                    </a:lnTo>
                    <a:lnTo>
                      <a:pt x="548682" y="624822"/>
                    </a:lnTo>
                    <a:lnTo>
                      <a:pt x="569658" y="605759"/>
                    </a:lnTo>
                    <a:lnTo>
                      <a:pt x="589971" y="585993"/>
                    </a:lnTo>
                    <a:lnTo>
                      <a:pt x="609600" y="565547"/>
                    </a:lnTo>
                    <a:lnTo>
                      <a:pt x="628519" y="544443"/>
                    </a:lnTo>
                    <a:lnTo>
                      <a:pt x="646709" y="522706"/>
                    </a:lnTo>
                    <a:lnTo>
                      <a:pt x="664147" y="500363"/>
                    </a:lnTo>
                    <a:lnTo>
                      <a:pt x="680814" y="477437"/>
                    </a:lnTo>
                    <a:lnTo>
                      <a:pt x="696690" y="453958"/>
                    </a:lnTo>
                    <a:lnTo>
                      <a:pt x="711756" y="429951"/>
                    </a:lnTo>
                    <a:lnTo>
                      <a:pt x="725996" y="405444"/>
                    </a:lnTo>
                    <a:lnTo>
                      <a:pt x="739392" y="380466"/>
                    </a:lnTo>
                    <a:lnTo>
                      <a:pt x="751929" y="355046"/>
                    </a:lnTo>
                    <a:lnTo>
                      <a:pt x="763592" y="329214"/>
                    </a:lnTo>
                    <a:lnTo>
                      <a:pt x="774368" y="303000"/>
                    </a:lnTo>
                    <a:lnTo>
                      <a:pt x="784244" y="276433"/>
                    </a:lnTo>
                    <a:lnTo>
                      <a:pt x="793210" y="249545"/>
                    </a:lnTo>
                    <a:lnTo>
                      <a:pt x="801254" y="222367"/>
                    </a:lnTo>
                    <a:lnTo>
                      <a:pt x="808367" y="194931"/>
                    </a:lnTo>
                    <a:lnTo>
                      <a:pt x="814540" y="167268"/>
                    </a:lnTo>
                    <a:lnTo>
                      <a:pt x="819768" y="139411"/>
                    </a:lnTo>
                    <a:lnTo>
                      <a:pt x="824043" y="111392"/>
                    </a:lnTo>
                    <a:lnTo>
                      <a:pt x="824043" y="111392"/>
                    </a:lnTo>
                    <a:lnTo>
                      <a:pt x="795627" y="107551"/>
                    </a:lnTo>
                    <a:lnTo>
                      <a:pt x="767212" y="103710"/>
                    </a:lnTo>
                    <a:lnTo>
                      <a:pt x="738797" y="99869"/>
                    </a:lnTo>
                    <a:lnTo>
                      <a:pt x="710382" y="96028"/>
                    </a:lnTo>
                    <a:lnTo>
                      <a:pt x="681966" y="92187"/>
                    </a:lnTo>
                    <a:lnTo>
                      <a:pt x="653551" y="88346"/>
                    </a:lnTo>
                    <a:lnTo>
                      <a:pt x="625136" y="84504"/>
                    </a:lnTo>
                    <a:lnTo>
                      <a:pt x="596721" y="80663"/>
                    </a:lnTo>
                    <a:lnTo>
                      <a:pt x="568305" y="76822"/>
                    </a:lnTo>
                    <a:lnTo>
                      <a:pt x="539890" y="72981"/>
                    </a:lnTo>
                    <a:lnTo>
                      <a:pt x="511475" y="69140"/>
                    </a:lnTo>
                    <a:lnTo>
                      <a:pt x="483059" y="65299"/>
                    </a:lnTo>
                    <a:lnTo>
                      <a:pt x="454644" y="61458"/>
                    </a:lnTo>
                    <a:lnTo>
                      <a:pt x="426229" y="57617"/>
                    </a:lnTo>
                    <a:lnTo>
                      <a:pt x="397814" y="53776"/>
                    </a:lnTo>
                    <a:lnTo>
                      <a:pt x="369398" y="49934"/>
                    </a:lnTo>
                    <a:lnTo>
                      <a:pt x="340983" y="46093"/>
                    </a:lnTo>
                    <a:lnTo>
                      <a:pt x="312568" y="42252"/>
                    </a:lnTo>
                    <a:lnTo>
                      <a:pt x="284153" y="38411"/>
                    </a:lnTo>
                    <a:lnTo>
                      <a:pt x="255737" y="34570"/>
                    </a:lnTo>
                    <a:lnTo>
                      <a:pt x="227322" y="30729"/>
                    </a:lnTo>
                    <a:lnTo>
                      <a:pt x="198907" y="26888"/>
                    </a:lnTo>
                    <a:lnTo>
                      <a:pt x="170492" y="23047"/>
                    </a:lnTo>
                    <a:lnTo>
                      <a:pt x="142076" y="19206"/>
                    </a:lnTo>
                    <a:lnTo>
                      <a:pt x="113661" y="15364"/>
                    </a:lnTo>
                    <a:lnTo>
                      <a:pt x="85246" y="11523"/>
                    </a:lnTo>
                    <a:lnTo>
                      <a:pt x="56831" y="7682"/>
                    </a:lnTo>
                    <a:lnTo>
                      <a:pt x="28415" y="3841"/>
                    </a:lnTo>
                    <a:lnTo>
                      <a:pt x="0" y="0"/>
                    </a:lnTo>
                    <a:lnTo>
                      <a:pt x="0" y="0"/>
                    </a:lnTo>
                    <a:close/>
                  </a:path>
                </a:pathLst>
              </a:custGeom>
              <a:solidFill>
                <a:schemeClr val="tx1">
                  <a:lumMod val="20000"/>
                  <a:lumOff val="80000"/>
                </a:schemeClr>
              </a:solidFill>
              <a:ln w="13500">
                <a:noFill/>
                <a:prstDash val="solid"/>
                <a:round/>
              </a:ln>
            </p:spPr>
            <p:txBody>
              <a:bodyPr/>
              <a:lstStyle/>
              <a:p/>
            </p:txBody>
          </p:sp>
          <p:sp>
            <p:nvSpPr>
              <p:cNvPr id="20" name="Polygon form 9"/>
              <p:cNvSpPr/>
              <p:nvPr/>
            </p:nvSpPr>
            <p:spPr>
              <a:xfrm>
                <a:off x="7477108" y="5154620"/>
                <a:ext cx="567306" cy="831467"/>
              </a:xfrm>
              <a:custGeom>
                <a:avLst/>
                <a:gdLst/>
                <a:ahLst/>
                <a:cxnLst/>
                <a:rect l="0" t="0" r="0" b="0"/>
                <a:pathLst>
                  <a:path w="567306" h="831467">
                    <a:moveTo>
                      <a:pt x="18623" y="0"/>
                    </a:moveTo>
                    <a:lnTo>
                      <a:pt x="17981" y="28667"/>
                    </a:lnTo>
                    <a:lnTo>
                      <a:pt x="17339" y="57333"/>
                    </a:lnTo>
                    <a:lnTo>
                      <a:pt x="16697" y="86000"/>
                    </a:lnTo>
                    <a:lnTo>
                      <a:pt x="16054" y="114666"/>
                    </a:lnTo>
                    <a:lnTo>
                      <a:pt x="15412" y="143333"/>
                    </a:lnTo>
                    <a:lnTo>
                      <a:pt x="14770" y="171999"/>
                    </a:lnTo>
                    <a:lnTo>
                      <a:pt x="14128" y="200666"/>
                    </a:lnTo>
                    <a:lnTo>
                      <a:pt x="13486" y="229332"/>
                    </a:lnTo>
                    <a:lnTo>
                      <a:pt x="12844" y="257999"/>
                    </a:lnTo>
                    <a:lnTo>
                      <a:pt x="12201" y="286665"/>
                    </a:lnTo>
                    <a:lnTo>
                      <a:pt x="11559" y="315332"/>
                    </a:lnTo>
                    <a:lnTo>
                      <a:pt x="10917" y="343998"/>
                    </a:lnTo>
                    <a:lnTo>
                      <a:pt x="10275" y="372665"/>
                    </a:lnTo>
                    <a:lnTo>
                      <a:pt x="9633" y="401331"/>
                    </a:lnTo>
                    <a:lnTo>
                      <a:pt x="8991" y="429998"/>
                    </a:lnTo>
                    <a:lnTo>
                      <a:pt x="8348" y="458664"/>
                    </a:lnTo>
                    <a:lnTo>
                      <a:pt x="7706" y="487331"/>
                    </a:lnTo>
                    <a:lnTo>
                      <a:pt x="7064" y="515997"/>
                    </a:lnTo>
                    <a:lnTo>
                      <a:pt x="6422" y="544664"/>
                    </a:lnTo>
                    <a:lnTo>
                      <a:pt x="5780" y="573330"/>
                    </a:lnTo>
                    <a:lnTo>
                      <a:pt x="5137" y="601997"/>
                    </a:lnTo>
                    <a:lnTo>
                      <a:pt x="4495" y="630663"/>
                    </a:lnTo>
                    <a:lnTo>
                      <a:pt x="3853" y="659330"/>
                    </a:lnTo>
                    <a:lnTo>
                      <a:pt x="3211" y="687996"/>
                    </a:lnTo>
                    <a:lnTo>
                      <a:pt x="2569" y="716663"/>
                    </a:lnTo>
                    <a:lnTo>
                      <a:pt x="1927" y="745329"/>
                    </a:lnTo>
                    <a:lnTo>
                      <a:pt x="1284" y="773996"/>
                    </a:lnTo>
                    <a:lnTo>
                      <a:pt x="642" y="802662"/>
                    </a:lnTo>
                    <a:lnTo>
                      <a:pt x="0" y="831329"/>
                    </a:lnTo>
                    <a:lnTo>
                      <a:pt x="0" y="831329"/>
                    </a:lnTo>
                    <a:lnTo>
                      <a:pt x="29419" y="831467"/>
                    </a:lnTo>
                    <a:lnTo>
                      <a:pt x="58824" y="830565"/>
                    </a:lnTo>
                    <a:lnTo>
                      <a:pt x="88179" y="828623"/>
                    </a:lnTo>
                    <a:lnTo>
                      <a:pt x="117447" y="825644"/>
                    </a:lnTo>
                    <a:lnTo>
                      <a:pt x="146592" y="821632"/>
                    </a:lnTo>
                    <a:lnTo>
                      <a:pt x="175576" y="816591"/>
                    </a:lnTo>
                    <a:lnTo>
                      <a:pt x="204364" y="810528"/>
                    </a:lnTo>
                    <a:lnTo>
                      <a:pt x="232919" y="803450"/>
                    </a:lnTo>
                    <a:lnTo>
                      <a:pt x="261206" y="795367"/>
                    </a:lnTo>
                    <a:lnTo>
                      <a:pt x="289189" y="786288"/>
                    </a:lnTo>
                    <a:lnTo>
                      <a:pt x="316834" y="776225"/>
                    </a:lnTo>
                    <a:lnTo>
                      <a:pt x="344105" y="765190"/>
                    </a:lnTo>
                    <a:lnTo>
                      <a:pt x="370969" y="753198"/>
                    </a:lnTo>
                    <a:lnTo>
                      <a:pt x="397392" y="740263"/>
                    </a:lnTo>
                    <a:lnTo>
                      <a:pt x="423341" y="726401"/>
                    </a:lnTo>
                    <a:lnTo>
                      <a:pt x="448783" y="711630"/>
                    </a:lnTo>
                    <a:lnTo>
                      <a:pt x="473687" y="695968"/>
                    </a:lnTo>
                    <a:lnTo>
                      <a:pt x="498021" y="679435"/>
                    </a:lnTo>
                    <a:lnTo>
                      <a:pt x="521756" y="662052"/>
                    </a:lnTo>
                    <a:lnTo>
                      <a:pt x="544860" y="643840"/>
                    </a:lnTo>
                    <a:lnTo>
                      <a:pt x="567306" y="624822"/>
                    </a:lnTo>
                    <a:lnTo>
                      <a:pt x="567306" y="624822"/>
                    </a:lnTo>
                    <a:lnTo>
                      <a:pt x="548386" y="603276"/>
                    </a:lnTo>
                    <a:lnTo>
                      <a:pt x="529465" y="581731"/>
                    </a:lnTo>
                    <a:lnTo>
                      <a:pt x="510545" y="560185"/>
                    </a:lnTo>
                    <a:lnTo>
                      <a:pt x="491625" y="538639"/>
                    </a:lnTo>
                    <a:lnTo>
                      <a:pt x="472705" y="517094"/>
                    </a:lnTo>
                    <a:lnTo>
                      <a:pt x="453785" y="495548"/>
                    </a:lnTo>
                    <a:lnTo>
                      <a:pt x="434865" y="474003"/>
                    </a:lnTo>
                    <a:lnTo>
                      <a:pt x="415945" y="452457"/>
                    </a:lnTo>
                    <a:lnTo>
                      <a:pt x="397025" y="430911"/>
                    </a:lnTo>
                    <a:lnTo>
                      <a:pt x="378105" y="409366"/>
                    </a:lnTo>
                    <a:lnTo>
                      <a:pt x="359185" y="387820"/>
                    </a:lnTo>
                    <a:lnTo>
                      <a:pt x="340265" y="366275"/>
                    </a:lnTo>
                    <a:lnTo>
                      <a:pt x="321345" y="344729"/>
                    </a:lnTo>
                    <a:lnTo>
                      <a:pt x="302424" y="323184"/>
                    </a:lnTo>
                    <a:lnTo>
                      <a:pt x="283504" y="301638"/>
                    </a:lnTo>
                    <a:lnTo>
                      <a:pt x="264584" y="280092"/>
                    </a:lnTo>
                    <a:lnTo>
                      <a:pt x="245664" y="258547"/>
                    </a:lnTo>
                    <a:lnTo>
                      <a:pt x="226744" y="237001"/>
                    </a:lnTo>
                    <a:lnTo>
                      <a:pt x="207824" y="215456"/>
                    </a:lnTo>
                    <a:lnTo>
                      <a:pt x="188904" y="193910"/>
                    </a:lnTo>
                    <a:lnTo>
                      <a:pt x="169984" y="172365"/>
                    </a:lnTo>
                    <a:lnTo>
                      <a:pt x="151064" y="150819"/>
                    </a:lnTo>
                    <a:lnTo>
                      <a:pt x="132144" y="129273"/>
                    </a:lnTo>
                    <a:lnTo>
                      <a:pt x="113224" y="107728"/>
                    </a:lnTo>
                    <a:lnTo>
                      <a:pt x="94304" y="86182"/>
                    </a:lnTo>
                    <a:lnTo>
                      <a:pt x="75383" y="64637"/>
                    </a:lnTo>
                    <a:lnTo>
                      <a:pt x="56463" y="43091"/>
                    </a:lnTo>
                    <a:lnTo>
                      <a:pt x="37543" y="21546"/>
                    </a:lnTo>
                    <a:lnTo>
                      <a:pt x="18623" y="0"/>
                    </a:lnTo>
                    <a:lnTo>
                      <a:pt x="18623" y="0"/>
                    </a:lnTo>
                    <a:close/>
                  </a:path>
                </a:pathLst>
              </a:custGeom>
              <a:solidFill>
                <a:schemeClr val="tx1">
                  <a:lumMod val="40000"/>
                  <a:lumOff val="60000"/>
                </a:schemeClr>
              </a:solidFill>
              <a:ln w="13500">
                <a:noFill/>
                <a:prstDash val="solid"/>
                <a:round/>
              </a:ln>
            </p:spPr>
            <p:txBody>
              <a:bodyPr/>
              <a:lstStyle/>
              <a:p/>
            </p:txBody>
          </p:sp>
          <p:sp>
            <p:nvSpPr>
              <p:cNvPr id="21" name="Polygon form 10"/>
              <p:cNvSpPr/>
              <p:nvPr/>
            </p:nvSpPr>
            <p:spPr>
              <a:xfrm>
                <a:off x="6664246" y="4323083"/>
                <a:ext cx="831485" cy="1662866"/>
              </a:xfrm>
              <a:custGeom>
                <a:avLst/>
                <a:gdLst/>
                <a:ahLst/>
                <a:cxnLst/>
                <a:rect l="0" t="0" r="0" b="0"/>
                <a:pathLst>
                  <a:path w="831485" h="1662866">
                    <a:moveTo>
                      <a:pt x="831485" y="831537"/>
                    </a:moveTo>
                    <a:lnTo>
                      <a:pt x="831485" y="802864"/>
                    </a:lnTo>
                    <a:lnTo>
                      <a:pt x="831485" y="774190"/>
                    </a:lnTo>
                    <a:lnTo>
                      <a:pt x="831485" y="745516"/>
                    </a:lnTo>
                    <a:lnTo>
                      <a:pt x="831485" y="716843"/>
                    </a:lnTo>
                    <a:lnTo>
                      <a:pt x="831485" y="688169"/>
                    </a:lnTo>
                    <a:lnTo>
                      <a:pt x="831485" y="659495"/>
                    </a:lnTo>
                    <a:lnTo>
                      <a:pt x="831485" y="630821"/>
                    </a:lnTo>
                    <a:lnTo>
                      <a:pt x="831485" y="602148"/>
                    </a:lnTo>
                    <a:lnTo>
                      <a:pt x="831485" y="573474"/>
                    </a:lnTo>
                    <a:lnTo>
                      <a:pt x="831485" y="544800"/>
                    </a:lnTo>
                    <a:lnTo>
                      <a:pt x="831485" y="516127"/>
                    </a:lnTo>
                    <a:lnTo>
                      <a:pt x="831485" y="487453"/>
                    </a:lnTo>
                    <a:lnTo>
                      <a:pt x="831485" y="458779"/>
                    </a:lnTo>
                    <a:lnTo>
                      <a:pt x="831485" y="430106"/>
                    </a:lnTo>
                    <a:lnTo>
                      <a:pt x="831485" y="401432"/>
                    </a:lnTo>
                    <a:lnTo>
                      <a:pt x="831485" y="372758"/>
                    </a:lnTo>
                    <a:lnTo>
                      <a:pt x="831485" y="344084"/>
                    </a:lnTo>
                    <a:lnTo>
                      <a:pt x="831485" y="315411"/>
                    </a:lnTo>
                    <a:lnTo>
                      <a:pt x="831485" y="286737"/>
                    </a:lnTo>
                    <a:lnTo>
                      <a:pt x="831485" y="258063"/>
                    </a:lnTo>
                    <a:lnTo>
                      <a:pt x="831485" y="229390"/>
                    </a:lnTo>
                    <a:lnTo>
                      <a:pt x="831485" y="200716"/>
                    </a:lnTo>
                    <a:lnTo>
                      <a:pt x="831485" y="172042"/>
                    </a:lnTo>
                    <a:lnTo>
                      <a:pt x="831485" y="143369"/>
                    </a:lnTo>
                    <a:lnTo>
                      <a:pt x="831485" y="114695"/>
                    </a:lnTo>
                    <a:lnTo>
                      <a:pt x="831485" y="86021"/>
                    </a:lnTo>
                    <a:lnTo>
                      <a:pt x="831485" y="57347"/>
                    </a:lnTo>
                    <a:lnTo>
                      <a:pt x="831485" y="28674"/>
                    </a:lnTo>
                    <a:lnTo>
                      <a:pt x="831485" y="0"/>
                    </a:lnTo>
                    <a:lnTo>
                      <a:pt x="831485" y="0"/>
                    </a:lnTo>
                    <a:lnTo>
                      <a:pt x="803298" y="478"/>
                    </a:lnTo>
                    <a:lnTo>
                      <a:pt x="775143" y="1911"/>
                    </a:lnTo>
                    <a:lnTo>
                      <a:pt x="747053" y="4298"/>
                    </a:lnTo>
                    <a:lnTo>
                      <a:pt x="719060" y="7635"/>
                    </a:lnTo>
                    <a:lnTo>
                      <a:pt x="691196" y="11920"/>
                    </a:lnTo>
                    <a:lnTo>
                      <a:pt x="663493" y="17146"/>
                    </a:lnTo>
                    <a:lnTo>
                      <a:pt x="635984" y="23309"/>
                    </a:lnTo>
                    <a:lnTo>
                      <a:pt x="608699" y="30400"/>
                    </a:lnTo>
                    <a:lnTo>
                      <a:pt x="581670" y="38413"/>
                    </a:lnTo>
                    <a:lnTo>
                      <a:pt x="554929" y="47337"/>
                    </a:lnTo>
                    <a:lnTo>
                      <a:pt x="528505" y="57162"/>
                    </a:lnTo>
                    <a:lnTo>
                      <a:pt x="502429" y="67877"/>
                    </a:lnTo>
                    <a:lnTo>
                      <a:pt x="476732" y="79470"/>
                    </a:lnTo>
                    <a:lnTo>
                      <a:pt x="451443" y="91928"/>
                    </a:lnTo>
                    <a:lnTo>
                      <a:pt x="426590" y="105236"/>
                    </a:lnTo>
                    <a:lnTo>
                      <a:pt x="402203" y="119378"/>
                    </a:lnTo>
                    <a:lnTo>
                      <a:pt x="378309" y="134339"/>
                    </a:lnTo>
                    <a:lnTo>
                      <a:pt x="354936" y="150102"/>
                    </a:lnTo>
                    <a:lnTo>
                      <a:pt x="332110" y="166647"/>
                    </a:lnTo>
                    <a:lnTo>
                      <a:pt x="309859" y="183957"/>
                    </a:lnTo>
                    <a:lnTo>
                      <a:pt x="288207" y="202011"/>
                    </a:lnTo>
                    <a:lnTo>
                      <a:pt x="267180" y="220789"/>
                    </a:lnTo>
                    <a:lnTo>
                      <a:pt x="246801" y="240268"/>
                    </a:lnTo>
                    <a:lnTo>
                      <a:pt x="227094" y="260428"/>
                    </a:lnTo>
                    <a:lnTo>
                      <a:pt x="208082" y="281244"/>
                    </a:lnTo>
                    <a:lnTo>
                      <a:pt x="189787" y="302692"/>
                    </a:lnTo>
                    <a:lnTo>
                      <a:pt x="172229" y="324748"/>
                    </a:lnTo>
                    <a:lnTo>
                      <a:pt x="155429" y="347386"/>
                    </a:lnTo>
                    <a:lnTo>
                      <a:pt x="139406" y="370581"/>
                    </a:lnTo>
                    <a:lnTo>
                      <a:pt x="124178" y="394306"/>
                    </a:lnTo>
                    <a:lnTo>
                      <a:pt x="109763" y="418534"/>
                    </a:lnTo>
                    <a:lnTo>
                      <a:pt x="96178" y="443236"/>
                    </a:lnTo>
                    <a:lnTo>
                      <a:pt x="83438" y="468384"/>
                    </a:lnTo>
                    <a:lnTo>
                      <a:pt x="71558" y="493950"/>
                    </a:lnTo>
                    <a:lnTo>
                      <a:pt x="60551" y="519904"/>
                    </a:lnTo>
                    <a:lnTo>
                      <a:pt x="50431" y="546216"/>
                    </a:lnTo>
                    <a:lnTo>
                      <a:pt x="41208" y="572856"/>
                    </a:lnTo>
                    <a:lnTo>
                      <a:pt x="32893" y="599793"/>
                    </a:lnTo>
                    <a:lnTo>
                      <a:pt x="25497" y="626997"/>
                    </a:lnTo>
                    <a:lnTo>
                      <a:pt x="19026" y="654436"/>
                    </a:lnTo>
                    <a:lnTo>
                      <a:pt x="13490" y="682078"/>
                    </a:lnTo>
                    <a:lnTo>
                      <a:pt x="8894" y="709892"/>
                    </a:lnTo>
                    <a:lnTo>
                      <a:pt x="5243" y="737846"/>
                    </a:lnTo>
                    <a:lnTo>
                      <a:pt x="2542" y="765908"/>
                    </a:lnTo>
                    <a:lnTo>
                      <a:pt x="794" y="794045"/>
                    </a:lnTo>
                    <a:lnTo>
                      <a:pt x="0" y="822225"/>
                    </a:lnTo>
                    <a:lnTo>
                      <a:pt x="162" y="850416"/>
                    </a:lnTo>
                    <a:lnTo>
                      <a:pt x="1280" y="878585"/>
                    </a:lnTo>
                    <a:lnTo>
                      <a:pt x="3352" y="906700"/>
                    </a:lnTo>
                    <a:lnTo>
                      <a:pt x="6376" y="934729"/>
                    </a:lnTo>
                    <a:lnTo>
                      <a:pt x="10348" y="962639"/>
                    </a:lnTo>
                    <a:lnTo>
                      <a:pt x="15264" y="990399"/>
                    </a:lnTo>
                    <a:lnTo>
                      <a:pt x="21118" y="1017975"/>
                    </a:lnTo>
                    <a:lnTo>
                      <a:pt x="27903" y="1045338"/>
                    </a:lnTo>
                    <a:lnTo>
                      <a:pt x="35613" y="1072455"/>
                    </a:lnTo>
                    <a:lnTo>
                      <a:pt x="44237" y="1099295"/>
                    </a:lnTo>
                    <a:lnTo>
                      <a:pt x="53765" y="1125827"/>
                    </a:lnTo>
                    <a:lnTo>
                      <a:pt x="64188" y="1152021"/>
                    </a:lnTo>
                    <a:lnTo>
                      <a:pt x="75493" y="1177846"/>
                    </a:lnTo>
                    <a:lnTo>
                      <a:pt x="87666" y="1203274"/>
                    </a:lnTo>
                    <a:lnTo>
                      <a:pt x="100695" y="1228274"/>
                    </a:lnTo>
                    <a:lnTo>
                      <a:pt x="114563" y="1252818"/>
                    </a:lnTo>
                    <a:lnTo>
                      <a:pt x="129256" y="1276878"/>
                    </a:lnTo>
                    <a:lnTo>
                      <a:pt x="144755" y="1300426"/>
                    </a:lnTo>
                    <a:lnTo>
                      <a:pt x="161044" y="1323435"/>
                    </a:lnTo>
                    <a:lnTo>
                      <a:pt x="178104" y="1345879"/>
                    </a:lnTo>
                    <a:lnTo>
                      <a:pt x="195914" y="1367732"/>
                    </a:lnTo>
                    <a:lnTo>
                      <a:pt x="214455" y="1388968"/>
                    </a:lnTo>
                    <a:lnTo>
                      <a:pt x="233706" y="1409563"/>
                    </a:lnTo>
                    <a:lnTo>
                      <a:pt x="253643" y="1429495"/>
                    </a:lnTo>
                    <a:lnTo>
                      <a:pt x="274245" y="1448739"/>
                    </a:lnTo>
                    <a:lnTo>
                      <a:pt x="295487" y="1467273"/>
                    </a:lnTo>
                    <a:lnTo>
                      <a:pt x="317345" y="1485077"/>
                    </a:lnTo>
                    <a:lnTo>
                      <a:pt x="339794" y="1502130"/>
                    </a:lnTo>
                    <a:lnTo>
                      <a:pt x="362808" y="1518411"/>
                    </a:lnTo>
                    <a:lnTo>
                      <a:pt x="386361" y="1533904"/>
                    </a:lnTo>
                    <a:lnTo>
                      <a:pt x="410425" y="1548589"/>
                    </a:lnTo>
                    <a:lnTo>
                      <a:pt x="434974" y="1562450"/>
                    </a:lnTo>
                    <a:lnTo>
                      <a:pt x="459978" y="1575471"/>
                    </a:lnTo>
                    <a:lnTo>
                      <a:pt x="485409" y="1587636"/>
                    </a:lnTo>
                    <a:lnTo>
                      <a:pt x="511238" y="1598933"/>
                    </a:lnTo>
                    <a:lnTo>
                      <a:pt x="537435" y="1609348"/>
                    </a:lnTo>
                    <a:lnTo>
                      <a:pt x="563970" y="1618868"/>
                    </a:lnTo>
                    <a:lnTo>
                      <a:pt x="590813" y="1627484"/>
                    </a:lnTo>
                    <a:lnTo>
                      <a:pt x="617932" y="1635185"/>
                    </a:lnTo>
                    <a:lnTo>
                      <a:pt x="645296" y="1641962"/>
                    </a:lnTo>
                    <a:lnTo>
                      <a:pt x="672875" y="1647808"/>
                    </a:lnTo>
                    <a:lnTo>
                      <a:pt x="700636" y="1652715"/>
                    </a:lnTo>
                    <a:lnTo>
                      <a:pt x="728547" y="1656679"/>
                    </a:lnTo>
                    <a:lnTo>
                      <a:pt x="756577" y="1659694"/>
                    </a:lnTo>
                    <a:lnTo>
                      <a:pt x="784693" y="1661757"/>
                    </a:lnTo>
                    <a:lnTo>
                      <a:pt x="812862" y="1662866"/>
                    </a:lnTo>
                    <a:lnTo>
                      <a:pt x="812862" y="1662866"/>
                    </a:lnTo>
                    <a:lnTo>
                      <a:pt x="813504" y="1634200"/>
                    </a:lnTo>
                    <a:lnTo>
                      <a:pt x="814146" y="1605533"/>
                    </a:lnTo>
                    <a:lnTo>
                      <a:pt x="814789" y="1576867"/>
                    </a:lnTo>
                    <a:lnTo>
                      <a:pt x="815431" y="1548200"/>
                    </a:lnTo>
                    <a:lnTo>
                      <a:pt x="816073" y="1519534"/>
                    </a:lnTo>
                    <a:lnTo>
                      <a:pt x="816715" y="1490867"/>
                    </a:lnTo>
                    <a:lnTo>
                      <a:pt x="817357" y="1462201"/>
                    </a:lnTo>
                    <a:lnTo>
                      <a:pt x="818000" y="1433534"/>
                    </a:lnTo>
                    <a:lnTo>
                      <a:pt x="818642" y="1404868"/>
                    </a:lnTo>
                    <a:lnTo>
                      <a:pt x="819284" y="1376201"/>
                    </a:lnTo>
                    <a:lnTo>
                      <a:pt x="819926" y="1347535"/>
                    </a:lnTo>
                    <a:lnTo>
                      <a:pt x="820568" y="1318868"/>
                    </a:lnTo>
                    <a:lnTo>
                      <a:pt x="821210" y="1290202"/>
                    </a:lnTo>
                    <a:lnTo>
                      <a:pt x="821853" y="1261535"/>
                    </a:lnTo>
                    <a:lnTo>
                      <a:pt x="822495" y="1232869"/>
                    </a:lnTo>
                    <a:lnTo>
                      <a:pt x="823137" y="1204202"/>
                    </a:lnTo>
                    <a:lnTo>
                      <a:pt x="823779" y="1175536"/>
                    </a:lnTo>
                    <a:lnTo>
                      <a:pt x="824421" y="1146869"/>
                    </a:lnTo>
                    <a:lnTo>
                      <a:pt x="825063" y="1118203"/>
                    </a:lnTo>
                    <a:lnTo>
                      <a:pt x="825706" y="1089536"/>
                    </a:lnTo>
                    <a:lnTo>
                      <a:pt x="826348" y="1060870"/>
                    </a:lnTo>
                    <a:lnTo>
                      <a:pt x="826990" y="1032203"/>
                    </a:lnTo>
                    <a:lnTo>
                      <a:pt x="827632" y="1003537"/>
                    </a:lnTo>
                    <a:lnTo>
                      <a:pt x="828274" y="974870"/>
                    </a:lnTo>
                    <a:lnTo>
                      <a:pt x="828917" y="946203"/>
                    </a:lnTo>
                    <a:lnTo>
                      <a:pt x="829559" y="917537"/>
                    </a:lnTo>
                    <a:lnTo>
                      <a:pt x="830201" y="888870"/>
                    </a:lnTo>
                    <a:lnTo>
                      <a:pt x="830843" y="860204"/>
                    </a:lnTo>
                    <a:lnTo>
                      <a:pt x="831485" y="831537"/>
                    </a:lnTo>
                    <a:lnTo>
                      <a:pt x="831485" y="831537"/>
                    </a:lnTo>
                    <a:close/>
                  </a:path>
                </a:pathLst>
              </a:custGeom>
              <a:solidFill>
                <a:schemeClr val="accent1"/>
              </a:solidFill>
              <a:ln w="13500">
                <a:noFill/>
                <a:prstDash val="solid"/>
                <a:round/>
              </a:ln>
            </p:spPr>
            <p:txBody>
              <a:bodyPr/>
              <a:lstStyle/>
              <a:p>
                <a:endParaRPr>
                  <a:solidFill>
                    <a:srgbClr val="D8D7A4"/>
                  </a:solidFill>
                </a:endParaRPr>
              </a:p>
            </p:txBody>
          </p:sp>
          <p:sp>
            <p:nvSpPr>
              <p:cNvPr id="22" name="Text 11"/>
              <p:cNvSpPr/>
              <p:nvPr/>
            </p:nvSpPr>
            <p:spPr>
              <a:xfrm>
                <a:off x="7624771" y="4840744"/>
                <a:ext cx="457200" cy="126744"/>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dirty="0">
                    <a:solidFill>
                      <a:srgbClr val="FFFFFF"/>
                    </a:solidFill>
                    <a:latin typeface="Helvetica"/>
                    <a:cs typeface="Helvetica"/>
                  </a:rPr>
                  <a:t>27%</a:t>
                </a:r>
                <a:endParaRPr sz="1400" dirty="0">
                  <a:solidFill>
                    <a:srgbClr val="FFFFFF"/>
                  </a:solidFill>
                  <a:latin typeface="Helvetica"/>
                  <a:cs typeface="Helvetica"/>
                </a:endParaRPr>
              </a:p>
            </p:txBody>
          </p:sp>
          <p:sp>
            <p:nvSpPr>
              <p:cNvPr id="23" name="Text 12"/>
              <p:cNvSpPr/>
              <p:nvPr/>
            </p:nvSpPr>
            <p:spPr>
              <a:xfrm>
                <a:off x="7760761" y="5358717"/>
                <a:ext cx="457200" cy="115416"/>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a:latin typeface="Helvetica"/>
                    <a:cs typeface="Helvetica"/>
                  </a:rPr>
                  <a:t>11%</a:t>
                </a:r>
                <a:endParaRPr sz="1400">
                  <a:latin typeface="Helvetica"/>
                  <a:cs typeface="Helvetica"/>
                </a:endParaRPr>
              </a:p>
            </p:txBody>
          </p:sp>
          <p:sp>
            <p:nvSpPr>
              <p:cNvPr id="24" name="Text 13"/>
              <p:cNvSpPr/>
              <p:nvPr/>
            </p:nvSpPr>
            <p:spPr>
              <a:xfrm>
                <a:off x="7466455" y="5679586"/>
                <a:ext cx="457200" cy="115416"/>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dirty="0">
                    <a:latin typeface="Helvetica"/>
                    <a:cs typeface="Helvetica"/>
                  </a:rPr>
                  <a:t>12%</a:t>
                </a:r>
                <a:endParaRPr sz="1400" dirty="0">
                  <a:latin typeface="Helvetica"/>
                  <a:cs typeface="Helvetica"/>
                </a:endParaRPr>
              </a:p>
            </p:txBody>
          </p:sp>
          <p:sp>
            <p:nvSpPr>
              <p:cNvPr id="25" name="Text 14"/>
              <p:cNvSpPr/>
              <p:nvPr/>
            </p:nvSpPr>
            <p:spPr>
              <a:xfrm>
                <a:off x="6858064" y="5097030"/>
                <a:ext cx="457200" cy="127856"/>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dirty="0">
                    <a:solidFill>
                      <a:schemeClr val="bg1"/>
                    </a:solidFill>
                    <a:latin typeface="Helvetica"/>
                    <a:cs typeface="Helvetica"/>
                  </a:rPr>
                  <a:t>50%</a:t>
                </a:r>
                <a:endParaRPr sz="1400" dirty="0">
                  <a:solidFill>
                    <a:schemeClr val="bg1"/>
                  </a:solidFill>
                  <a:latin typeface="Helvetica"/>
                  <a:cs typeface="Helvetica"/>
                </a:endParaRPr>
              </a:p>
            </p:txBody>
          </p:sp>
        </p:grpSp>
        <p:sp>
          <p:nvSpPr>
            <p:cNvPr id="54" name="Rectangle 19"/>
            <p:cNvSpPr>
              <a:spLocks noChangeArrowheads="1"/>
            </p:cNvSpPr>
            <p:nvPr>
              <p:custDataLst>
                <p:tags r:id="rId7"/>
              </p:custDataLst>
            </p:nvPr>
          </p:nvSpPr>
          <p:spPr bwMode="gray">
            <a:xfrm>
              <a:off x="6473074" y="3447027"/>
              <a:ext cx="1498997" cy="313953"/>
            </a:xfrm>
            <a:prstGeom prst="rect">
              <a:avLst/>
            </a:prstGeom>
            <a:noFill/>
            <a:ln w="9525">
              <a:noFill/>
              <a:miter lim="800000"/>
            </a:ln>
            <a:effectLst/>
          </p:spPr>
          <p:txBody>
            <a:bodyPr wrap="none" lIns="82945" tIns="41473" rIns="82945" bIns="41473" anchor="ctr"/>
            <a:lstStyle/>
            <a:p>
              <a:pPr algn="ctr">
                <a:spcBef>
                  <a:spcPct val="50000"/>
                </a:spcBef>
                <a:buClr>
                  <a:srgbClr val="000099"/>
                </a:buClr>
                <a:buSzPct val="70000"/>
                <a:buFont typeface="Wingdings" panose="05000000000000000000" pitchFamily="2" charset="2"/>
                <a:buNone/>
              </a:pPr>
              <a:r>
                <a:rPr lang="zh-CN" altLang="en-US" sz="1800" b="1" dirty="0">
                  <a:solidFill>
                    <a:srgbClr val="53565A"/>
                  </a:solidFill>
                </a:rPr>
                <a:t>被引用</a:t>
              </a:r>
              <a:endParaRPr lang="en-GB" sz="1800" b="1" dirty="0">
                <a:solidFill>
                  <a:srgbClr val="53565A"/>
                </a:solidFill>
              </a:endParaRPr>
            </a:p>
          </p:txBody>
        </p:sp>
      </p:grpSp>
      <p:grpSp>
        <p:nvGrpSpPr>
          <p:cNvPr id="7" name="Group 6"/>
          <p:cNvGrpSpPr/>
          <p:nvPr/>
        </p:nvGrpSpPr>
        <p:grpSpPr>
          <a:xfrm>
            <a:off x="3826877" y="3532087"/>
            <a:ext cx="1663003" cy="2136360"/>
            <a:chOff x="3877679" y="3447027"/>
            <a:chExt cx="1663003" cy="2136360"/>
          </a:xfrm>
        </p:grpSpPr>
        <p:grpSp>
          <p:nvGrpSpPr>
            <p:cNvPr id="26" name="Groupe 5"/>
            <p:cNvGrpSpPr/>
            <p:nvPr/>
          </p:nvGrpSpPr>
          <p:grpSpPr>
            <a:xfrm>
              <a:off x="3877679" y="3920410"/>
              <a:ext cx="1663003" cy="1662977"/>
              <a:chOff x="694568" y="4323083"/>
              <a:chExt cx="1663003" cy="1662977"/>
            </a:xfrm>
          </p:grpSpPr>
          <p:sp>
            <p:nvSpPr>
              <p:cNvPr id="27" name="Polygon form 7"/>
              <p:cNvSpPr/>
              <p:nvPr/>
            </p:nvSpPr>
            <p:spPr>
              <a:xfrm>
                <a:off x="1526070" y="4323083"/>
                <a:ext cx="785519" cy="831537"/>
              </a:xfrm>
              <a:custGeom>
                <a:avLst/>
                <a:gdLst/>
                <a:ahLst/>
                <a:cxnLst/>
                <a:rect l="0" t="0" r="0" b="0"/>
                <a:pathLst>
                  <a:path w="785519" h="831537">
                    <a:moveTo>
                      <a:pt x="0" y="831537"/>
                    </a:moveTo>
                    <a:lnTo>
                      <a:pt x="27087" y="822131"/>
                    </a:lnTo>
                    <a:lnTo>
                      <a:pt x="54174" y="812724"/>
                    </a:lnTo>
                    <a:lnTo>
                      <a:pt x="81261" y="803318"/>
                    </a:lnTo>
                    <a:lnTo>
                      <a:pt x="108347" y="793911"/>
                    </a:lnTo>
                    <a:lnTo>
                      <a:pt x="135434" y="784505"/>
                    </a:lnTo>
                    <a:lnTo>
                      <a:pt x="162521" y="775098"/>
                    </a:lnTo>
                    <a:lnTo>
                      <a:pt x="189608" y="765692"/>
                    </a:lnTo>
                    <a:lnTo>
                      <a:pt x="216695" y="756285"/>
                    </a:lnTo>
                    <a:lnTo>
                      <a:pt x="243782" y="746879"/>
                    </a:lnTo>
                    <a:lnTo>
                      <a:pt x="270869" y="737472"/>
                    </a:lnTo>
                    <a:lnTo>
                      <a:pt x="297956" y="728066"/>
                    </a:lnTo>
                    <a:lnTo>
                      <a:pt x="325042" y="718659"/>
                    </a:lnTo>
                    <a:lnTo>
                      <a:pt x="352129" y="709253"/>
                    </a:lnTo>
                    <a:lnTo>
                      <a:pt x="379216" y="699846"/>
                    </a:lnTo>
                    <a:lnTo>
                      <a:pt x="406303" y="690440"/>
                    </a:lnTo>
                    <a:lnTo>
                      <a:pt x="433390" y="681033"/>
                    </a:lnTo>
                    <a:lnTo>
                      <a:pt x="460477" y="671627"/>
                    </a:lnTo>
                    <a:lnTo>
                      <a:pt x="487564" y="662220"/>
                    </a:lnTo>
                    <a:lnTo>
                      <a:pt x="514651" y="652813"/>
                    </a:lnTo>
                    <a:lnTo>
                      <a:pt x="541737" y="643407"/>
                    </a:lnTo>
                    <a:lnTo>
                      <a:pt x="568824" y="634000"/>
                    </a:lnTo>
                    <a:lnTo>
                      <a:pt x="595911" y="624594"/>
                    </a:lnTo>
                    <a:lnTo>
                      <a:pt x="622998" y="615187"/>
                    </a:lnTo>
                    <a:lnTo>
                      <a:pt x="650085" y="605781"/>
                    </a:lnTo>
                    <a:lnTo>
                      <a:pt x="677172" y="596374"/>
                    </a:lnTo>
                    <a:lnTo>
                      <a:pt x="704259" y="586968"/>
                    </a:lnTo>
                    <a:lnTo>
                      <a:pt x="731346" y="577561"/>
                    </a:lnTo>
                    <a:lnTo>
                      <a:pt x="758432" y="568155"/>
                    </a:lnTo>
                    <a:lnTo>
                      <a:pt x="785519" y="558748"/>
                    </a:lnTo>
                    <a:lnTo>
                      <a:pt x="785519" y="558748"/>
                    </a:lnTo>
                    <a:lnTo>
                      <a:pt x="775688" y="531933"/>
                    </a:lnTo>
                    <a:lnTo>
                      <a:pt x="764941" y="505471"/>
                    </a:lnTo>
                    <a:lnTo>
                      <a:pt x="753292" y="479394"/>
                    </a:lnTo>
                    <a:lnTo>
                      <a:pt x="740755" y="453732"/>
                    </a:lnTo>
                    <a:lnTo>
                      <a:pt x="727343" y="428516"/>
                    </a:lnTo>
                    <a:lnTo>
                      <a:pt x="713074" y="403775"/>
                    </a:lnTo>
                    <a:lnTo>
                      <a:pt x="697963" y="379539"/>
                    </a:lnTo>
                    <a:lnTo>
                      <a:pt x="682029" y="355836"/>
                    </a:lnTo>
                    <a:lnTo>
                      <a:pt x="665290" y="332695"/>
                    </a:lnTo>
                    <a:lnTo>
                      <a:pt x="647766" y="310142"/>
                    </a:lnTo>
                    <a:lnTo>
                      <a:pt x="629478" y="288204"/>
                    </a:lnTo>
                    <a:lnTo>
                      <a:pt x="610448" y="266907"/>
                    </a:lnTo>
                    <a:lnTo>
                      <a:pt x="590697" y="246276"/>
                    </a:lnTo>
                    <a:lnTo>
                      <a:pt x="570250" y="226335"/>
                    </a:lnTo>
                    <a:lnTo>
                      <a:pt x="549130" y="207109"/>
                    </a:lnTo>
                    <a:lnTo>
                      <a:pt x="527362" y="188619"/>
                    </a:lnTo>
                    <a:lnTo>
                      <a:pt x="504971" y="170887"/>
                    </a:lnTo>
                    <a:lnTo>
                      <a:pt x="481986" y="153935"/>
                    </a:lnTo>
                    <a:lnTo>
                      <a:pt x="458431" y="137783"/>
                    </a:lnTo>
                    <a:lnTo>
                      <a:pt x="434336" y="122449"/>
                    </a:lnTo>
                    <a:lnTo>
                      <a:pt x="409728" y="107951"/>
                    </a:lnTo>
                    <a:lnTo>
                      <a:pt x="384637" y="94307"/>
                    </a:lnTo>
                    <a:lnTo>
                      <a:pt x="359092" y="81533"/>
                    </a:lnTo>
                    <a:lnTo>
                      <a:pt x="333124" y="69643"/>
                    </a:lnTo>
                    <a:lnTo>
                      <a:pt x="306762" y="58652"/>
                    </a:lnTo>
                    <a:lnTo>
                      <a:pt x="280039" y="48573"/>
                    </a:lnTo>
                    <a:lnTo>
                      <a:pt x="252985" y="39418"/>
                    </a:lnTo>
                    <a:lnTo>
                      <a:pt x="225633" y="31197"/>
                    </a:lnTo>
                    <a:lnTo>
                      <a:pt x="198015" y="23921"/>
                    </a:lnTo>
                    <a:lnTo>
                      <a:pt x="170163" y="17597"/>
                    </a:lnTo>
                    <a:lnTo>
                      <a:pt x="142110" y="12233"/>
                    </a:lnTo>
                    <a:lnTo>
                      <a:pt x="113890" y="7836"/>
                    </a:lnTo>
                    <a:lnTo>
                      <a:pt x="85535" y="4411"/>
                    </a:lnTo>
                    <a:lnTo>
                      <a:pt x="57080" y="1961"/>
                    </a:lnTo>
                    <a:lnTo>
                      <a:pt x="28557" y="490"/>
                    </a:lnTo>
                    <a:lnTo>
                      <a:pt x="0" y="0"/>
                    </a:lnTo>
                    <a:lnTo>
                      <a:pt x="0" y="0"/>
                    </a:lnTo>
                    <a:lnTo>
                      <a:pt x="0" y="28674"/>
                    </a:lnTo>
                    <a:lnTo>
                      <a:pt x="0" y="57347"/>
                    </a:lnTo>
                    <a:lnTo>
                      <a:pt x="0" y="86021"/>
                    </a:lnTo>
                    <a:lnTo>
                      <a:pt x="0" y="114695"/>
                    </a:lnTo>
                    <a:lnTo>
                      <a:pt x="0" y="143369"/>
                    </a:lnTo>
                    <a:lnTo>
                      <a:pt x="0" y="172042"/>
                    </a:lnTo>
                    <a:lnTo>
                      <a:pt x="0" y="200716"/>
                    </a:lnTo>
                    <a:lnTo>
                      <a:pt x="0" y="229390"/>
                    </a:lnTo>
                    <a:lnTo>
                      <a:pt x="0" y="258063"/>
                    </a:lnTo>
                    <a:lnTo>
                      <a:pt x="0" y="286737"/>
                    </a:lnTo>
                    <a:lnTo>
                      <a:pt x="0" y="315411"/>
                    </a:lnTo>
                    <a:lnTo>
                      <a:pt x="0" y="344084"/>
                    </a:lnTo>
                    <a:lnTo>
                      <a:pt x="0" y="372758"/>
                    </a:lnTo>
                    <a:lnTo>
                      <a:pt x="0" y="401432"/>
                    </a:lnTo>
                    <a:lnTo>
                      <a:pt x="0" y="430106"/>
                    </a:lnTo>
                    <a:lnTo>
                      <a:pt x="0" y="458779"/>
                    </a:lnTo>
                    <a:lnTo>
                      <a:pt x="0" y="487453"/>
                    </a:lnTo>
                    <a:lnTo>
                      <a:pt x="0" y="516127"/>
                    </a:lnTo>
                    <a:lnTo>
                      <a:pt x="0" y="544800"/>
                    </a:lnTo>
                    <a:lnTo>
                      <a:pt x="0" y="573474"/>
                    </a:lnTo>
                    <a:lnTo>
                      <a:pt x="0" y="602148"/>
                    </a:lnTo>
                    <a:lnTo>
                      <a:pt x="0" y="630821"/>
                    </a:lnTo>
                    <a:lnTo>
                      <a:pt x="0" y="659495"/>
                    </a:lnTo>
                    <a:lnTo>
                      <a:pt x="0" y="688169"/>
                    </a:lnTo>
                    <a:lnTo>
                      <a:pt x="0" y="716843"/>
                    </a:lnTo>
                    <a:lnTo>
                      <a:pt x="0" y="745516"/>
                    </a:lnTo>
                    <a:lnTo>
                      <a:pt x="0" y="774190"/>
                    </a:lnTo>
                    <a:lnTo>
                      <a:pt x="0" y="802864"/>
                    </a:lnTo>
                    <a:lnTo>
                      <a:pt x="0" y="831537"/>
                    </a:lnTo>
                    <a:lnTo>
                      <a:pt x="0" y="831537"/>
                    </a:lnTo>
                    <a:close/>
                  </a:path>
                </a:pathLst>
              </a:custGeom>
              <a:solidFill>
                <a:srgbClr val="FF8200"/>
              </a:solidFill>
              <a:ln w="13500">
                <a:noFill/>
                <a:prstDash val="solid"/>
                <a:round/>
              </a:ln>
            </p:spPr>
            <p:txBody>
              <a:bodyPr/>
              <a:lstStyle/>
              <a:p/>
            </p:txBody>
          </p:sp>
          <p:sp>
            <p:nvSpPr>
              <p:cNvPr id="28" name="Polygon form 8"/>
              <p:cNvSpPr/>
              <p:nvPr/>
            </p:nvSpPr>
            <p:spPr>
              <a:xfrm>
                <a:off x="1526070" y="4881831"/>
                <a:ext cx="831501" cy="613204"/>
              </a:xfrm>
              <a:custGeom>
                <a:avLst/>
                <a:gdLst/>
                <a:ahLst/>
                <a:cxnLst/>
                <a:rect l="0" t="0" r="0" b="0"/>
                <a:pathLst>
                  <a:path w="831501" h="613204">
                    <a:moveTo>
                      <a:pt x="0" y="272789"/>
                    </a:moveTo>
                    <a:lnTo>
                      <a:pt x="26161" y="284528"/>
                    </a:lnTo>
                    <a:lnTo>
                      <a:pt x="52322" y="296266"/>
                    </a:lnTo>
                    <a:lnTo>
                      <a:pt x="78483" y="308005"/>
                    </a:lnTo>
                    <a:lnTo>
                      <a:pt x="104643" y="319743"/>
                    </a:lnTo>
                    <a:lnTo>
                      <a:pt x="130804" y="331481"/>
                    </a:lnTo>
                    <a:lnTo>
                      <a:pt x="156965" y="343220"/>
                    </a:lnTo>
                    <a:lnTo>
                      <a:pt x="183126" y="354958"/>
                    </a:lnTo>
                    <a:lnTo>
                      <a:pt x="209287" y="366697"/>
                    </a:lnTo>
                    <a:lnTo>
                      <a:pt x="235448" y="378435"/>
                    </a:lnTo>
                    <a:lnTo>
                      <a:pt x="261609" y="390174"/>
                    </a:lnTo>
                    <a:lnTo>
                      <a:pt x="287769" y="401912"/>
                    </a:lnTo>
                    <a:lnTo>
                      <a:pt x="313930" y="413650"/>
                    </a:lnTo>
                    <a:lnTo>
                      <a:pt x="340091" y="425389"/>
                    </a:lnTo>
                    <a:lnTo>
                      <a:pt x="366252" y="437127"/>
                    </a:lnTo>
                    <a:lnTo>
                      <a:pt x="392413" y="448866"/>
                    </a:lnTo>
                    <a:lnTo>
                      <a:pt x="418574" y="460604"/>
                    </a:lnTo>
                    <a:lnTo>
                      <a:pt x="444735" y="472343"/>
                    </a:lnTo>
                    <a:lnTo>
                      <a:pt x="470895" y="484081"/>
                    </a:lnTo>
                    <a:lnTo>
                      <a:pt x="497056" y="495819"/>
                    </a:lnTo>
                    <a:lnTo>
                      <a:pt x="523217" y="507558"/>
                    </a:lnTo>
                    <a:lnTo>
                      <a:pt x="549378" y="519296"/>
                    </a:lnTo>
                    <a:lnTo>
                      <a:pt x="575539" y="531035"/>
                    </a:lnTo>
                    <a:lnTo>
                      <a:pt x="601700" y="542773"/>
                    </a:lnTo>
                    <a:lnTo>
                      <a:pt x="627861" y="554512"/>
                    </a:lnTo>
                    <a:lnTo>
                      <a:pt x="654021" y="566250"/>
                    </a:lnTo>
                    <a:lnTo>
                      <a:pt x="680182" y="577988"/>
                    </a:lnTo>
                    <a:lnTo>
                      <a:pt x="706343" y="589727"/>
                    </a:lnTo>
                    <a:lnTo>
                      <a:pt x="732504" y="601465"/>
                    </a:lnTo>
                    <a:lnTo>
                      <a:pt x="758665" y="613204"/>
                    </a:lnTo>
                    <a:lnTo>
                      <a:pt x="758665" y="613204"/>
                    </a:lnTo>
                    <a:lnTo>
                      <a:pt x="769913" y="586937"/>
                    </a:lnTo>
                    <a:lnTo>
                      <a:pt x="780252" y="560299"/>
                    </a:lnTo>
                    <a:lnTo>
                      <a:pt x="789669" y="533322"/>
                    </a:lnTo>
                    <a:lnTo>
                      <a:pt x="798154" y="506037"/>
                    </a:lnTo>
                    <a:lnTo>
                      <a:pt x="805697" y="478476"/>
                    </a:lnTo>
                    <a:lnTo>
                      <a:pt x="812288" y="450673"/>
                    </a:lnTo>
                    <a:lnTo>
                      <a:pt x="817920" y="422660"/>
                    </a:lnTo>
                    <a:lnTo>
                      <a:pt x="822586" y="394469"/>
                    </a:lnTo>
                    <a:lnTo>
                      <a:pt x="826281" y="366135"/>
                    </a:lnTo>
                    <a:lnTo>
                      <a:pt x="829001" y="337691"/>
                    </a:lnTo>
                    <a:lnTo>
                      <a:pt x="830741" y="309170"/>
                    </a:lnTo>
                    <a:lnTo>
                      <a:pt x="831501" y="280607"/>
                    </a:lnTo>
                    <a:lnTo>
                      <a:pt x="831278" y="252034"/>
                    </a:lnTo>
                    <a:lnTo>
                      <a:pt x="830074" y="223485"/>
                    </a:lnTo>
                    <a:lnTo>
                      <a:pt x="827890" y="194995"/>
                    </a:lnTo>
                    <a:lnTo>
                      <a:pt x="824729" y="166596"/>
                    </a:lnTo>
                    <a:lnTo>
                      <a:pt x="820593" y="138323"/>
                    </a:lnTo>
                    <a:lnTo>
                      <a:pt x="815489" y="110209"/>
                    </a:lnTo>
                    <a:lnTo>
                      <a:pt x="809422" y="82287"/>
                    </a:lnTo>
                    <a:lnTo>
                      <a:pt x="802398" y="54589"/>
                    </a:lnTo>
                    <a:lnTo>
                      <a:pt x="794428" y="27150"/>
                    </a:lnTo>
                    <a:lnTo>
                      <a:pt x="785519" y="0"/>
                    </a:lnTo>
                    <a:lnTo>
                      <a:pt x="785519" y="0"/>
                    </a:lnTo>
                    <a:lnTo>
                      <a:pt x="758432" y="9407"/>
                    </a:lnTo>
                    <a:lnTo>
                      <a:pt x="731346" y="18813"/>
                    </a:lnTo>
                    <a:lnTo>
                      <a:pt x="704259" y="28220"/>
                    </a:lnTo>
                    <a:lnTo>
                      <a:pt x="677172" y="37626"/>
                    </a:lnTo>
                    <a:lnTo>
                      <a:pt x="650085" y="47033"/>
                    </a:lnTo>
                    <a:lnTo>
                      <a:pt x="622998" y="56439"/>
                    </a:lnTo>
                    <a:lnTo>
                      <a:pt x="595911" y="65846"/>
                    </a:lnTo>
                    <a:lnTo>
                      <a:pt x="568824" y="75252"/>
                    </a:lnTo>
                    <a:lnTo>
                      <a:pt x="541737" y="84659"/>
                    </a:lnTo>
                    <a:lnTo>
                      <a:pt x="514651" y="94065"/>
                    </a:lnTo>
                    <a:lnTo>
                      <a:pt x="487564" y="103472"/>
                    </a:lnTo>
                    <a:lnTo>
                      <a:pt x="460477" y="112878"/>
                    </a:lnTo>
                    <a:lnTo>
                      <a:pt x="433390" y="122285"/>
                    </a:lnTo>
                    <a:lnTo>
                      <a:pt x="406303" y="131691"/>
                    </a:lnTo>
                    <a:lnTo>
                      <a:pt x="379216" y="141098"/>
                    </a:lnTo>
                    <a:lnTo>
                      <a:pt x="352129" y="150504"/>
                    </a:lnTo>
                    <a:lnTo>
                      <a:pt x="325042" y="159911"/>
                    </a:lnTo>
                    <a:lnTo>
                      <a:pt x="297956" y="169317"/>
                    </a:lnTo>
                    <a:lnTo>
                      <a:pt x="270869" y="178724"/>
                    </a:lnTo>
                    <a:lnTo>
                      <a:pt x="243782" y="188130"/>
                    </a:lnTo>
                    <a:lnTo>
                      <a:pt x="216695" y="197537"/>
                    </a:lnTo>
                    <a:lnTo>
                      <a:pt x="189608" y="206944"/>
                    </a:lnTo>
                    <a:lnTo>
                      <a:pt x="162521" y="216350"/>
                    </a:lnTo>
                    <a:lnTo>
                      <a:pt x="135434" y="225757"/>
                    </a:lnTo>
                    <a:lnTo>
                      <a:pt x="108347" y="235163"/>
                    </a:lnTo>
                    <a:lnTo>
                      <a:pt x="81261" y="244570"/>
                    </a:lnTo>
                    <a:lnTo>
                      <a:pt x="54174" y="253976"/>
                    </a:lnTo>
                    <a:lnTo>
                      <a:pt x="27087" y="263383"/>
                    </a:lnTo>
                    <a:lnTo>
                      <a:pt x="0" y="272789"/>
                    </a:lnTo>
                    <a:lnTo>
                      <a:pt x="0" y="272789"/>
                    </a:lnTo>
                    <a:close/>
                  </a:path>
                </a:pathLst>
              </a:custGeom>
              <a:solidFill>
                <a:schemeClr val="tx1">
                  <a:lumMod val="20000"/>
                  <a:lumOff val="80000"/>
                </a:schemeClr>
              </a:solidFill>
              <a:ln w="13500">
                <a:noFill/>
                <a:prstDash val="solid"/>
                <a:round/>
              </a:ln>
            </p:spPr>
            <p:txBody>
              <a:bodyPr/>
              <a:lstStyle/>
              <a:p/>
            </p:txBody>
          </p:sp>
          <p:sp>
            <p:nvSpPr>
              <p:cNvPr id="29" name="Polygon form 9"/>
              <p:cNvSpPr/>
              <p:nvPr/>
            </p:nvSpPr>
            <p:spPr>
              <a:xfrm>
                <a:off x="1526070" y="5154620"/>
                <a:ext cx="758665" cy="656745"/>
              </a:xfrm>
              <a:custGeom>
                <a:avLst/>
                <a:gdLst/>
                <a:ahLst/>
                <a:cxnLst/>
                <a:rect l="0" t="0" r="0" b="0"/>
                <a:pathLst>
                  <a:path w="758665" h="656745">
                    <a:moveTo>
                      <a:pt x="0" y="0"/>
                    </a:moveTo>
                    <a:lnTo>
                      <a:pt x="17588" y="22646"/>
                    </a:lnTo>
                    <a:lnTo>
                      <a:pt x="35175" y="45293"/>
                    </a:lnTo>
                    <a:lnTo>
                      <a:pt x="52763" y="67939"/>
                    </a:lnTo>
                    <a:lnTo>
                      <a:pt x="70350" y="90586"/>
                    </a:lnTo>
                    <a:lnTo>
                      <a:pt x="87938" y="113232"/>
                    </a:lnTo>
                    <a:lnTo>
                      <a:pt x="105525" y="135878"/>
                    </a:lnTo>
                    <a:lnTo>
                      <a:pt x="123113" y="158525"/>
                    </a:lnTo>
                    <a:lnTo>
                      <a:pt x="140701" y="181171"/>
                    </a:lnTo>
                    <a:lnTo>
                      <a:pt x="158288" y="203817"/>
                    </a:lnTo>
                    <a:lnTo>
                      <a:pt x="175876" y="226464"/>
                    </a:lnTo>
                    <a:lnTo>
                      <a:pt x="193463" y="249110"/>
                    </a:lnTo>
                    <a:lnTo>
                      <a:pt x="211051" y="271757"/>
                    </a:lnTo>
                    <a:lnTo>
                      <a:pt x="228638" y="294403"/>
                    </a:lnTo>
                    <a:lnTo>
                      <a:pt x="246226" y="317049"/>
                    </a:lnTo>
                    <a:lnTo>
                      <a:pt x="263814" y="339696"/>
                    </a:lnTo>
                    <a:lnTo>
                      <a:pt x="281401" y="362342"/>
                    </a:lnTo>
                    <a:lnTo>
                      <a:pt x="298989" y="384989"/>
                    </a:lnTo>
                    <a:lnTo>
                      <a:pt x="316576" y="407635"/>
                    </a:lnTo>
                    <a:lnTo>
                      <a:pt x="334164" y="430281"/>
                    </a:lnTo>
                    <a:lnTo>
                      <a:pt x="351751" y="452928"/>
                    </a:lnTo>
                    <a:lnTo>
                      <a:pt x="369339" y="475574"/>
                    </a:lnTo>
                    <a:lnTo>
                      <a:pt x="386927" y="498220"/>
                    </a:lnTo>
                    <a:lnTo>
                      <a:pt x="404514" y="520867"/>
                    </a:lnTo>
                    <a:lnTo>
                      <a:pt x="422102" y="543513"/>
                    </a:lnTo>
                    <a:lnTo>
                      <a:pt x="439689" y="566160"/>
                    </a:lnTo>
                    <a:lnTo>
                      <a:pt x="457277" y="588806"/>
                    </a:lnTo>
                    <a:lnTo>
                      <a:pt x="474864" y="611452"/>
                    </a:lnTo>
                    <a:lnTo>
                      <a:pt x="492452" y="634099"/>
                    </a:lnTo>
                    <a:lnTo>
                      <a:pt x="510040" y="656745"/>
                    </a:lnTo>
                    <a:lnTo>
                      <a:pt x="510040" y="656745"/>
                    </a:lnTo>
                    <a:lnTo>
                      <a:pt x="532649" y="638545"/>
                    </a:lnTo>
                    <a:lnTo>
                      <a:pt x="554610" y="619566"/>
                    </a:lnTo>
                    <a:lnTo>
                      <a:pt x="575895" y="599832"/>
                    </a:lnTo>
                    <a:lnTo>
                      <a:pt x="596479" y="579368"/>
                    </a:lnTo>
                    <a:lnTo>
                      <a:pt x="616336" y="558198"/>
                    </a:lnTo>
                    <a:lnTo>
                      <a:pt x="635441" y="536348"/>
                    </a:lnTo>
                    <a:lnTo>
                      <a:pt x="653773" y="513844"/>
                    </a:lnTo>
                    <a:lnTo>
                      <a:pt x="671308" y="490714"/>
                    </a:lnTo>
                    <a:lnTo>
                      <a:pt x="688025" y="466986"/>
                    </a:lnTo>
                    <a:lnTo>
                      <a:pt x="703904" y="442690"/>
                    </a:lnTo>
                    <a:lnTo>
                      <a:pt x="718925" y="417853"/>
                    </a:lnTo>
                    <a:lnTo>
                      <a:pt x="733070" y="392508"/>
                    </a:lnTo>
                    <a:lnTo>
                      <a:pt x="746322" y="366685"/>
                    </a:lnTo>
                    <a:lnTo>
                      <a:pt x="758665" y="340415"/>
                    </a:lnTo>
                    <a:lnTo>
                      <a:pt x="758665" y="340415"/>
                    </a:lnTo>
                    <a:lnTo>
                      <a:pt x="732504" y="328676"/>
                    </a:lnTo>
                    <a:lnTo>
                      <a:pt x="706343" y="316938"/>
                    </a:lnTo>
                    <a:lnTo>
                      <a:pt x="680182" y="305199"/>
                    </a:lnTo>
                    <a:lnTo>
                      <a:pt x="654021" y="293461"/>
                    </a:lnTo>
                    <a:lnTo>
                      <a:pt x="627861" y="281722"/>
                    </a:lnTo>
                    <a:lnTo>
                      <a:pt x="601700" y="269984"/>
                    </a:lnTo>
                    <a:lnTo>
                      <a:pt x="575539" y="258246"/>
                    </a:lnTo>
                    <a:lnTo>
                      <a:pt x="549378" y="246507"/>
                    </a:lnTo>
                    <a:lnTo>
                      <a:pt x="523217" y="234769"/>
                    </a:lnTo>
                    <a:lnTo>
                      <a:pt x="497056" y="223030"/>
                    </a:lnTo>
                    <a:lnTo>
                      <a:pt x="470895" y="211292"/>
                    </a:lnTo>
                    <a:lnTo>
                      <a:pt x="444735" y="199553"/>
                    </a:lnTo>
                    <a:lnTo>
                      <a:pt x="418574" y="187815"/>
                    </a:lnTo>
                    <a:lnTo>
                      <a:pt x="392413" y="176077"/>
                    </a:lnTo>
                    <a:lnTo>
                      <a:pt x="366252" y="164338"/>
                    </a:lnTo>
                    <a:lnTo>
                      <a:pt x="340091" y="152600"/>
                    </a:lnTo>
                    <a:lnTo>
                      <a:pt x="313930" y="140861"/>
                    </a:lnTo>
                    <a:lnTo>
                      <a:pt x="287769" y="129123"/>
                    </a:lnTo>
                    <a:lnTo>
                      <a:pt x="261609" y="117384"/>
                    </a:lnTo>
                    <a:lnTo>
                      <a:pt x="235448" y="105646"/>
                    </a:lnTo>
                    <a:lnTo>
                      <a:pt x="209287" y="93907"/>
                    </a:lnTo>
                    <a:lnTo>
                      <a:pt x="183126" y="82169"/>
                    </a:lnTo>
                    <a:lnTo>
                      <a:pt x="156965" y="70431"/>
                    </a:lnTo>
                    <a:lnTo>
                      <a:pt x="130804" y="58692"/>
                    </a:lnTo>
                    <a:lnTo>
                      <a:pt x="104643" y="46954"/>
                    </a:lnTo>
                    <a:lnTo>
                      <a:pt x="78483" y="35215"/>
                    </a:lnTo>
                    <a:lnTo>
                      <a:pt x="52322" y="23477"/>
                    </a:lnTo>
                    <a:lnTo>
                      <a:pt x="26161" y="11738"/>
                    </a:lnTo>
                    <a:lnTo>
                      <a:pt x="0" y="0"/>
                    </a:lnTo>
                    <a:lnTo>
                      <a:pt x="0" y="0"/>
                    </a:lnTo>
                    <a:close/>
                  </a:path>
                </a:pathLst>
              </a:custGeom>
              <a:solidFill>
                <a:schemeClr val="tx1">
                  <a:lumMod val="40000"/>
                  <a:lumOff val="60000"/>
                </a:schemeClr>
              </a:solidFill>
              <a:ln w="13500">
                <a:noFill/>
                <a:prstDash val="solid"/>
                <a:round/>
              </a:ln>
            </p:spPr>
            <p:txBody>
              <a:bodyPr/>
              <a:lstStyle/>
              <a:p/>
            </p:txBody>
          </p:sp>
          <p:sp>
            <p:nvSpPr>
              <p:cNvPr id="30" name="Polygon form 10"/>
              <p:cNvSpPr/>
              <p:nvPr/>
            </p:nvSpPr>
            <p:spPr>
              <a:xfrm>
                <a:off x="694568" y="4323083"/>
                <a:ext cx="1341541" cy="1662977"/>
              </a:xfrm>
              <a:custGeom>
                <a:avLst/>
                <a:gdLst/>
                <a:ahLst/>
                <a:cxnLst/>
                <a:rect l="0" t="0" r="0" b="0"/>
                <a:pathLst>
                  <a:path w="1341541" h="1662977">
                    <a:moveTo>
                      <a:pt x="831501" y="831537"/>
                    </a:moveTo>
                    <a:lnTo>
                      <a:pt x="831501" y="802864"/>
                    </a:lnTo>
                    <a:lnTo>
                      <a:pt x="831501" y="774190"/>
                    </a:lnTo>
                    <a:lnTo>
                      <a:pt x="831501" y="745516"/>
                    </a:lnTo>
                    <a:lnTo>
                      <a:pt x="831501" y="716843"/>
                    </a:lnTo>
                    <a:lnTo>
                      <a:pt x="831501" y="688169"/>
                    </a:lnTo>
                    <a:lnTo>
                      <a:pt x="831501" y="659495"/>
                    </a:lnTo>
                    <a:lnTo>
                      <a:pt x="831501" y="630821"/>
                    </a:lnTo>
                    <a:lnTo>
                      <a:pt x="831501" y="602148"/>
                    </a:lnTo>
                    <a:lnTo>
                      <a:pt x="831501" y="573474"/>
                    </a:lnTo>
                    <a:lnTo>
                      <a:pt x="831501" y="544800"/>
                    </a:lnTo>
                    <a:lnTo>
                      <a:pt x="831501" y="516127"/>
                    </a:lnTo>
                    <a:lnTo>
                      <a:pt x="831501" y="487453"/>
                    </a:lnTo>
                    <a:lnTo>
                      <a:pt x="831501" y="458779"/>
                    </a:lnTo>
                    <a:lnTo>
                      <a:pt x="831501" y="430106"/>
                    </a:lnTo>
                    <a:lnTo>
                      <a:pt x="831501" y="401432"/>
                    </a:lnTo>
                    <a:lnTo>
                      <a:pt x="831501" y="372758"/>
                    </a:lnTo>
                    <a:lnTo>
                      <a:pt x="831501" y="344084"/>
                    </a:lnTo>
                    <a:lnTo>
                      <a:pt x="831501" y="315411"/>
                    </a:lnTo>
                    <a:lnTo>
                      <a:pt x="831501" y="286737"/>
                    </a:lnTo>
                    <a:lnTo>
                      <a:pt x="831501" y="258063"/>
                    </a:lnTo>
                    <a:lnTo>
                      <a:pt x="831501" y="229390"/>
                    </a:lnTo>
                    <a:lnTo>
                      <a:pt x="831501" y="200716"/>
                    </a:lnTo>
                    <a:lnTo>
                      <a:pt x="831501" y="172042"/>
                    </a:lnTo>
                    <a:lnTo>
                      <a:pt x="831501" y="143369"/>
                    </a:lnTo>
                    <a:lnTo>
                      <a:pt x="831501" y="114695"/>
                    </a:lnTo>
                    <a:lnTo>
                      <a:pt x="831501" y="86021"/>
                    </a:lnTo>
                    <a:lnTo>
                      <a:pt x="831501" y="57347"/>
                    </a:lnTo>
                    <a:lnTo>
                      <a:pt x="831501" y="28674"/>
                    </a:lnTo>
                    <a:lnTo>
                      <a:pt x="831501" y="0"/>
                    </a:lnTo>
                    <a:lnTo>
                      <a:pt x="831501" y="0"/>
                    </a:lnTo>
                    <a:lnTo>
                      <a:pt x="803280" y="479"/>
                    </a:lnTo>
                    <a:lnTo>
                      <a:pt x="775091" y="1916"/>
                    </a:lnTo>
                    <a:lnTo>
                      <a:pt x="746967" y="4308"/>
                    </a:lnTo>
                    <a:lnTo>
                      <a:pt x="718940" y="7654"/>
                    </a:lnTo>
                    <a:lnTo>
                      <a:pt x="691043" y="11949"/>
                    </a:lnTo>
                    <a:lnTo>
                      <a:pt x="663308" y="17188"/>
                    </a:lnTo>
                    <a:lnTo>
                      <a:pt x="635766" y="23365"/>
                    </a:lnTo>
                    <a:lnTo>
                      <a:pt x="608450" y="30474"/>
                    </a:lnTo>
                    <a:lnTo>
                      <a:pt x="581391" y="38506"/>
                    </a:lnTo>
                    <a:lnTo>
                      <a:pt x="554621" y="47451"/>
                    </a:lnTo>
                    <a:lnTo>
                      <a:pt x="528169" y="57300"/>
                    </a:lnTo>
                    <a:lnTo>
                      <a:pt x="502067" y="68041"/>
                    </a:lnTo>
                    <a:lnTo>
                      <a:pt x="476344" y="79661"/>
                    </a:lnTo>
                    <a:lnTo>
                      <a:pt x="451031" y="92148"/>
                    </a:lnTo>
                    <a:lnTo>
                      <a:pt x="426156" y="105487"/>
                    </a:lnTo>
                    <a:lnTo>
                      <a:pt x="401748" y="119662"/>
                    </a:lnTo>
                    <a:lnTo>
                      <a:pt x="377835" y="134658"/>
                    </a:lnTo>
                    <a:lnTo>
                      <a:pt x="354445" y="150456"/>
                    </a:lnTo>
                    <a:lnTo>
                      <a:pt x="331604" y="167040"/>
                    </a:lnTo>
                    <a:lnTo>
                      <a:pt x="309340" y="184389"/>
                    </a:lnTo>
                    <a:lnTo>
                      <a:pt x="287677" y="202483"/>
                    </a:lnTo>
                    <a:lnTo>
                      <a:pt x="266641" y="221302"/>
                    </a:lnTo>
                    <a:lnTo>
                      <a:pt x="246255" y="240825"/>
                    </a:lnTo>
                    <a:lnTo>
                      <a:pt x="226544" y="261028"/>
                    </a:lnTo>
                    <a:lnTo>
                      <a:pt x="207530" y="281888"/>
                    </a:lnTo>
                    <a:lnTo>
                      <a:pt x="189235" y="303382"/>
                    </a:lnTo>
                    <a:lnTo>
                      <a:pt x="171680" y="325484"/>
                    </a:lnTo>
                    <a:lnTo>
                      <a:pt x="154885" y="348170"/>
                    </a:lnTo>
                    <a:lnTo>
                      <a:pt x="138870" y="371412"/>
                    </a:lnTo>
                    <a:lnTo>
                      <a:pt x="123652" y="395184"/>
                    </a:lnTo>
                    <a:lnTo>
                      <a:pt x="109251" y="419459"/>
                    </a:lnTo>
                    <a:lnTo>
                      <a:pt x="95681" y="444209"/>
                    </a:lnTo>
                    <a:lnTo>
                      <a:pt x="82960" y="469406"/>
                    </a:lnTo>
                    <a:lnTo>
                      <a:pt x="71100" y="495019"/>
                    </a:lnTo>
                    <a:lnTo>
                      <a:pt x="60117" y="521020"/>
                    </a:lnTo>
                    <a:lnTo>
                      <a:pt x="50023" y="547379"/>
                    </a:lnTo>
                    <a:lnTo>
                      <a:pt x="40829" y="574066"/>
                    </a:lnTo>
                    <a:lnTo>
                      <a:pt x="32546" y="601049"/>
                    </a:lnTo>
                    <a:lnTo>
                      <a:pt x="25184" y="628297"/>
                    </a:lnTo>
                    <a:lnTo>
                      <a:pt x="18751" y="655780"/>
                    </a:lnTo>
                    <a:lnTo>
                      <a:pt x="13254" y="683465"/>
                    </a:lnTo>
                    <a:lnTo>
                      <a:pt x="8700" y="711321"/>
                    </a:lnTo>
                    <a:lnTo>
                      <a:pt x="5094" y="739316"/>
                    </a:lnTo>
                    <a:lnTo>
                      <a:pt x="2440" y="767416"/>
                    </a:lnTo>
                    <a:lnTo>
                      <a:pt x="741" y="795591"/>
                    </a:lnTo>
                    <a:lnTo>
                      <a:pt x="0" y="823807"/>
                    </a:lnTo>
                    <a:lnTo>
                      <a:pt x="217" y="852032"/>
                    </a:lnTo>
                    <a:lnTo>
                      <a:pt x="1391" y="880233"/>
                    </a:lnTo>
                    <a:lnTo>
                      <a:pt x="3522" y="908378"/>
                    </a:lnTo>
                    <a:lnTo>
                      <a:pt x="6607" y="936435"/>
                    </a:lnTo>
                    <a:lnTo>
                      <a:pt x="10642" y="964371"/>
                    </a:lnTo>
                    <a:lnTo>
                      <a:pt x="15623" y="992153"/>
                    </a:lnTo>
                    <a:lnTo>
                      <a:pt x="21545" y="1019751"/>
                    </a:lnTo>
                    <a:lnTo>
                      <a:pt x="28399" y="1047132"/>
                    </a:lnTo>
                    <a:lnTo>
                      <a:pt x="36179" y="1074264"/>
                    </a:lnTo>
                    <a:lnTo>
                      <a:pt x="44875" y="1101117"/>
                    </a:lnTo>
                    <a:lnTo>
                      <a:pt x="54477" y="1127659"/>
                    </a:lnTo>
                    <a:lnTo>
                      <a:pt x="64975" y="1153860"/>
                    </a:lnTo>
                    <a:lnTo>
                      <a:pt x="76356" y="1179690"/>
                    </a:lnTo>
                    <a:lnTo>
                      <a:pt x="88607" y="1205118"/>
                    </a:lnTo>
                    <a:lnTo>
                      <a:pt x="101714" y="1230116"/>
                    </a:lnTo>
                    <a:lnTo>
                      <a:pt x="115662" y="1254655"/>
                    </a:lnTo>
                    <a:lnTo>
                      <a:pt x="130435" y="1278706"/>
                    </a:lnTo>
                    <a:lnTo>
                      <a:pt x="146015" y="1302242"/>
                    </a:lnTo>
                    <a:lnTo>
                      <a:pt x="162385" y="1325236"/>
                    </a:lnTo>
                    <a:lnTo>
                      <a:pt x="179526" y="1347660"/>
                    </a:lnTo>
                    <a:lnTo>
                      <a:pt x="197419" y="1369490"/>
                    </a:lnTo>
                    <a:lnTo>
                      <a:pt x="216042" y="1390701"/>
                    </a:lnTo>
                    <a:lnTo>
                      <a:pt x="235374" y="1411267"/>
                    </a:lnTo>
                    <a:lnTo>
                      <a:pt x="255393" y="1431165"/>
                    </a:lnTo>
                    <a:lnTo>
                      <a:pt x="276075" y="1450372"/>
                    </a:lnTo>
                    <a:lnTo>
                      <a:pt x="297398" y="1468866"/>
                    </a:lnTo>
                    <a:lnTo>
                      <a:pt x="319336" y="1486626"/>
                    </a:lnTo>
                    <a:lnTo>
                      <a:pt x="341864" y="1503631"/>
                    </a:lnTo>
                    <a:lnTo>
                      <a:pt x="364957" y="1519862"/>
                    </a:lnTo>
                    <a:lnTo>
                      <a:pt x="388587" y="1535299"/>
                    </a:lnTo>
                    <a:lnTo>
                      <a:pt x="412727" y="1549926"/>
                    </a:lnTo>
                    <a:lnTo>
                      <a:pt x="437350" y="1563725"/>
                    </a:lnTo>
                    <a:lnTo>
                      <a:pt x="462426" y="1576680"/>
                    </a:lnTo>
                    <a:lnTo>
                      <a:pt x="487929" y="1588777"/>
                    </a:lnTo>
                    <a:lnTo>
                      <a:pt x="513827" y="1600002"/>
                    </a:lnTo>
                    <a:lnTo>
                      <a:pt x="540091" y="1610340"/>
                    </a:lnTo>
                    <a:lnTo>
                      <a:pt x="566690" y="1619782"/>
                    </a:lnTo>
                    <a:lnTo>
                      <a:pt x="593595" y="1628315"/>
                    </a:lnTo>
                    <a:lnTo>
                      <a:pt x="620774" y="1635931"/>
                    </a:lnTo>
                    <a:lnTo>
                      <a:pt x="648196" y="1642619"/>
                    </a:lnTo>
                    <a:lnTo>
                      <a:pt x="675829" y="1648373"/>
                    </a:lnTo>
                    <a:lnTo>
                      <a:pt x="703641" y="1653186"/>
                    </a:lnTo>
                    <a:lnTo>
                      <a:pt x="731601" y="1657052"/>
                    </a:lnTo>
                    <a:lnTo>
                      <a:pt x="759676" y="1659967"/>
                    </a:lnTo>
                    <a:lnTo>
                      <a:pt x="787833" y="1661927"/>
                    </a:lnTo>
                    <a:lnTo>
                      <a:pt x="816041" y="1662931"/>
                    </a:lnTo>
                    <a:lnTo>
                      <a:pt x="844267" y="1662977"/>
                    </a:lnTo>
                    <a:lnTo>
                      <a:pt x="872478" y="1662065"/>
                    </a:lnTo>
                    <a:lnTo>
                      <a:pt x="900642" y="1660195"/>
                    </a:lnTo>
                    <a:lnTo>
                      <a:pt x="928726" y="1657371"/>
                    </a:lnTo>
                    <a:lnTo>
                      <a:pt x="956698" y="1653596"/>
                    </a:lnTo>
                    <a:lnTo>
                      <a:pt x="984526" y="1648873"/>
                    </a:lnTo>
                    <a:lnTo>
                      <a:pt x="1012177" y="1643209"/>
                    </a:lnTo>
                    <a:lnTo>
                      <a:pt x="1039621" y="1636609"/>
                    </a:lnTo>
                    <a:lnTo>
                      <a:pt x="1066824" y="1629082"/>
                    </a:lnTo>
                    <a:lnTo>
                      <a:pt x="1093757" y="1620636"/>
                    </a:lnTo>
                    <a:lnTo>
                      <a:pt x="1120387" y="1611281"/>
                    </a:lnTo>
                    <a:lnTo>
                      <a:pt x="1146684" y="1601027"/>
                    </a:lnTo>
                    <a:lnTo>
                      <a:pt x="1172618" y="1589887"/>
                    </a:lnTo>
                    <a:lnTo>
                      <a:pt x="1198160" y="1577873"/>
                    </a:lnTo>
                    <a:lnTo>
                      <a:pt x="1223278" y="1564999"/>
                    </a:lnTo>
                    <a:lnTo>
                      <a:pt x="1247946" y="1551280"/>
                    </a:lnTo>
                    <a:lnTo>
                      <a:pt x="1272133" y="1536731"/>
                    </a:lnTo>
                    <a:lnTo>
                      <a:pt x="1295813" y="1521370"/>
                    </a:lnTo>
                    <a:lnTo>
                      <a:pt x="1318958" y="1505215"/>
                    </a:lnTo>
                    <a:lnTo>
                      <a:pt x="1341541" y="1488283"/>
                    </a:lnTo>
                    <a:lnTo>
                      <a:pt x="1341541" y="1488283"/>
                    </a:lnTo>
                    <a:lnTo>
                      <a:pt x="1323953" y="1465636"/>
                    </a:lnTo>
                    <a:lnTo>
                      <a:pt x="1306366" y="1442990"/>
                    </a:lnTo>
                    <a:lnTo>
                      <a:pt x="1288778" y="1420343"/>
                    </a:lnTo>
                    <a:lnTo>
                      <a:pt x="1271191" y="1397697"/>
                    </a:lnTo>
                    <a:lnTo>
                      <a:pt x="1253603" y="1375051"/>
                    </a:lnTo>
                    <a:lnTo>
                      <a:pt x="1236016" y="1352404"/>
                    </a:lnTo>
                    <a:lnTo>
                      <a:pt x="1218428" y="1329758"/>
                    </a:lnTo>
                    <a:lnTo>
                      <a:pt x="1200840" y="1307111"/>
                    </a:lnTo>
                    <a:lnTo>
                      <a:pt x="1183253" y="1284465"/>
                    </a:lnTo>
                    <a:lnTo>
                      <a:pt x="1165665" y="1261819"/>
                    </a:lnTo>
                    <a:lnTo>
                      <a:pt x="1148078" y="1239172"/>
                    </a:lnTo>
                    <a:lnTo>
                      <a:pt x="1130490" y="1216526"/>
                    </a:lnTo>
                    <a:lnTo>
                      <a:pt x="1112903" y="1193880"/>
                    </a:lnTo>
                    <a:lnTo>
                      <a:pt x="1095315" y="1171233"/>
                    </a:lnTo>
                    <a:lnTo>
                      <a:pt x="1077727" y="1148587"/>
                    </a:lnTo>
                    <a:lnTo>
                      <a:pt x="1060140" y="1125940"/>
                    </a:lnTo>
                    <a:lnTo>
                      <a:pt x="1042552" y="1103294"/>
                    </a:lnTo>
                    <a:lnTo>
                      <a:pt x="1024965" y="1080648"/>
                    </a:lnTo>
                    <a:lnTo>
                      <a:pt x="1007377" y="1058001"/>
                    </a:lnTo>
                    <a:lnTo>
                      <a:pt x="989790" y="1035355"/>
                    </a:lnTo>
                    <a:lnTo>
                      <a:pt x="972202" y="1012708"/>
                    </a:lnTo>
                    <a:lnTo>
                      <a:pt x="954614" y="990062"/>
                    </a:lnTo>
                    <a:lnTo>
                      <a:pt x="937027" y="967416"/>
                    </a:lnTo>
                    <a:lnTo>
                      <a:pt x="919439" y="944769"/>
                    </a:lnTo>
                    <a:lnTo>
                      <a:pt x="901852" y="922123"/>
                    </a:lnTo>
                    <a:lnTo>
                      <a:pt x="884264" y="899477"/>
                    </a:lnTo>
                    <a:lnTo>
                      <a:pt x="866677" y="876830"/>
                    </a:lnTo>
                    <a:lnTo>
                      <a:pt x="849089" y="854184"/>
                    </a:lnTo>
                    <a:lnTo>
                      <a:pt x="831501" y="831537"/>
                    </a:lnTo>
                    <a:lnTo>
                      <a:pt x="831501" y="831537"/>
                    </a:lnTo>
                    <a:close/>
                  </a:path>
                </a:pathLst>
              </a:custGeom>
              <a:solidFill>
                <a:schemeClr val="accent1"/>
              </a:solidFill>
              <a:ln w="13500">
                <a:noFill/>
                <a:prstDash val="solid"/>
                <a:round/>
              </a:ln>
            </p:spPr>
            <p:txBody>
              <a:bodyPr/>
              <a:lstStyle/>
              <a:p/>
            </p:txBody>
          </p:sp>
          <p:sp>
            <p:nvSpPr>
              <p:cNvPr id="31" name="Text 11"/>
              <p:cNvSpPr/>
              <p:nvPr/>
            </p:nvSpPr>
            <p:spPr>
              <a:xfrm>
                <a:off x="1591888" y="4679518"/>
                <a:ext cx="457200" cy="126744"/>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dirty="0">
                    <a:solidFill>
                      <a:srgbClr val="FFFFFF"/>
                    </a:solidFill>
                    <a:latin typeface="Helvetica"/>
                    <a:cs typeface="Helvetica"/>
                  </a:rPr>
                  <a:t>20%</a:t>
                </a:r>
                <a:endParaRPr sz="1400" dirty="0">
                  <a:solidFill>
                    <a:srgbClr val="FFFFFF"/>
                  </a:solidFill>
                  <a:latin typeface="Helvetica"/>
                  <a:cs typeface="Helvetica"/>
                </a:endParaRPr>
              </a:p>
            </p:txBody>
          </p:sp>
          <p:sp>
            <p:nvSpPr>
              <p:cNvPr id="32" name="Text 12"/>
              <p:cNvSpPr/>
              <p:nvPr/>
            </p:nvSpPr>
            <p:spPr>
              <a:xfrm>
                <a:off x="1840962" y="5148787"/>
                <a:ext cx="457200" cy="115416"/>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a:latin typeface="Helvetica"/>
                    <a:cs typeface="Helvetica"/>
                  </a:rPr>
                  <a:t>12%</a:t>
                </a:r>
                <a:endParaRPr sz="1400">
                  <a:latin typeface="Helvetica"/>
                  <a:cs typeface="Helvetica"/>
                </a:endParaRPr>
              </a:p>
            </p:txBody>
          </p:sp>
          <p:sp>
            <p:nvSpPr>
              <p:cNvPr id="33" name="Text 13"/>
              <p:cNvSpPr/>
              <p:nvPr/>
            </p:nvSpPr>
            <p:spPr>
              <a:xfrm>
                <a:off x="1822217" y="5512645"/>
                <a:ext cx="359472" cy="115416"/>
              </a:xfrm>
              <a:prstGeom prst="rect">
                <a:avLst/>
              </a:prstGeom>
              <a:noFill/>
              <a:ln>
                <a:noFill/>
              </a:ln>
            </p:spPr>
            <p:txBody>
              <a:bodyPr wrap="square" lIns="0" tIns="0" rIns="0" bIns="0" anchor="b">
                <a:spAutoFit/>
              </a:bodyPr>
              <a:lstStyle/>
              <a:p>
                <a:pPr marL="0" marR="0" indent="0" algn="ctr">
                  <a:lnSpc>
                    <a:spcPts val="850"/>
                  </a:lnSpc>
                  <a:spcBef>
                    <a:spcPts val="0"/>
                  </a:spcBef>
                  <a:spcAft>
                    <a:spcPts val="0"/>
                  </a:spcAft>
                </a:pPr>
                <a:r>
                  <a:rPr sz="1400" dirty="0">
                    <a:latin typeface="Helvetica"/>
                    <a:cs typeface="Helvetica"/>
                  </a:rPr>
                  <a:t>8%</a:t>
                </a:r>
                <a:endParaRPr sz="1400" dirty="0">
                  <a:latin typeface="Helvetica"/>
                  <a:cs typeface="Helvetica"/>
                </a:endParaRPr>
              </a:p>
            </p:txBody>
          </p:sp>
          <p:sp>
            <p:nvSpPr>
              <p:cNvPr id="34" name="Text 14"/>
              <p:cNvSpPr/>
              <p:nvPr/>
            </p:nvSpPr>
            <p:spPr>
              <a:xfrm>
                <a:off x="905278" y="5152981"/>
                <a:ext cx="457200" cy="127856"/>
              </a:xfrm>
              <a:prstGeom prst="rect">
                <a:avLst/>
              </a:prstGeom>
              <a:noFill/>
              <a:ln>
                <a:noFill/>
              </a:ln>
            </p:spPr>
            <p:txBody>
              <a:bodyPr lIns="0" tIns="0" rIns="0" bIns="0" anchor="b">
                <a:spAutoFit/>
              </a:bodyPr>
              <a:lstStyle/>
              <a:p>
                <a:pPr marL="0" marR="0" indent="0" algn="ctr">
                  <a:lnSpc>
                    <a:spcPts val="850"/>
                  </a:lnSpc>
                  <a:spcBef>
                    <a:spcPts val="0"/>
                  </a:spcBef>
                  <a:spcAft>
                    <a:spcPts val="0"/>
                  </a:spcAft>
                </a:pPr>
                <a:r>
                  <a:rPr sz="1400" dirty="0">
                    <a:solidFill>
                      <a:schemeClr val="bg1"/>
                    </a:solidFill>
                    <a:latin typeface="Helvetica"/>
                    <a:cs typeface="Helvetica"/>
                  </a:rPr>
                  <a:t>61%</a:t>
                </a:r>
                <a:endParaRPr sz="1400" dirty="0">
                  <a:solidFill>
                    <a:schemeClr val="bg1"/>
                  </a:solidFill>
                  <a:latin typeface="Helvetica"/>
                  <a:cs typeface="Helvetica"/>
                </a:endParaRPr>
              </a:p>
            </p:txBody>
          </p:sp>
        </p:grpSp>
        <p:sp>
          <p:nvSpPr>
            <p:cNvPr id="55" name="Rectangle 19"/>
            <p:cNvSpPr>
              <a:spLocks noChangeArrowheads="1"/>
            </p:cNvSpPr>
            <p:nvPr>
              <p:custDataLst>
                <p:tags r:id="rId8"/>
              </p:custDataLst>
            </p:nvPr>
          </p:nvSpPr>
          <p:spPr bwMode="gray">
            <a:xfrm>
              <a:off x="4192737" y="3447027"/>
              <a:ext cx="886613" cy="313953"/>
            </a:xfrm>
            <a:prstGeom prst="rect">
              <a:avLst/>
            </a:prstGeom>
            <a:noFill/>
            <a:ln w="9525">
              <a:noFill/>
              <a:miter lim="800000"/>
            </a:ln>
            <a:effectLst/>
          </p:spPr>
          <p:txBody>
            <a:bodyPr wrap="none" lIns="82945" tIns="41473" rIns="82945" bIns="41473" anchor="ctr"/>
            <a:lstStyle/>
            <a:p>
              <a:pPr algn="ctr">
                <a:spcBef>
                  <a:spcPct val="50000"/>
                </a:spcBef>
                <a:buClr>
                  <a:srgbClr val="000099"/>
                </a:buClr>
                <a:buSzPct val="70000"/>
                <a:buFont typeface="Wingdings" panose="05000000000000000000" pitchFamily="2" charset="2"/>
                <a:buNone/>
              </a:pPr>
              <a:r>
                <a:rPr lang="zh-CN" altLang="en-US" b="1" dirty="0">
                  <a:solidFill>
                    <a:srgbClr val="53565A"/>
                  </a:solidFill>
                </a:rPr>
                <a:t>发表</a:t>
              </a:r>
              <a:endParaRPr lang="en-GB" sz="1400" b="1" dirty="0">
                <a:solidFill>
                  <a:srgbClr val="53565A"/>
                </a:solidFill>
              </a:endParaRPr>
            </a:p>
          </p:txBody>
        </p:sp>
      </p:grpSp>
      <p:grpSp>
        <p:nvGrpSpPr>
          <p:cNvPr id="3" name="Group 2"/>
          <p:cNvGrpSpPr/>
          <p:nvPr/>
        </p:nvGrpSpPr>
        <p:grpSpPr>
          <a:xfrm>
            <a:off x="2737919" y="5819866"/>
            <a:ext cx="3909146" cy="246221"/>
            <a:chOff x="1275554" y="5957301"/>
            <a:chExt cx="3909146" cy="246221"/>
          </a:xfrm>
        </p:grpSpPr>
        <p:sp>
          <p:nvSpPr>
            <p:cNvPr id="56" name="Rectangle 55"/>
            <p:cNvSpPr/>
            <p:nvPr/>
          </p:nvSpPr>
          <p:spPr>
            <a:xfrm>
              <a:off x="1275554" y="5998835"/>
              <a:ext cx="184932" cy="163153"/>
            </a:xfrm>
            <a:prstGeom prst="rect">
              <a:avLst/>
            </a:prstGeom>
            <a:solidFill>
              <a:srgbClr val="FF82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p>
          </p:txBody>
        </p:sp>
        <p:sp>
          <p:nvSpPr>
            <p:cNvPr id="57" name="TextBox 56"/>
            <p:cNvSpPr txBox="1"/>
            <p:nvPr/>
          </p:nvSpPr>
          <p:spPr>
            <a:xfrm>
              <a:off x="1491578" y="5957301"/>
              <a:ext cx="819574" cy="246221"/>
            </a:xfrm>
            <a:prstGeom prst="rect">
              <a:avLst/>
            </a:prstGeom>
            <a:noFill/>
          </p:spPr>
          <p:txBody>
            <a:bodyPr wrap="square" rtlCol="0" anchor="ctr">
              <a:spAutoFit/>
            </a:bodyPr>
            <a:lstStyle/>
            <a:p>
              <a:r>
                <a:rPr lang="en-US" sz="1000" b="1" dirty="0"/>
                <a:t>Elsevier</a:t>
              </a:r>
              <a:endParaRPr lang="en-US" sz="1000" b="1" dirty="0"/>
            </a:p>
          </p:txBody>
        </p:sp>
        <p:sp>
          <p:nvSpPr>
            <p:cNvPr id="58" name="Rectangle 57"/>
            <p:cNvSpPr/>
            <p:nvPr/>
          </p:nvSpPr>
          <p:spPr>
            <a:xfrm>
              <a:off x="2350251" y="5998835"/>
              <a:ext cx="184932" cy="163153"/>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p>
          </p:txBody>
        </p:sp>
        <p:sp>
          <p:nvSpPr>
            <p:cNvPr id="59" name="TextBox 58"/>
            <p:cNvSpPr txBox="1"/>
            <p:nvPr/>
          </p:nvSpPr>
          <p:spPr>
            <a:xfrm>
              <a:off x="2515928" y="5957301"/>
              <a:ext cx="701661" cy="246221"/>
            </a:xfrm>
            <a:prstGeom prst="rect">
              <a:avLst/>
            </a:prstGeom>
            <a:noFill/>
          </p:spPr>
          <p:txBody>
            <a:bodyPr wrap="square" rtlCol="0" anchor="ctr">
              <a:spAutoFit/>
            </a:bodyPr>
            <a:lstStyle/>
            <a:p>
              <a:r>
                <a:rPr lang="en-US" sz="1000" b="1" dirty="0"/>
                <a:t>Pub. A</a:t>
              </a:r>
              <a:endParaRPr lang="en-US" sz="1000" b="1" dirty="0"/>
            </a:p>
          </p:txBody>
        </p:sp>
        <p:sp>
          <p:nvSpPr>
            <p:cNvPr id="60" name="Rectangle 59"/>
            <p:cNvSpPr/>
            <p:nvPr/>
          </p:nvSpPr>
          <p:spPr>
            <a:xfrm>
              <a:off x="3285209" y="5998835"/>
              <a:ext cx="184932" cy="163153"/>
            </a:xfrm>
            <a:prstGeom prst="rect">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p>
          </p:txBody>
        </p:sp>
        <p:sp>
          <p:nvSpPr>
            <p:cNvPr id="61" name="TextBox 60"/>
            <p:cNvSpPr txBox="1"/>
            <p:nvPr/>
          </p:nvSpPr>
          <p:spPr>
            <a:xfrm>
              <a:off x="3501233" y="5957301"/>
              <a:ext cx="689045" cy="246221"/>
            </a:xfrm>
            <a:prstGeom prst="rect">
              <a:avLst/>
            </a:prstGeom>
            <a:noFill/>
          </p:spPr>
          <p:txBody>
            <a:bodyPr wrap="square" rtlCol="0" anchor="ctr">
              <a:spAutoFit/>
            </a:bodyPr>
            <a:lstStyle/>
            <a:p>
              <a:r>
                <a:rPr lang="en-US" sz="1000" b="1" dirty="0"/>
                <a:t>Pub. B</a:t>
              </a:r>
              <a:endParaRPr lang="en-US" sz="1000" b="1" dirty="0"/>
            </a:p>
          </p:txBody>
        </p:sp>
        <p:sp>
          <p:nvSpPr>
            <p:cNvPr id="62" name="Rectangle 61"/>
            <p:cNvSpPr/>
            <p:nvPr/>
          </p:nvSpPr>
          <p:spPr>
            <a:xfrm>
              <a:off x="4299006" y="5998835"/>
              <a:ext cx="184932" cy="1631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b="1"/>
            </a:p>
          </p:txBody>
        </p:sp>
        <p:sp>
          <p:nvSpPr>
            <p:cNvPr id="63" name="TextBox 62"/>
            <p:cNvSpPr txBox="1"/>
            <p:nvPr/>
          </p:nvSpPr>
          <p:spPr>
            <a:xfrm>
              <a:off x="4515029" y="5957301"/>
              <a:ext cx="669671" cy="246221"/>
            </a:xfrm>
            <a:prstGeom prst="rect">
              <a:avLst/>
            </a:prstGeom>
            <a:noFill/>
          </p:spPr>
          <p:txBody>
            <a:bodyPr wrap="square" rtlCol="0" anchor="ctr">
              <a:spAutoFit/>
            </a:bodyPr>
            <a:lstStyle/>
            <a:p>
              <a:r>
                <a:rPr lang="en-US" sz="1000" b="1" dirty="0"/>
                <a:t>Others</a:t>
              </a:r>
              <a:endParaRPr lang="en-US" sz="1000" b="1" dirty="0"/>
            </a:p>
          </p:txBody>
        </p:sp>
      </p:grpSp>
      <p:sp>
        <p:nvSpPr>
          <p:cNvPr id="8" name="Right Arrow 7"/>
          <p:cNvSpPr/>
          <p:nvPr/>
        </p:nvSpPr>
        <p:spPr>
          <a:xfrm>
            <a:off x="4096512" y="2148839"/>
            <a:ext cx="1179576" cy="318983"/>
          </a:xfrm>
          <a:prstGeom prst="rightArrow">
            <a:avLst>
              <a:gd name="adj1" fmla="val 50000"/>
              <a:gd name="adj2" fmla="val 98732"/>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2"/>
                                        </p:tgtEl>
                                        <p:attrNameLst>
                                          <p:attrName>style.visibility</p:attrName>
                                        </p:attrNameLst>
                                      </p:cBhvr>
                                      <p:to>
                                        <p:strVal val="visible"/>
                                      </p:to>
                                    </p:set>
                                    <p:animEffect transition="in" filter="fade">
                                      <p:cBhvr>
                                        <p:cTn id="13" dur="500"/>
                                        <p:tgtEl>
                                          <p:spTgt spid="52"/>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51"/>
                                        </p:tgtEl>
                                        <p:attrNameLst>
                                          <p:attrName>style.visibility</p:attrName>
                                        </p:attrNameLst>
                                      </p:cBhvr>
                                      <p:to>
                                        <p:strVal val="visible"/>
                                      </p:to>
                                    </p:set>
                                    <p:animEffect transition="in" filter="fade">
                                      <p:cBhvr>
                                        <p:cTn id="16" dur="500"/>
                                        <p:tgtEl>
                                          <p:spTgt spid="51"/>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16">
                                            <p:txEl>
                                              <p:pRg st="0" end="0"/>
                                            </p:txEl>
                                          </p:spTgt>
                                        </p:tgtEl>
                                        <p:attrNameLst>
                                          <p:attrName>style.visibility</p:attrName>
                                        </p:attrNameLst>
                                      </p:cBhvr>
                                      <p:to>
                                        <p:strVal val="visible"/>
                                      </p:to>
                                    </p:set>
                                    <p:animEffect transition="in" filter="fade">
                                      <p:cBhvr>
                                        <p:cTn id="24" dur="1000"/>
                                        <p:tgtEl>
                                          <p:spTgt spid="16">
                                            <p:txEl>
                                              <p:pRg st="0" end="0"/>
                                            </p:txEl>
                                          </p:spTgt>
                                        </p:tgtEl>
                                      </p:cBhvr>
                                    </p:animEffect>
                                  </p:childTnLst>
                                </p:cTn>
                              </p:par>
                            </p:childTnLst>
                          </p:cTn>
                        </p:par>
                        <p:par>
                          <p:cTn id="25" fill="hold">
                            <p:stCondLst>
                              <p:cond delay="2000"/>
                            </p:stCondLst>
                            <p:childTnLst>
                              <p:par>
                                <p:cTn id="26" presetID="10" presetClass="entr" presetSubtype="0" fill="hold" grpId="0" nodeType="afterEffect">
                                  <p:stCondLst>
                                    <p:cond delay="0"/>
                                  </p:stCondLst>
                                  <p:childTnLst>
                                    <p:set>
                                      <p:cBhvr>
                                        <p:cTn id="27" dur="1" fill="hold">
                                          <p:stCondLst>
                                            <p:cond delay="0"/>
                                          </p:stCondLst>
                                        </p:cTn>
                                        <p:tgtEl>
                                          <p:spTgt spid="16">
                                            <p:txEl>
                                              <p:pRg st="1" end="1"/>
                                            </p:txEl>
                                          </p:spTgt>
                                        </p:tgtEl>
                                        <p:attrNameLst>
                                          <p:attrName>style.visibility</p:attrName>
                                        </p:attrNameLst>
                                      </p:cBhvr>
                                      <p:to>
                                        <p:strVal val="visible"/>
                                      </p:to>
                                    </p:set>
                                    <p:animEffect transition="in" filter="fade">
                                      <p:cBhvr>
                                        <p:cTn id="28" dur="1000"/>
                                        <p:tgtEl>
                                          <p:spTgt spid="16">
                                            <p:txEl>
                                              <p:pRg st="1" end="1"/>
                                            </p:txEl>
                                          </p:spTgt>
                                        </p:tgtEl>
                                      </p:cBhvr>
                                    </p:animEffect>
                                  </p:childTnLst>
                                </p:cTn>
                              </p:par>
                            </p:childTnLst>
                          </p:cTn>
                        </p:par>
                        <p:par>
                          <p:cTn id="29" fill="hold">
                            <p:stCondLst>
                              <p:cond delay="3000"/>
                            </p:stCondLst>
                            <p:childTnLst>
                              <p:par>
                                <p:cTn id="30" presetID="10" presetClass="entr" presetSubtype="0" fill="hold" grpId="0" nodeType="afterEffect">
                                  <p:stCondLst>
                                    <p:cond delay="0"/>
                                  </p:stCondLst>
                                  <p:childTnLst>
                                    <p:set>
                                      <p:cBhvr>
                                        <p:cTn id="31" dur="1" fill="hold">
                                          <p:stCondLst>
                                            <p:cond delay="0"/>
                                          </p:stCondLst>
                                        </p:cTn>
                                        <p:tgtEl>
                                          <p:spTgt spid="16">
                                            <p:txEl>
                                              <p:pRg st="2" end="2"/>
                                            </p:txEl>
                                          </p:spTgt>
                                        </p:tgtEl>
                                        <p:attrNameLst>
                                          <p:attrName>style.visibility</p:attrName>
                                        </p:attrNameLst>
                                      </p:cBhvr>
                                      <p:to>
                                        <p:strVal val="visible"/>
                                      </p:to>
                                    </p:set>
                                    <p:animEffect transition="in" filter="fade">
                                      <p:cBhvr>
                                        <p:cTn id="32" dur="1000"/>
                                        <p:tgtEl>
                                          <p:spTgt spid="16">
                                            <p:txEl>
                                              <p:pRg st="2" end="2"/>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childTnLst>
                          </p:cTn>
                        </p:par>
                        <p:par>
                          <p:cTn id="38" fill="hold">
                            <p:stCondLst>
                              <p:cond delay="500"/>
                            </p:stCondLst>
                            <p:childTnLst>
                              <p:par>
                                <p:cTn id="39" presetID="10" presetClass="entr" presetSubtype="0" fill="hold" nodeType="afterEffect">
                                  <p:stCondLst>
                                    <p:cond delay="0"/>
                                  </p:stCondLst>
                                  <p:childTnLst>
                                    <p:set>
                                      <p:cBhvr>
                                        <p:cTn id="40" dur="1" fill="hold">
                                          <p:stCondLst>
                                            <p:cond delay="0"/>
                                          </p:stCondLst>
                                        </p:cTn>
                                        <p:tgtEl>
                                          <p:spTgt spid="7"/>
                                        </p:tgtEl>
                                        <p:attrNameLst>
                                          <p:attrName>style.visibility</p:attrName>
                                        </p:attrNameLst>
                                      </p:cBhvr>
                                      <p:to>
                                        <p:strVal val="visible"/>
                                      </p:to>
                                    </p:set>
                                    <p:animEffect transition="in" filter="fade">
                                      <p:cBhvr>
                                        <p:cTn id="41" dur="1000"/>
                                        <p:tgtEl>
                                          <p:spTgt spid="7"/>
                                        </p:tgtEl>
                                      </p:cBhvr>
                                    </p:animEffect>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9"/>
                                        </p:tgtEl>
                                        <p:attrNameLst>
                                          <p:attrName>style.visibility</p:attrName>
                                        </p:attrNameLst>
                                      </p:cBhvr>
                                      <p:to>
                                        <p:strVal val="visible"/>
                                      </p:to>
                                    </p:set>
                                    <p:animEffect transition="in" filter="fade">
                                      <p:cBhvr>
                                        <p:cTn id="45" dur="1000"/>
                                        <p:tgtEl>
                                          <p:spTgt spid="9"/>
                                        </p:tgtEl>
                                      </p:cBhvr>
                                    </p:animEffect>
                                  </p:childTnLst>
                                </p:cTn>
                              </p:par>
                            </p:childTnLst>
                          </p:cTn>
                        </p:par>
                        <p:par>
                          <p:cTn id="46" fill="hold">
                            <p:stCondLst>
                              <p:cond delay="2500"/>
                            </p:stCondLst>
                            <p:childTnLst>
                              <p:par>
                                <p:cTn id="47" presetID="10" presetClass="entr" presetSubtype="0" fill="hold" nodeType="afterEffect">
                                  <p:stCondLst>
                                    <p:cond delay="0"/>
                                  </p:stCondLst>
                                  <p:childTnLst>
                                    <p:set>
                                      <p:cBhvr>
                                        <p:cTn id="48" dur="1" fill="hold">
                                          <p:stCondLst>
                                            <p:cond delay="0"/>
                                          </p:stCondLst>
                                        </p:cTn>
                                        <p:tgtEl>
                                          <p:spTgt spid="3"/>
                                        </p:tgtEl>
                                        <p:attrNameLst>
                                          <p:attrName>style.visibility</p:attrName>
                                        </p:attrNameLst>
                                      </p:cBhvr>
                                      <p:to>
                                        <p:strVal val="visible"/>
                                      </p:to>
                                    </p:set>
                                    <p:animEffect transition="in" filter="fade">
                                      <p:cBhvr>
                                        <p:cTn id="49"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uild="p"/>
      <p:bldP spid="49" grpId="0" animBg="1"/>
      <p:bldP spid="50" grpId="0" animBg="1"/>
      <p:bldP spid="51" grpId="0" animBg="1"/>
      <p:bldP spid="52" grpId="0" animBg="1"/>
      <p:bldP spid="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32" name="Picture 8"/>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981075" y="4629821"/>
            <a:ext cx="7181850" cy="218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22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4625" y="1176290"/>
            <a:ext cx="8794750" cy="1860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22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2977" y="2996952"/>
            <a:ext cx="7366000" cy="2311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TextBox 22"/>
          <p:cNvSpPr txBox="1"/>
          <p:nvPr/>
        </p:nvSpPr>
        <p:spPr>
          <a:xfrm>
            <a:off x="4355976" y="2375153"/>
            <a:ext cx="2362574" cy="408623"/>
          </a:xfrm>
          <a:prstGeom prst="roundRect">
            <a:avLst/>
          </a:prstGeom>
          <a:solidFill>
            <a:srgbClr val="F18D4D"/>
          </a:solidFill>
          <a:ln w="28575">
            <a:solidFill>
              <a:srgbClr val="E86412"/>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zh-CN"/>
            </a:defPPr>
            <a:lvl1pPr>
              <a:defRPr b="1">
                <a:solidFill>
                  <a:schemeClr val="bg1"/>
                </a:solidFill>
              </a:defRPr>
            </a:lvl1pPr>
          </a:lstStyle>
          <a:p>
            <a:r>
              <a:rPr lang="zh-CN" altLang="en-US" dirty="0">
                <a:solidFill>
                  <a:prstClr val="white"/>
                </a:solidFill>
              </a:rPr>
              <a:t>快速搜索及高级搜索</a:t>
            </a:r>
            <a:endParaRPr lang="zh-CN" altLang="en-US" dirty="0">
              <a:solidFill>
                <a:prstClr val="white"/>
              </a:solidFill>
            </a:endParaRPr>
          </a:p>
        </p:txBody>
      </p:sp>
      <p:sp>
        <p:nvSpPr>
          <p:cNvPr id="24" name="Rectangle 7"/>
          <p:cNvSpPr>
            <a:spLocks noChangeArrowheads="1"/>
          </p:cNvSpPr>
          <p:nvPr/>
        </p:nvSpPr>
        <p:spPr bwMode="auto">
          <a:xfrm>
            <a:off x="1547663" y="2095784"/>
            <a:ext cx="5832649" cy="741288"/>
          </a:xfrm>
          <a:prstGeom prst="rect">
            <a:avLst/>
          </a:prstGeom>
          <a:noFill/>
          <a:ln w="19050">
            <a:solidFill>
              <a:srgbClr val="366F99"/>
            </a:solidFill>
            <a:miter lim="800000"/>
          </a:ln>
          <a:extLst>
            <a:ext uri="{909E8E84-426E-40DD-AFC4-6F175D3DCCD1}">
              <a14:hiddenFill xmlns:a14="http://schemas.microsoft.com/office/drawing/2010/main">
                <a:solidFill>
                  <a:srgbClr val="FFFFFF"/>
                </a:solidFill>
              </a14:hiddenFill>
            </a:ext>
          </a:extLst>
        </p:spPr>
        <p:txBody>
          <a:bodyPr wrap="none" anchor="ctr"/>
          <a:lstStyle/>
          <a:p>
            <a:pPr fontAlgn="base">
              <a:spcBef>
                <a:spcPct val="0"/>
              </a:spcBef>
              <a:spcAft>
                <a:spcPct val="0"/>
              </a:spcAft>
            </a:pPr>
            <a:endParaRPr lang="zh-CN" altLang="en-US" sz="2400" b="1">
              <a:solidFill>
                <a:srgbClr val="EEECE1">
                  <a:lumMod val="10000"/>
                </a:srgbClr>
              </a:solidFill>
              <a:ea typeface="宋体" panose="02010600030101010101" pitchFamily="2" charset="-122"/>
            </a:endParaRPr>
          </a:p>
        </p:txBody>
      </p:sp>
      <p:sp>
        <p:nvSpPr>
          <p:cNvPr id="2" name="TextBox 1"/>
          <p:cNvSpPr txBox="1"/>
          <p:nvPr/>
        </p:nvSpPr>
        <p:spPr>
          <a:xfrm>
            <a:off x="6226412" y="6309320"/>
            <a:ext cx="1224136" cy="408623"/>
          </a:xfrm>
          <a:prstGeom prst="roundRect">
            <a:avLst/>
          </a:prstGeom>
          <a:solidFill>
            <a:srgbClr val="F18D4D"/>
          </a:solidFill>
          <a:ln w="28575">
            <a:solidFill>
              <a:srgbClr val="E86412"/>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zh-CN"/>
            </a:defPPr>
            <a:lvl1pPr>
              <a:defRPr b="1">
                <a:solidFill>
                  <a:schemeClr val="bg1"/>
                </a:solidFill>
              </a:defRPr>
            </a:lvl1pPr>
          </a:lstStyle>
          <a:p>
            <a:r>
              <a:rPr lang="zh-CN" altLang="en-US" dirty="0">
                <a:solidFill>
                  <a:prstClr val="white"/>
                </a:solidFill>
              </a:rPr>
              <a:t>开放获取</a:t>
            </a:r>
            <a:endParaRPr lang="zh-CN" altLang="en-US" dirty="0">
              <a:solidFill>
                <a:prstClr val="white"/>
              </a:solidFill>
            </a:endParaRPr>
          </a:p>
        </p:txBody>
      </p:sp>
      <p:sp>
        <p:nvSpPr>
          <p:cNvPr id="33" name="Rectangle 7"/>
          <p:cNvSpPr>
            <a:spLocks noChangeArrowheads="1"/>
          </p:cNvSpPr>
          <p:nvPr/>
        </p:nvSpPr>
        <p:spPr bwMode="auto">
          <a:xfrm>
            <a:off x="2555776" y="5517232"/>
            <a:ext cx="5040560" cy="1224136"/>
          </a:xfrm>
          <a:prstGeom prst="rect">
            <a:avLst/>
          </a:prstGeom>
          <a:noFill/>
          <a:ln w="19050">
            <a:solidFill>
              <a:srgbClr val="366F99"/>
            </a:solidFill>
            <a:miter lim="800000"/>
          </a:ln>
          <a:extLst>
            <a:ext uri="{909E8E84-426E-40DD-AFC4-6F175D3DCCD1}">
              <a14:hiddenFill xmlns:a14="http://schemas.microsoft.com/office/drawing/2010/main">
                <a:solidFill>
                  <a:srgbClr val="FFFFFF"/>
                </a:solidFill>
              </a14:hiddenFill>
            </a:ext>
          </a:extLst>
        </p:spPr>
        <p:txBody>
          <a:bodyPr wrap="none" anchor="ctr"/>
          <a:lstStyle/>
          <a:p>
            <a:pPr fontAlgn="base">
              <a:spcBef>
                <a:spcPct val="0"/>
              </a:spcBef>
              <a:spcAft>
                <a:spcPct val="0"/>
              </a:spcAft>
            </a:pPr>
            <a:endParaRPr lang="zh-CN" altLang="en-US" sz="2400" b="1">
              <a:solidFill>
                <a:srgbClr val="EEECE1">
                  <a:lumMod val="10000"/>
                </a:srgbClr>
              </a:solidFill>
              <a:ea typeface="宋体" panose="02010600030101010101" pitchFamily="2" charset="-122"/>
            </a:endParaRPr>
          </a:p>
        </p:txBody>
      </p:sp>
      <p:sp>
        <p:nvSpPr>
          <p:cNvPr id="34" name="Rectangle 7"/>
          <p:cNvSpPr>
            <a:spLocks noChangeArrowheads="1"/>
          </p:cNvSpPr>
          <p:nvPr/>
        </p:nvSpPr>
        <p:spPr bwMode="auto">
          <a:xfrm>
            <a:off x="672977" y="2769271"/>
            <a:ext cx="7139384" cy="2151520"/>
          </a:xfrm>
          <a:prstGeom prst="rect">
            <a:avLst/>
          </a:prstGeom>
          <a:noFill/>
          <a:ln w="19050">
            <a:solidFill>
              <a:srgbClr val="366F99"/>
            </a:solidFill>
            <a:miter lim="800000"/>
          </a:ln>
          <a:extLst>
            <a:ext uri="{909E8E84-426E-40DD-AFC4-6F175D3DCCD1}">
              <a14:hiddenFill xmlns:a14="http://schemas.microsoft.com/office/drawing/2010/main">
                <a:solidFill>
                  <a:srgbClr val="FFFFFF"/>
                </a:solidFill>
              </a14:hiddenFill>
            </a:ext>
          </a:extLst>
        </p:spPr>
        <p:txBody>
          <a:bodyPr wrap="none" anchor="ctr"/>
          <a:lstStyle/>
          <a:p>
            <a:pPr fontAlgn="base">
              <a:spcBef>
                <a:spcPct val="0"/>
              </a:spcBef>
              <a:spcAft>
                <a:spcPct val="0"/>
              </a:spcAft>
            </a:pPr>
            <a:endParaRPr lang="zh-CN" altLang="en-US" sz="2400" b="1">
              <a:solidFill>
                <a:srgbClr val="EEECE1">
                  <a:lumMod val="10000"/>
                </a:srgbClr>
              </a:solidFill>
              <a:ea typeface="宋体" panose="02010600030101010101" pitchFamily="2" charset="-122"/>
            </a:endParaRPr>
          </a:p>
        </p:txBody>
      </p:sp>
      <p:sp>
        <p:nvSpPr>
          <p:cNvPr id="15" name="TextBox 14"/>
          <p:cNvSpPr txBox="1"/>
          <p:nvPr/>
        </p:nvSpPr>
        <p:spPr>
          <a:xfrm>
            <a:off x="5652120" y="3479947"/>
            <a:ext cx="1810920" cy="408623"/>
          </a:xfrm>
          <a:prstGeom prst="roundRect">
            <a:avLst/>
          </a:prstGeom>
          <a:solidFill>
            <a:srgbClr val="F18D4D"/>
          </a:solidFill>
          <a:ln w="28575">
            <a:solidFill>
              <a:srgbClr val="E86412"/>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defPPr>
              <a:defRPr lang="zh-CN"/>
            </a:defPPr>
            <a:lvl1pPr>
              <a:defRPr b="1">
                <a:solidFill>
                  <a:schemeClr val="bg1"/>
                </a:solidFill>
              </a:defRPr>
            </a:lvl1pPr>
          </a:lstStyle>
          <a:p>
            <a:r>
              <a:rPr lang="zh-CN" altLang="en-US" dirty="0">
                <a:solidFill>
                  <a:prstClr val="white"/>
                </a:solidFill>
              </a:rPr>
              <a:t>四大学科类型</a:t>
            </a:r>
            <a:endParaRPr lang="zh-CN" altLang="en-US" dirty="0">
              <a:solidFill>
                <a:prstClr val="white"/>
              </a:solidFill>
            </a:endParaRPr>
          </a:p>
        </p:txBody>
      </p:sp>
      <p:sp>
        <p:nvSpPr>
          <p:cNvPr id="45" name="Text Box 12"/>
          <p:cNvSpPr txBox="1">
            <a:spLocks noChangeArrowheads="1"/>
          </p:cNvSpPr>
          <p:nvPr/>
        </p:nvSpPr>
        <p:spPr bwMode="auto">
          <a:xfrm>
            <a:off x="215618" y="384826"/>
            <a:ext cx="50292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800" b="1" dirty="0">
                <a:solidFill>
                  <a:srgbClr val="FF8200"/>
                </a:solidFill>
                <a:latin typeface="微软雅黑" panose="020B0503020204020204" charset="-122"/>
                <a:ea typeface="微软雅黑" panose="020B0503020204020204" charset="-122"/>
              </a:rPr>
              <a:t>SD </a:t>
            </a:r>
            <a:r>
              <a:rPr lang="zh-CN" altLang="en-US" sz="2800" b="1" dirty="0">
                <a:solidFill>
                  <a:srgbClr val="FF8200"/>
                </a:solidFill>
                <a:latin typeface="微软雅黑" panose="020B0503020204020204" charset="-122"/>
                <a:ea typeface="微软雅黑" panose="020B0503020204020204" charset="-122"/>
              </a:rPr>
              <a:t>主页</a:t>
            </a:r>
            <a:endParaRPr lang="zh-CN" altLang="en-US" sz="2800" b="1" dirty="0">
              <a:solidFill>
                <a:srgbClr val="FF8200"/>
              </a:solidFill>
              <a:latin typeface="微软雅黑" panose="020B0503020204020204" charset="-122"/>
              <a:ea typeface="微软雅黑" panose="020B0503020204020204" charset="-122"/>
            </a:endParaRPr>
          </a:p>
        </p:txBody>
      </p:sp>
      <p:pic>
        <p:nvPicPr>
          <p:cNvPr id="4" name="Picture 3"/>
          <p:cNvPicPr>
            <a:picLocks noChangeAspect="1"/>
          </p:cNvPicPr>
          <p:nvPr/>
        </p:nvPicPr>
        <p:blipFill>
          <a:blip r:embed="rId4"/>
          <a:stretch>
            <a:fillRect/>
          </a:stretch>
        </p:blipFill>
        <p:spPr>
          <a:xfrm>
            <a:off x="0" y="820393"/>
            <a:ext cx="9144000" cy="376748"/>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1"/>
          <a:stretch>
            <a:fillRect/>
          </a:stretch>
        </p:blipFill>
        <p:spPr>
          <a:xfrm>
            <a:off x="0" y="1317737"/>
            <a:ext cx="9144000" cy="4222525"/>
          </a:xfrm>
          <a:prstGeom prst="rect">
            <a:avLst/>
          </a:prstGeom>
        </p:spPr>
      </p:pic>
      <p:sp>
        <p:nvSpPr>
          <p:cNvPr id="3" name="Text Box 12"/>
          <p:cNvSpPr txBox="1">
            <a:spLocks noChangeArrowheads="1"/>
          </p:cNvSpPr>
          <p:nvPr/>
        </p:nvSpPr>
        <p:spPr bwMode="auto">
          <a:xfrm>
            <a:off x="215618" y="384826"/>
            <a:ext cx="50292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en-US" altLang="zh-CN" sz="2800" b="1" dirty="0">
                <a:solidFill>
                  <a:srgbClr val="FF8200"/>
                </a:solidFill>
                <a:latin typeface="微软雅黑" panose="020B0503020204020204" charset="-122"/>
                <a:ea typeface="微软雅黑" panose="020B0503020204020204" charset="-122"/>
              </a:rPr>
              <a:t>SD </a:t>
            </a:r>
            <a:r>
              <a:rPr lang="zh-CN" altLang="en-US" sz="2800" b="1" dirty="0">
                <a:solidFill>
                  <a:srgbClr val="FF8200"/>
                </a:solidFill>
                <a:latin typeface="微软雅黑" panose="020B0503020204020204" charset="-122"/>
                <a:ea typeface="微软雅黑" panose="020B0503020204020204" charset="-122"/>
              </a:rPr>
              <a:t>主页</a:t>
            </a:r>
            <a:endParaRPr lang="zh-CN" altLang="en-US" sz="2800" b="1" dirty="0">
              <a:solidFill>
                <a:srgbClr val="FF8200"/>
              </a:solidFill>
              <a:latin typeface="微软雅黑" panose="020B0503020204020204" charset="-122"/>
              <a:ea typeface="微软雅黑" panose="020B0503020204020204"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8" name="Picture 6"/>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827584" y="4694695"/>
            <a:ext cx="6607257" cy="29284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 Box 12"/>
          <p:cNvSpPr txBox="1">
            <a:spLocks noChangeArrowheads="1"/>
          </p:cNvSpPr>
          <p:nvPr/>
        </p:nvSpPr>
        <p:spPr bwMode="auto">
          <a:xfrm>
            <a:off x="298885" y="343392"/>
            <a:ext cx="380506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zh-CN" altLang="en-US" sz="2800" b="1" dirty="0">
                <a:solidFill>
                  <a:schemeClr val="tx2"/>
                </a:solidFill>
                <a:latin typeface="微软雅黑" panose="020B0503020204020204" charset="-122"/>
                <a:ea typeface="微软雅黑" panose="020B0503020204020204" charset="-122"/>
              </a:rPr>
              <a:t>快速检索某一特定文献</a:t>
            </a:r>
            <a:endParaRPr lang="zh-CN" altLang="en-US" sz="2800" b="1" dirty="0">
              <a:solidFill>
                <a:schemeClr val="tx2"/>
              </a:solidFill>
              <a:latin typeface="微软雅黑" panose="020B0503020204020204" charset="-122"/>
              <a:ea typeface="微软雅黑" panose="020B0503020204020204" charset="-122"/>
            </a:endParaRPr>
          </a:p>
        </p:txBody>
      </p:sp>
      <p:sp>
        <p:nvSpPr>
          <p:cNvPr id="3" name="TextBox 2"/>
          <p:cNvSpPr txBox="1"/>
          <p:nvPr/>
        </p:nvSpPr>
        <p:spPr>
          <a:xfrm>
            <a:off x="505806" y="3909162"/>
            <a:ext cx="5745782" cy="646331"/>
          </a:xfrm>
          <a:prstGeom prst="rect">
            <a:avLst/>
          </a:prstGeom>
          <a:noFill/>
        </p:spPr>
        <p:txBody>
          <a:bodyPr wrap="square" rtlCol="0">
            <a:spAutoFit/>
          </a:bodyPr>
          <a:lstStyle/>
          <a:p>
            <a:r>
              <a:rPr lang="en-US" altLang="zh-CN" dirty="0">
                <a:solidFill>
                  <a:srgbClr val="FF8200"/>
                </a:solidFill>
              </a:rPr>
              <a:t>I. </a:t>
            </a:r>
            <a:r>
              <a:rPr lang="en-US" altLang="zh-CN" dirty="0" err="1">
                <a:solidFill>
                  <a:srgbClr val="FF8200"/>
                </a:solidFill>
              </a:rPr>
              <a:t>Diez</a:t>
            </a:r>
            <a:r>
              <a:rPr lang="en-US" altLang="zh-CN" dirty="0">
                <a:solidFill>
                  <a:srgbClr val="FF8200"/>
                </a:solidFill>
              </a:rPr>
              <a:t>-Perez, C. </a:t>
            </a:r>
            <a:r>
              <a:rPr lang="en-US" altLang="zh-CN" dirty="0" err="1">
                <a:solidFill>
                  <a:srgbClr val="FF8200"/>
                </a:solidFill>
              </a:rPr>
              <a:t>Vericat</a:t>
            </a:r>
            <a:r>
              <a:rPr lang="en-US" altLang="zh-CN" dirty="0">
                <a:solidFill>
                  <a:srgbClr val="FF8200"/>
                </a:solidFill>
              </a:rPr>
              <a:t>, P. </a:t>
            </a:r>
            <a:r>
              <a:rPr lang="en-US" altLang="zh-CN" dirty="0" err="1">
                <a:solidFill>
                  <a:srgbClr val="FF8200"/>
                </a:solidFill>
              </a:rPr>
              <a:t>Gorostiza</a:t>
            </a:r>
            <a:r>
              <a:rPr lang="en-US" altLang="zh-CN" dirty="0">
                <a:solidFill>
                  <a:srgbClr val="FF8200"/>
                </a:solidFill>
              </a:rPr>
              <a:t>, F. </a:t>
            </a:r>
            <a:r>
              <a:rPr lang="en-US" altLang="zh-CN" dirty="0" err="1">
                <a:solidFill>
                  <a:srgbClr val="FF8200"/>
                </a:solidFill>
              </a:rPr>
              <a:t>Sanz</a:t>
            </a:r>
            <a:r>
              <a:rPr lang="en-US" altLang="zh-CN" dirty="0">
                <a:solidFill>
                  <a:srgbClr val="FF8200"/>
                </a:solidFill>
              </a:rPr>
              <a:t>, ELECTROCHEM COMMUN 8 (2006) 627.</a:t>
            </a:r>
            <a:endParaRPr lang="zh-CN" altLang="en-US" dirty="0">
              <a:solidFill>
                <a:srgbClr val="FF8200"/>
              </a:solidFill>
            </a:endParaRPr>
          </a:p>
        </p:txBody>
      </p:sp>
      <p:cxnSp>
        <p:nvCxnSpPr>
          <p:cNvPr id="6" name="直接连接符 5"/>
          <p:cNvCxnSpPr/>
          <p:nvPr/>
        </p:nvCxnSpPr>
        <p:spPr bwMode="auto">
          <a:xfrm>
            <a:off x="577376" y="4502318"/>
            <a:ext cx="2872891" cy="0"/>
          </a:xfrm>
          <a:prstGeom prst="line">
            <a:avLst/>
          </a:prstGeom>
          <a:solidFill>
            <a:schemeClr val="accent1"/>
          </a:solidFill>
          <a:ln w="19050" cap="flat" cmpd="sng" algn="ctr">
            <a:solidFill>
              <a:srgbClr val="FF9900"/>
            </a:solidFill>
            <a:prstDash val="solid"/>
            <a:round/>
            <a:headEnd type="none" w="med" len="med"/>
            <a:tailEnd type="none" w="med" len="med"/>
          </a:ln>
          <a:effectLst/>
        </p:spPr>
      </p:cxnSp>
      <p:sp>
        <p:nvSpPr>
          <p:cNvPr id="9" name="矩形 8"/>
          <p:cNvSpPr/>
          <p:nvPr/>
        </p:nvSpPr>
        <p:spPr bwMode="auto">
          <a:xfrm>
            <a:off x="-8546" y="3189082"/>
            <a:ext cx="9152546" cy="210877"/>
          </a:xfrm>
          <a:prstGeom prst="rect">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lstStyle/>
          <a:p>
            <a:pPr algn="ctr" defTabSz="914400" fontAlgn="base">
              <a:spcBef>
                <a:spcPct val="0"/>
              </a:spcBef>
              <a:spcAft>
                <a:spcPct val="0"/>
              </a:spcAft>
            </a:pPr>
            <a:endParaRPr lang="zh-CN" altLang="en-US">
              <a:solidFill>
                <a:srgbClr val="FF8200"/>
              </a:solidFill>
              <a:ea typeface="宋体" panose="02010600030101010101" pitchFamily="2" charset="-122"/>
            </a:endParaRPr>
          </a:p>
        </p:txBody>
      </p:sp>
      <p:sp>
        <p:nvSpPr>
          <p:cNvPr id="10" name="矩形 9"/>
          <p:cNvSpPr/>
          <p:nvPr/>
        </p:nvSpPr>
        <p:spPr>
          <a:xfrm>
            <a:off x="126124" y="3477114"/>
            <a:ext cx="4031874" cy="369332"/>
          </a:xfrm>
          <a:prstGeom prst="rect">
            <a:avLst/>
          </a:prstGeom>
        </p:spPr>
        <p:style>
          <a:lnRef idx="2">
            <a:schemeClr val="accent6"/>
          </a:lnRef>
          <a:fillRef idx="1">
            <a:schemeClr val="lt1"/>
          </a:fillRef>
          <a:effectRef idx="0">
            <a:schemeClr val="accent6"/>
          </a:effectRef>
          <a:fontRef idx="minor">
            <a:schemeClr val="dk1"/>
          </a:fontRef>
        </p:style>
        <p:txBody>
          <a:bodyPr wrap="none">
            <a:spAutoFit/>
          </a:bodyPr>
          <a:lstStyle/>
          <a:p>
            <a:r>
              <a:rPr lang="zh-CN" altLang="en-US" b="1" dirty="0">
                <a:solidFill>
                  <a:srgbClr val="FF8200"/>
                </a:solidFill>
              </a:rPr>
              <a:t>方式</a:t>
            </a:r>
            <a:r>
              <a:rPr lang="en-US" altLang="zh-CN" b="1" dirty="0">
                <a:solidFill>
                  <a:srgbClr val="FF8200"/>
                </a:solidFill>
              </a:rPr>
              <a:t>2</a:t>
            </a:r>
            <a:r>
              <a:rPr lang="zh-CN" altLang="en-US" b="1" dirty="0">
                <a:solidFill>
                  <a:srgbClr val="FF8200"/>
                </a:solidFill>
              </a:rPr>
              <a:t>：输入期刊名、卷（期）、页码</a:t>
            </a:r>
            <a:endParaRPr lang="zh-CN" altLang="en-US" b="1" dirty="0">
              <a:solidFill>
                <a:srgbClr val="FF8200"/>
              </a:solidFill>
            </a:endParaRPr>
          </a:p>
        </p:txBody>
      </p:sp>
      <p:sp>
        <p:nvSpPr>
          <p:cNvPr id="13" name="矩形 12"/>
          <p:cNvSpPr/>
          <p:nvPr/>
        </p:nvSpPr>
        <p:spPr>
          <a:xfrm>
            <a:off x="126124" y="908720"/>
            <a:ext cx="2404826" cy="369332"/>
          </a:xfrm>
          <a:prstGeom prst="rect">
            <a:avLst/>
          </a:prstGeom>
        </p:spPr>
        <p:style>
          <a:lnRef idx="2">
            <a:schemeClr val="accent6"/>
          </a:lnRef>
          <a:fillRef idx="1">
            <a:schemeClr val="lt1"/>
          </a:fillRef>
          <a:effectRef idx="0">
            <a:schemeClr val="accent6"/>
          </a:effectRef>
          <a:fontRef idx="minor">
            <a:schemeClr val="dk1"/>
          </a:fontRef>
        </p:style>
        <p:txBody>
          <a:bodyPr wrap="none">
            <a:spAutoFit/>
          </a:bodyPr>
          <a:lstStyle/>
          <a:p>
            <a:r>
              <a:rPr lang="zh-CN" altLang="en-US" b="1" dirty="0">
                <a:solidFill>
                  <a:srgbClr val="FF8200"/>
                </a:solidFill>
              </a:rPr>
              <a:t>方式</a:t>
            </a:r>
            <a:r>
              <a:rPr lang="en-US" altLang="zh-CN" b="1" dirty="0">
                <a:solidFill>
                  <a:srgbClr val="FF8200"/>
                </a:solidFill>
              </a:rPr>
              <a:t>1</a:t>
            </a:r>
            <a:r>
              <a:rPr lang="zh-CN" altLang="en-US" b="1" dirty="0">
                <a:solidFill>
                  <a:srgbClr val="FF8200"/>
                </a:solidFill>
              </a:rPr>
              <a:t>：输入文献全名</a:t>
            </a:r>
            <a:endParaRPr lang="zh-CN" altLang="en-US" b="1" dirty="0">
              <a:solidFill>
                <a:srgbClr val="FF8200"/>
              </a:solidFill>
            </a:endParaRPr>
          </a:p>
        </p:txBody>
      </p:sp>
      <p:pic>
        <p:nvPicPr>
          <p:cNvPr id="4" name="图片 3"/>
          <p:cNvPicPr>
            <a:picLocks noChangeAspect="1"/>
          </p:cNvPicPr>
          <p:nvPr/>
        </p:nvPicPr>
        <p:blipFill rotWithShape="1">
          <a:blip r:embed="rId2">
            <a:extLst>
              <a:ext uri="{28A0092B-C50C-407E-A947-70E740481C1C}">
                <a14:useLocalDpi xmlns:a14="http://schemas.microsoft.com/office/drawing/2010/main" val="0"/>
              </a:ext>
            </a:extLst>
          </a:blip>
          <a:srcRect l="1078" t="10088" r="868"/>
          <a:stretch>
            <a:fillRect/>
          </a:stretch>
        </p:blipFill>
        <p:spPr>
          <a:xfrm>
            <a:off x="827585" y="1412776"/>
            <a:ext cx="6552728" cy="263392"/>
          </a:xfrm>
          <a:prstGeom prst="rect">
            <a:avLst/>
          </a:prstGeom>
          <a:ln>
            <a:noFill/>
          </a:ln>
          <a:effectLst>
            <a:outerShdw blurRad="190500" algn="tl" rotWithShape="0">
              <a:srgbClr val="000000">
                <a:alpha val="70000"/>
              </a:srgbClr>
            </a:outerShdw>
          </a:effectLst>
        </p:spPr>
      </p:pic>
      <p:sp>
        <p:nvSpPr>
          <p:cNvPr id="17" name="矩形 16"/>
          <p:cNvSpPr/>
          <p:nvPr/>
        </p:nvSpPr>
        <p:spPr bwMode="auto">
          <a:xfrm>
            <a:off x="880553" y="1427148"/>
            <a:ext cx="2401368" cy="196553"/>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lstStyle/>
          <a:p>
            <a:pPr algn="ctr" defTabSz="914400" fontAlgn="base">
              <a:spcBef>
                <a:spcPct val="0"/>
              </a:spcBef>
              <a:spcAft>
                <a:spcPct val="0"/>
              </a:spcAft>
            </a:pPr>
            <a:endParaRPr lang="zh-CN" altLang="en-US">
              <a:solidFill>
                <a:srgbClr val="FF8200"/>
              </a:solidFill>
              <a:ea typeface="宋体" panose="02010600030101010101" pitchFamily="2" charset="-122"/>
            </a:endParaRPr>
          </a:p>
        </p:txBody>
      </p:sp>
      <p:pic>
        <p:nvPicPr>
          <p:cNvPr id="542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7624" y="1862570"/>
            <a:ext cx="7392355" cy="1206467"/>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矩形 6"/>
          <p:cNvSpPr/>
          <p:nvPr/>
        </p:nvSpPr>
        <p:spPr bwMode="auto">
          <a:xfrm>
            <a:off x="4606183" y="4696952"/>
            <a:ext cx="2503918" cy="263280"/>
          </a:xfrm>
          <a:prstGeom prst="rect">
            <a:avLst/>
          </a:prstGeom>
          <a:noFill/>
          <a:ln w="19050">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lstStyle/>
          <a:p>
            <a:pPr algn="ctr" defTabSz="914400" fontAlgn="base">
              <a:spcBef>
                <a:spcPct val="0"/>
              </a:spcBef>
              <a:spcAft>
                <a:spcPct val="0"/>
              </a:spcAft>
            </a:pPr>
            <a:endParaRPr lang="zh-CN" altLang="en-US">
              <a:solidFill>
                <a:srgbClr val="FF8200"/>
              </a:solidFill>
              <a:ea typeface="宋体" panose="02010600030101010101" pitchFamily="2" charset="-122"/>
            </a:endParaRPr>
          </a:p>
        </p:txBody>
      </p:sp>
      <p:pic>
        <p:nvPicPr>
          <p:cNvPr id="54279"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52541" y="3933131"/>
            <a:ext cx="3293268" cy="58485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4280"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87624" y="5102837"/>
            <a:ext cx="7392355" cy="1545874"/>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54274"/>
                                        </p:tgtEl>
                                        <p:attrNameLst>
                                          <p:attrName>style.visibility</p:attrName>
                                        </p:attrNameLst>
                                      </p:cBhvr>
                                      <p:to>
                                        <p:strVal val="visible"/>
                                      </p:to>
                                    </p:set>
                                    <p:animEffect transition="in" filter="fade">
                                      <p:cBhvr>
                                        <p:cTn id="15" dur="500"/>
                                        <p:tgtEl>
                                          <p:spTgt spid="5427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fade">
                                      <p:cBhvr>
                                        <p:cTn id="20" dur="500"/>
                                        <p:tgtEl>
                                          <p:spTgt spid="9"/>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3"/>
                                        </p:tgtEl>
                                        <p:attrNameLst>
                                          <p:attrName>style.visibility</p:attrName>
                                        </p:attrNameLst>
                                      </p:cBhvr>
                                      <p:to>
                                        <p:strVal val="visible"/>
                                      </p:to>
                                    </p:set>
                                    <p:animEffect transition="in" filter="fade">
                                      <p:cBhvr>
                                        <p:cTn id="29" dur="500"/>
                                        <p:tgtEl>
                                          <p:spTgt spid="3"/>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6"/>
                                        </p:tgtEl>
                                        <p:attrNameLst>
                                          <p:attrName>style.visibility</p:attrName>
                                        </p:attrNameLst>
                                      </p:cBhvr>
                                      <p:to>
                                        <p:strVal val="visible"/>
                                      </p:to>
                                    </p:set>
                                    <p:animEffect transition="in" filter="fade">
                                      <p:cBhvr>
                                        <p:cTn id="33" dur="500"/>
                                        <p:tgtEl>
                                          <p:spTgt spid="6"/>
                                        </p:tgtEl>
                                      </p:cBhvr>
                                    </p:animEffect>
                                  </p:childTnLst>
                                </p:cTn>
                              </p:par>
                            </p:childTnLst>
                          </p:cTn>
                        </p:par>
                        <p:par>
                          <p:cTn id="34" fill="hold">
                            <p:stCondLst>
                              <p:cond delay="1000"/>
                            </p:stCondLst>
                            <p:childTnLst>
                              <p:par>
                                <p:cTn id="35" presetID="10" presetClass="entr" presetSubtype="0" fill="hold" grpId="0" nodeType="afterEffect">
                                  <p:stCondLst>
                                    <p:cond delay="0"/>
                                  </p:stCondLst>
                                  <p:childTnLst>
                                    <p:set>
                                      <p:cBhvr>
                                        <p:cTn id="36" dur="1" fill="hold">
                                          <p:stCondLst>
                                            <p:cond delay="0"/>
                                          </p:stCondLst>
                                        </p:cTn>
                                        <p:tgtEl>
                                          <p:spTgt spid="7"/>
                                        </p:tgtEl>
                                        <p:attrNameLst>
                                          <p:attrName>style.visibility</p:attrName>
                                        </p:attrNameLst>
                                      </p:cBhvr>
                                      <p:to>
                                        <p:strVal val="visible"/>
                                      </p:to>
                                    </p:set>
                                    <p:animEffect transition="in" filter="fade">
                                      <p:cBhvr>
                                        <p:cTn id="37" dur="500"/>
                                        <p:tgtEl>
                                          <p:spTgt spid="7"/>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54278"/>
                                        </p:tgtEl>
                                        <p:attrNameLst>
                                          <p:attrName>style.visibility</p:attrName>
                                        </p:attrNameLst>
                                      </p:cBhvr>
                                      <p:to>
                                        <p:strVal val="visible"/>
                                      </p:to>
                                    </p:set>
                                    <p:animEffect transition="in" filter="fade">
                                      <p:cBhvr>
                                        <p:cTn id="42" dur="500"/>
                                        <p:tgtEl>
                                          <p:spTgt spid="54278"/>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54279"/>
                                        </p:tgtEl>
                                        <p:attrNameLst>
                                          <p:attrName>style.visibility</p:attrName>
                                        </p:attrNameLst>
                                      </p:cBhvr>
                                      <p:to>
                                        <p:strVal val="visible"/>
                                      </p:to>
                                    </p:set>
                                    <p:animEffect transition="in" filter="fade">
                                      <p:cBhvr>
                                        <p:cTn id="47" dur="500"/>
                                        <p:tgtEl>
                                          <p:spTgt spid="54279"/>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54280"/>
                                        </p:tgtEl>
                                        <p:attrNameLst>
                                          <p:attrName>style.visibility</p:attrName>
                                        </p:attrNameLst>
                                      </p:cBhvr>
                                      <p:to>
                                        <p:strVal val="visible"/>
                                      </p:to>
                                    </p:set>
                                    <p:animEffect transition="in" filter="fade">
                                      <p:cBhvr>
                                        <p:cTn id="52" dur="500"/>
                                        <p:tgtEl>
                                          <p:spTgt spid="5428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9" grpId="0" animBg="1"/>
      <p:bldP spid="10" grpId="0" animBg="1"/>
      <p:bldP spid="17" grpId="0" animBg="1"/>
      <p:bldP spid="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3515" y="341153"/>
            <a:ext cx="8229600" cy="583491"/>
          </a:xfrm>
        </p:spPr>
        <p:txBody>
          <a:bodyPr/>
          <a:lstStyle/>
          <a:p>
            <a:r>
              <a:rPr lang="zh-CN" altLang="en-US" dirty="0">
                <a:solidFill>
                  <a:srgbClr val="FF8200"/>
                </a:solidFill>
              </a:rPr>
              <a:t>检索结果列表</a:t>
            </a:r>
            <a:r>
              <a:rPr lang="en-US" altLang="zh-CN" dirty="0">
                <a:solidFill>
                  <a:srgbClr val="FF8200"/>
                </a:solidFill>
              </a:rPr>
              <a:t>——</a:t>
            </a:r>
            <a:r>
              <a:rPr lang="zh-CN" altLang="en-US" dirty="0">
                <a:solidFill>
                  <a:srgbClr val="FF8200"/>
                </a:solidFill>
              </a:rPr>
              <a:t>特定主体</a:t>
            </a:r>
            <a:endParaRPr lang="en-US" dirty="0">
              <a:solidFill>
                <a:srgbClr val="FF8200"/>
              </a:solidFill>
            </a:endParaRPr>
          </a:p>
        </p:txBody>
      </p:sp>
      <p:pic>
        <p:nvPicPr>
          <p:cNvPr id="3" name="Picture 2" descr="Screen Clipping"/>
          <p:cNvPicPr>
            <a:picLocks noChangeAspect="1"/>
          </p:cNvPicPr>
          <p:nvPr/>
        </p:nvPicPr>
        <p:blipFill>
          <a:blip r:embed="rId1"/>
          <a:stretch>
            <a:fillRect/>
          </a:stretch>
        </p:blipFill>
        <p:spPr>
          <a:xfrm>
            <a:off x="298938" y="915049"/>
            <a:ext cx="8643729" cy="5040798"/>
          </a:xfrm>
          <a:prstGeom prst="rect">
            <a:avLst/>
          </a:prstGeom>
        </p:spPr>
      </p:pic>
      <p:sp>
        <p:nvSpPr>
          <p:cNvPr id="4" name="Rectangle 3"/>
          <p:cNvSpPr/>
          <p:nvPr/>
        </p:nvSpPr>
        <p:spPr bwMode="auto">
          <a:xfrm>
            <a:off x="191912" y="1808821"/>
            <a:ext cx="1528113" cy="4147026"/>
          </a:xfrm>
          <a:prstGeom prst="rect">
            <a:avLst/>
          </a:prstGeom>
          <a:noFill/>
          <a:ln w="2857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lstStyle/>
          <a:p>
            <a:pPr algn="ctr" defTabSz="914400" fontAlgn="base">
              <a:spcBef>
                <a:spcPct val="0"/>
              </a:spcBef>
              <a:spcAft>
                <a:spcPct val="0"/>
              </a:spcAft>
            </a:pPr>
            <a:endParaRPr lang="en-US">
              <a:solidFill>
                <a:srgbClr val="000000"/>
              </a:solidFill>
              <a:ea typeface="宋体" panose="02010600030101010101" pitchFamily="2" charset="-122"/>
            </a:endParaRPr>
          </a:p>
        </p:txBody>
      </p:sp>
      <p:sp>
        <p:nvSpPr>
          <p:cNvPr id="5" name="AutoShape 13"/>
          <p:cNvSpPr>
            <a:spLocks noChangeArrowheads="1"/>
          </p:cNvSpPr>
          <p:nvPr/>
        </p:nvSpPr>
        <p:spPr bwMode="auto">
          <a:xfrm>
            <a:off x="1782016" y="1922969"/>
            <a:ext cx="737197" cy="722101"/>
          </a:xfrm>
          <a:prstGeom prst="wedgeRoundRectCallout">
            <a:avLst>
              <a:gd name="adj1" fmla="val -71621"/>
              <a:gd name="adj2" fmla="val -54"/>
              <a:gd name="adj3" fmla="val 16667"/>
            </a:avLst>
          </a:prstGeom>
          <a:ln w="19050"/>
        </p:spPr>
        <p:style>
          <a:lnRef idx="2">
            <a:schemeClr val="accent1">
              <a:shade val="50000"/>
            </a:schemeClr>
          </a:lnRef>
          <a:fillRef idx="1">
            <a:schemeClr val="accent1"/>
          </a:fillRef>
          <a:effectRef idx="0">
            <a:schemeClr val="accent1"/>
          </a:effectRef>
          <a:fontRef idx="minor">
            <a:schemeClr val="lt1"/>
          </a:fontRef>
        </p:style>
        <p:txBody>
          <a:bodyPr/>
          <a:lstStyle/>
          <a:p>
            <a:r>
              <a:rPr lang="zh-CN" altLang="en-US" b="1" dirty="0">
                <a:solidFill>
                  <a:srgbClr val="FFFFFF"/>
                </a:solidFill>
              </a:rPr>
              <a:t>条件精简</a:t>
            </a:r>
            <a:endParaRPr lang="zh-CN" altLang="en-US" b="1" dirty="0">
              <a:solidFill>
                <a:srgbClr val="FFFFFF"/>
              </a:solidFill>
            </a:endParaRPr>
          </a:p>
        </p:txBody>
      </p:sp>
      <p:sp>
        <p:nvSpPr>
          <p:cNvPr id="6" name="Rectangle 5"/>
          <p:cNvSpPr/>
          <p:nvPr/>
        </p:nvSpPr>
        <p:spPr bwMode="auto">
          <a:xfrm>
            <a:off x="3951915" y="1894833"/>
            <a:ext cx="929573" cy="216024"/>
          </a:xfrm>
          <a:prstGeom prst="rect">
            <a:avLst/>
          </a:prstGeom>
          <a:noFill/>
          <a:ln w="2857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lstStyle/>
          <a:p>
            <a:pPr algn="ctr" defTabSz="914400" fontAlgn="base">
              <a:spcBef>
                <a:spcPct val="0"/>
              </a:spcBef>
              <a:spcAft>
                <a:spcPct val="0"/>
              </a:spcAft>
            </a:pPr>
            <a:endParaRPr lang="en-US">
              <a:solidFill>
                <a:srgbClr val="000000"/>
              </a:solidFill>
              <a:ea typeface="宋体" panose="02010600030101010101" pitchFamily="2" charset="-122"/>
            </a:endParaRPr>
          </a:p>
        </p:txBody>
      </p:sp>
      <p:pic>
        <p:nvPicPr>
          <p:cNvPr id="7" name="Picture 6"/>
          <p:cNvPicPr>
            <a:picLocks noChangeAspect="1"/>
          </p:cNvPicPr>
          <p:nvPr/>
        </p:nvPicPr>
        <p:blipFill>
          <a:blip r:embed="rId2"/>
          <a:stretch>
            <a:fillRect/>
          </a:stretch>
        </p:blipFill>
        <p:spPr>
          <a:xfrm>
            <a:off x="6465267" y="379101"/>
            <a:ext cx="2562823" cy="625451"/>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938519" y="1340768"/>
            <a:ext cx="6619875" cy="49053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 Box 12"/>
          <p:cNvSpPr txBox="1">
            <a:spLocks noChangeArrowheads="1"/>
          </p:cNvSpPr>
          <p:nvPr/>
        </p:nvSpPr>
        <p:spPr bwMode="auto">
          <a:xfrm>
            <a:off x="321386" y="471154"/>
            <a:ext cx="171683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914400" fontAlgn="base">
              <a:spcBef>
                <a:spcPct val="0"/>
              </a:spcBef>
              <a:spcAft>
                <a:spcPct val="0"/>
              </a:spcAft>
            </a:pPr>
            <a:r>
              <a:rPr lang="zh-CN" altLang="en-US" sz="2800" b="1" dirty="0">
                <a:solidFill>
                  <a:srgbClr val="FF8200"/>
                </a:solidFill>
                <a:latin typeface="微软雅黑" panose="020B0503020204020204" charset="-122"/>
                <a:ea typeface="微软雅黑" panose="020B0503020204020204" charset="-122"/>
              </a:rPr>
              <a:t>高级检索</a:t>
            </a:r>
            <a:endParaRPr lang="zh-CN" altLang="en-US" sz="2800" b="1" dirty="0">
              <a:solidFill>
                <a:srgbClr val="FF8200"/>
              </a:solidFill>
              <a:latin typeface="微软雅黑" panose="020B0503020204020204" charset="-122"/>
              <a:ea typeface="微软雅黑" panose="020B0503020204020204" charset="-122"/>
            </a:endParaRPr>
          </a:p>
        </p:txBody>
      </p:sp>
      <p:grpSp>
        <p:nvGrpSpPr>
          <p:cNvPr id="44047" name="组合 44046"/>
          <p:cNvGrpSpPr/>
          <p:nvPr/>
        </p:nvGrpSpPr>
        <p:grpSpPr>
          <a:xfrm>
            <a:off x="967539" y="4555126"/>
            <a:ext cx="6145641" cy="722101"/>
            <a:chOff x="954483" y="5038521"/>
            <a:chExt cx="6145641" cy="722101"/>
          </a:xfrm>
        </p:grpSpPr>
        <p:sp>
          <p:nvSpPr>
            <p:cNvPr id="47" name="矩形 46"/>
            <p:cNvSpPr/>
            <p:nvPr/>
          </p:nvSpPr>
          <p:spPr bwMode="auto">
            <a:xfrm>
              <a:off x="2267743" y="5049154"/>
              <a:ext cx="4832381" cy="609567"/>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lstStyle/>
            <a:p>
              <a:pPr algn="ctr" defTabSz="914400" fontAlgn="base">
                <a:spcBef>
                  <a:spcPct val="0"/>
                </a:spcBef>
                <a:spcAft>
                  <a:spcPct val="0"/>
                </a:spcAft>
              </a:pPr>
              <a:endParaRPr lang="zh-CN" altLang="en-US">
                <a:solidFill>
                  <a:srgbClr val="000000"/>
                </a:solidFill>
                <a:ea typeface="宋体" panose="02010600030101010101" pitchFamily="2" charset="-122"/>
              </a:endParaRPr>
            </a:p>
          </p:txBody>
        </p:sp>
        <p:sp>
          <p:nvSpPr>
            <p:cNvPr id="54" name="AutoShape 13"/>
            <p:cNvSpPr>
              <a:spLocks noChangeArrowheads="1"/>
            </p:cNvSpPr>
            <p:nvPr/>
          </p:nvSpPr>
          <p:spPr bwMode="auto">
            <a:xfrm>
              <a:off x="954483" y="5038521"/>
              <a:ext cx="737197" cy="722101"/>
            </a:xfrm>
            <a:prstGeom prst="wedgeRoundRectCallout">
              <a:avLst>
                <a:gd name="adj1" fmla="val 124958"/>
                <a:gd name="adj2" fmla="val -4888"/>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所属领域</a:t>
              </a:r>
              <a:endParaRPr lang="zh-CN" altLang="en-US" b="1" dirty="0">
                <a:solidFill>
                  <a:srgbClr val="FFFFFF"/>
                </a:solidFill>
              </a:endParaRPr>
            </a:p>
          </p:txBody>
        </p:sp>
      </p:grpSp>
      <p:grpSp>
        <p:nvGrpSpPr>
          <p:cNvPr id="44045" name="组合 44044"/>
          <p:cNvGrpSpPr/>
          <p:nvPr/>
        </p:nvGrpSpPr>
        <p:grpSpPr>
          <a:xfrm>
            <a:off x="5868144" y="2153516"/>
            <a:ext cx="3024336" cy="3011177"/>
            <a:chOff x="5691689" y="2708920"/>
            <a:chExt cx="3024336" cy="3011177"/>
          </a:xfrm>
        </p:grpSpPr>
        <p:grpSp>
          <p:nvGrpSpPr>
            <p:cNvPr id="44043" name="组合 44042"/>
            <p:cNvGrpSpPr/>
            <p:nvPr/>
          </p:nvGrpSpPr>
          <p:grpSpPr>
            <a:xfrm>
              <a:off x="5691689" y="2910619"/>
              <a:ext cx="3024336" cy="2809478"/>
              <a:chOff x="5979721" y="2563738"/>
              <a:chExt cx="3024336" cy="2809478"/>
            </a:xfrm>
          </p:grpSpPr>
          <p:pic>
            <p:nvPicPr>
              <p:cNvPr id="4403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80312" y="3489357"/>
                <a:ext cx="1623745" cy="1883859"/>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36" name="直接箭头连接符 35"/>
              <p:cNvCxnSpPr>
                <a:stCxn id="45" idx="3"/>
                <a:endCxn id="44035" idx="0"/>
              </p:cNvCxnSpPr>
              <p:nvPr/>
            </p:nvCxnSpPr>
            <p:spPr bwMode="auto">
              <a:xfrm>
                <a:off x="7524328" y="2961725"/>
                <a:ext cx="667857" cy="527632"/>
              </a:xfrm>
              <a:prstGeom prst="straightConnector1">
                <a:avLst/>
              </a:prstGeom>
              <a:solidFill>
                <a:schemeClr val="accent1"/>
              </a:solidFill>
              <a:ln w="28575" cap="flat" cmpd="sng" algn="ctr">
                <a:solidFill>
                  <a:srgbClr val="FF9900"/>
                </a:solidFill>
                <a:prstDash val="solid"/>
                <a:round/>
                <a:headEnd type="none" w="med" len="med"/>
                <a:tailEnd type="triangle" w="med" len="lg"/>
              </a:ln>
              <a:effectLst/>
            </p:spPr>
          </p:cxnSp>
          <p:sp>
            <p:nvSpPr>
              <p:cNvPr id="45" name="矩形 44"/>
              <p:cNvSpPr/>
              <p:nvPr/>
            </p:nvSpPr>
            <p:spPr bwMode="auto">
              <a:xfrm>
                <a:off x="5979721" y="2563738"/>
                <a:ext cx="1544607" cy="795974"/>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lstStyle/>
              <a:p>
                <a:pPr algn="ctr" defTabSz="914400" fontAlgn="base">
                  <a:spcBef>
                    <a:spcPct val="0"/>
                  </a:spcBef>
                  <a:spcAft>
                    <a:spcPct val="0"/>
                  </a:spcAft>
                </a:pPr>
                <a:endParaRPr lang="zh-CN" altLang="en-US">
                  <a:solidFill>
                    <a:srgbClr val="000000"/>
                  </a:solidFill>
                  <a:ea typeface="宋体" panose="02010600030101010101" pitchFamily="2" charset="-122"/>
                </a:endParaRPr>
              </a:p>
            </p:txBody>
          </p:sp>
        </p:grpSp>
        <p:sp>
          <p:nvSpPr>
            <p:cNvPr id="55" name="AutoShape 13"/>
            <p:cNvSpPr>
              <a:spLocks noChangeArrowheads="1"/>
            </p:cNvSpPr>
            <p:nvPr/>
          </p:nvSpPr>
          <p:spPr bwMode="auto">
            <a:xfrm>
              <a:off x="7570224" y="2708920"/>
              <a:ext cx="737197" cy="722101"/>
            </a:xfrm>
            <a:prstGeom prst="wedgeRoundRectCallout">
              <a:avLst>
                <a:gd name="adj1" fmla="val -92976"/>
                <a:gd name="adj2" fmla="val -11989"/>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检索字段</a:t>
              </a:r>
              <a:endParaRPr lang="zh-CN" altLang="en-US" b="1" dirty="0">
                <a:solidFill>
                  <a:srgbClr val="FFFFFF"/>
                </a:solidFill>
              </a:endParaRPr>
            </a:p>
          </p:txBody>
        </p:sp>
      </p:grpSp>
      <p:grpSp>
        <p:nvGrpSpPr>
          <p:cNvPr id="44046" name="组合 44045"/>
          <p:cNvGrpSpPr/>
          <p:nvPr/>
        </p:nvGrpSpPr>
        <p:grpSpPr>
          <a:xfrm>
            <a:off x="965464" y="3228794"/>
            <a:ext cx="4417947" cy="955332"/>
            <a:chOff x="954483" y="3756653"/>
            <a:chExt cx="4417947" cy="955332"/>
          </a:xfrm>
        </p:grpSpPr>
        <p:sp>
          <p:nvSpPr>
            <p:cNvPr id="34" name="矩形 33"/>
            <p:cNvSpPr/>
            <p:nvPr/>
          </p:nvSpPr>
          <p:spPr bwMode="auto">
            <a:xfrm>
              <a:off x="2267743" y="3756653"/>
              <a:ext cx="3104687" cy="955332"/>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lstStyle/>
            <a:p>
              <a:pPr algn="ctr" defTabSz="914400" fontAlgn="base">
                <a:spcBef>
                  <a:spcPct val="0"/>
                </a:spcBef>
                <a:spcAft>
                  <a:spcPct val="0"/>
                </a:spcAft>
              </a:pPr>
              <a:endParaRPr lang="zh-CN" altLang="en-US">
                <a:solidFill>
                  <a:srgbClr val="000000"/>
                </a:solidFill>
                <a:ea typeface="宋体" panose="02010600030101010101" pitchFamily="2" charset="-122"/>
              </a:endParaRPr>
            </a:p>
          </p:txBody>
        </p:sp>
        <p:sp>
          <p:nvSpPr>
            <p:cNvPr id="56" name="AutoShape 13"/>
            <p:cNvSpPr>
              <a:spLocks noChangeArrowheads="1"/>
            </p:cNvSpPr>
            <p:nvPr/>
          </p:nvSpPr>
          <p:spPr bwMode="auto">
            <a:xfrm>
              <a:off x="954483" y="3960263"/>
              <a:ext cx="737197" cy="722101"/>
            </a:xfrm>
            <a:prstGeom prst="wedgeRoundRectCallout">
              <a:avLst>
                <a:gd name="adj1" fmla="val 129003"/>
                <a:gd name="adj2" fmla="val -25571"/>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资源类型</a:t>
              </a:r>
              <a:endParaRPr lang="zh-CN" altLang="en-US" b="1" dirty="0">
                <a:solidFill>
                  <a:srgbClr val="FFFFFF"/>
                </a:solidFill>
              </a:endParaRPr>
            </a:p>
          </p:txBody>
        </p:sp>
      </p:grpSp>
      <p:grpSp>
        <p:nvGrpSpPr>
          <p:cNvPr id="44049" name="组合 44048"/>
          <p:cNvGrpSpPr/>
          <p:nvPr/>
        </p:nvGrpSpPr>
        <p:grpSpPr>
          <a:xfrm>
            <a:off x="2284638" y="2342297"/>
            <a:ext cx="2493888" cy="789261"/>
            <a:chOff x="2282215" y="2751261"/>
            <a:chExt cx="2493888" cy="789261"/>
          </a:xfrm>
        </p:grpSpPr>
        <p:sp>
          <p:nvSpPr>
            <p:cNvPr id="62" name="矩形 61"/>
            <p:cNvSpPr/>
            <p:nvPr/>
          </p:nvSpPr>
          <p:spPr bwMode="auto">
            <a:xfrm>
              <a:off x="2282215" y="2763847"/>
              <a:ext cx="860258" cy="776675"/>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lstStyle/>
            <a:p>
              <a:pPr algn="ctr" defTabSz="914400" fontAlgn="base">
                <a:spcBef>
                  <a:spcPct val="0"/>
                </a:spcBef>
                <a:spcAft>
                  <a:spcPct val="0"/>
                </a:spcAft>
              </a:pPr>
              <a:endParaRPr lang="zh-CN" altLang="en-US">
                <a:solidFill>
                  <a:srgbClr val="000000"/>
                </a:solidFill>
                <a:ea typeface="宋体" panose="02010600030101010101" pitchFamily="2" charset="-122"/>
              </a:endParaRPr>
            </a:p>
          </p:txBody>
        </p:sp>
        <p:sp>
          <p:nvSpPr>
            <p:cNvPr id="63" name="AutoShape 13"/>
            <p:cNvSpPr>
              <a:spLocks noChangeArrowheads="1"/>
            </p:cNvSpPr>
            <p:nvPr/>
          </p:nvSpPr>
          <p:spPr bwMode="auto">
            <a:xfrm>
              <a:off x="3802054" y="2751261"/>
              <a:ext cx="974049" cy="448848"/>
            </a:xfrm>
            <a:prstGeom prst="wedgeRoundRectCallout">
              <a:avLst>
                <a:gd name="adj1" fmla="val -119920"/>
                <a:gd name="adj2" fmla="val 5464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检索词</a:t>
              </a:r>
              <a:endParaRPr lang="zh-CN" altLang="en-US" b="1" dirty="0">
                <a:solidFill>
                  <a:srgbClr val="FFFFFF"/>
                </a:solidFill>
              </a:endParaRPr>
            </a:p>
          </p:txBody>
        </p:sp>
      </p:grpSp>
      <p:grpSp>
        <p:nvGrpSpPr>
          <p:cNvPr id="44050" name="组合 44049"/>
          <p:cNvGrpSpPr/>
          <p:nvPr/>
        </p:nvGrpSpPr>
        <p:grpSpPr>
          <a:xfrm>
            <a:off x="2274004" y="5306291"/>
            <a:ext cx="3962738" cy="722101"/>
            <a:chOff x="2314113" y="5747154"/>
            <a:chExt cx="3962738" cy="722101"/>
          </a:xfrm>
        </p:grpSpPr>
        <p:sp>
          <p:nvSpPr>
            <p:cNvPr id="48" name="矩形 47"/>
            <p:cNvSpPr/>
            <p:nvPr/>
          </p:nvSpPr>
          <p:spPr bwMode="auto">
            <a:xfrm>
              <a:off x="2314113" y="5783396"/>
              <a:ext cx="2504521" cy="237892"/>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lstStyle/>
            <a:p>
              <a:pPr algn="ctr" defTabSz="914400" fontAlgn="base">
                <a:spcBef>
                  <a:spcPct val="0"/>
                </a:spcBef>
                <a:spcAft>
                  <a:spcPct val="0"/>
                </a:spcAft>
              </a:pPr>
              <a:endParaRPr lang="zh-CN" altLang="en-US" dirty="0">
                <a:solidFill>
                  <a:srgbClr val="000000"/>
                </a:solidFill>
                <a:ea typeface="宋体" panose="02010600030101010101" pitchFamily="2" charset="-122"/>
              </a:endParaRPr>
            </a:p>
          </p:txBody>
        </p:sp>
        <p:sp>
          <p:nvSpPr>
            <p:cNvPr id="65" name="AutoShape 13"/>
            <p:cNvSpPr>
              <a:spLocks noChangeArrowheads="1"/>
            </p:cNvSpPr>
            <p:nvPr/>
          </p:nvSpPr>
          <p:spPr bwMode="auto">
            <a:xfrm>
              <a:off x="5539654" y="5747154"/>
              <a:ext cx="737197" cy="722101"/>
            </a:xfrm>
            <a:prstGeom prst="wedgeRoundRectCallout">
              <a:avLst>
                <a:gd name="adj1" fmla="val -147461"/>
                <a:gd name="adj2" fmla="val -28557"/>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出版时间</a:t>
              </a:r>
              <a:endParaRPr lang="zh-CN" altLang="en-US" b="1" dirty="0">
                <a:solidFill>
                  <a:srgbClr val="FFFFFF"/>
                </a:solidFill>
              </a:endParaRPr>
            </a:p>
          </p:txBody>
        </p:sp>
      </p:grpSp>
      <p:grpSp>
        <p:nvGrpSpPr>
          <p:cNvPr id="44053" name="组合 44052"/>
          <p:cNvGrpSpPr/>
          <p:nvPr/>
        </p:nvGrpSpPr>
        <p:grpSpPr>
          <a:xfrm>
            <a:off x="539552" y="1399674"/>
            <a:ext cx="4885473" cy="1567096"/>
            <a:chOff x="509595" y="2035295"/>
            <a:chExt cx="4885473" cy="1567096"/>
          </a:xfrm>
        </p:grpSpPr>
        <p:grpSp>
          <p:nvGrpSpPr>
            <p:cNvPr id="44048" name="组合 44047"/>
            <p:cNvGrpSpPr/>
            <p:nvPr/>
          </p:nvGrpSpPr>
          <p:grpSpPr>
            <a:xfrm>
              <a:off x="509595" y="2035295"/>
              <a:ext cx="4885473" cy="1567096"/>
              <a:chOff x="509595" y="2035295"/>
              <a:chExt cx="4885473" cy="1567096"/>
            </a:xfrm>
          </p:grpSpPr>
          <p:sp>
            <p:nvSpPr>
              <p:cNvPr id="44044" name="TextBox 44043"/>
              <p:cNvSpPr txBox="1"/>
              <p:nvPr/>
            </p:nvSpPr>
            <p:spPr>
              <a:xfrm>
                <a:off x="509595" y="2035295"/>
                <a:ext cx="1224136" cy="1567096"/>
              </a:xfrm>
              <a:prstGeom prst="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defTabSz="914400" fontAlgn="base">
                  <a:lnSpc>
                    <a:spcPts val="2300"/>
                  </a:lnSpc>
                  <a:spcBef>
                    <a:spcPct val="0"/>
                  </a:spcBef>
                  <a:spcAft>
                    <a:spcPct val="0"/>
                  </a:spcAft>
                </a:pPr>
                <a:r>
                  <a:rPr lang="zh-CN" altLang="en-US" b="1" dirty="0">
                    <a:solidFill>
                      <a:srgbClr val="000000"/>
                    </a:solidFill>
                  </a:rPr>
                  <a:t>所有资源</a:t>
                </a:r>
                <a:endParaRPr lang="en-US" altLang="zh-CN" b="1" dirty="0">
                  <a:solidFill>
                    <a:srgbClr val="000000"/>
                  </a:solidFill>
                </a:endParaRPr>
              </a:p>
              <a:p>
                <a:pPr defTabSz="914400" fontAlgn="base">
                  <a:lnSpc>
                    <a:spcPts val="2300"/>
                  </a:lnSpc>
                  <a:spcBef>
                    <a:spcPct val="0"/>
                  </a:spcBef>
                  <a:spcAft>
                    <a:spcPct val="0"/>
                  </a:spcAft>
                </a:pPr>
                <a:r>
                  <a:rPr lang="zh-CN" altLang="en-US" b="1" dirty="0">
                    <a:solidFill>
                      <a:srgbClr val="000000"/>
                    </a:solidFill>
                  </a:rPr>
                  <a:t>期刊</a:t>
                </a:r>
                <a:endParaRPr lang="en-US" altLang="zh-CN" b="1" dirty="0">
                  <a:solidFill>
                    <a:srgbClr val="000000"/>
                  </a:solidFill>
                </a:endParaRPr>
              </a:p>
              <a:p>
                <a:pPr defTabSz="914400" fontAlgn="base">
                  <a:lnSpc>
                    <a:spcPts val="2300"/>
                  </a:lnSpc>
                  <a:spcBef>
                    <a:spcPct val="0"/>
                  </a:spcBef>
                  <a:spcAft>
                    <a:spcPct val="0"/>
                  </a:spcAft>
                </a:pPr>
                <a:r>
                  <a:rPr lang="zh-CN" altLang="en-US" b="1" dirty="0">
                    <a:solidFill>
                      <a:srgbClr val="000000"/>
                    </a:solidFill>
                  </a:rPr>
                  <a:t>书籍</a:t>
                </a:r>
                <a:endParaRPr lang="en-US" altLang="zh-CN" b="1" dirty="0">
                  <a:solidFill>
                    <a:srgbClr val="000000"/>
                  </a:solidFill>
                </a:endParaRPr>
              </a:p>
              <a:p>
                <a:pPr defTabSz="914400" fontAlgn="base">
                  <a:lnSpc>
                    <a:spcPts val="2300"/>
                  </a:lnSpc>
                  <a:spcBef>
                    <a:spcPct val="0"/>
                  </a:spcBef>
                  <a:spcAft>
                    <a:spcPct val="0"/>
                  </a:spcAft>
                </a:pPr>
                <a:r>
                  <a:rPr lang="zh-CN" altLang="en-US" b="1" dirty="0">
                    <a:solidFill>
                      <a:srgbClr val="000000"/>
                    </a:solidFill>
                  </a:rPr>
                  <a:t>参考书</a:t>
                </a:r>
                <a:endParaRPr lang="en-US" altLang="zh-CN" b="1" dirty="0">
                  <a:solidFill>
                    <a:srgbClr val="000000"/>
                  </a:solidFill>
                </a:endParaRPr>
              </a:p>
              <a:p>
                <a:pPr defTabSz="914400" fontAlgn="base">
                  <a:lnSpc>
                    <a:spcPts val="2300"/>
                  </a:lnSpc>
                  <a:spcBef>
                    <a:spcPct val="0"/>
                  </a:spcBef>
                  <a:spcAft>
                    <a:spcPct val="0"/>
                  </a:spcAft>
                </a:pPr>
                <a:r>
                  <a:rPr lang="zh-CN" altLang="en-US" b="1" dirty="0">
                    <a:solidFill>
                      <a:srgbClr val="000000"/>
                    </a:solidFill>
                  </a:rPr>
                  <a:t>图片</a:t>
                </a:r>
                <a:r>
                  <a:rPr lang="en-US" altLang="zh-CN" b="1" dirty="0">
                    <a:solidFill>
                      <a:srgbClr val="000000"/>
                    </a:solidFill>
                  </a:rPr>
                  <a:t>/</a:t>
                </a:r>
                <a:r>
                  <a:rPr lang="zh-CN" altLang="en-US" b="1" dirty="0">
                    <a:solidFill>
                      <a:srgbClr val="000000"/>
                    </a:solidFill>
                  </a:rPr>
                  <a:t>视频</a:t>
                </a:r>
                <a:endParaRPr lang="zh-CN" altLang="en-US" b="1" dirty="0">
                  <a:solidFill>
                    <a:srgbClr val="000000"/>
                  </a:solidFill>
                </a:endParaRPr>
              </a:p>
            </p:txBody>
          </p:sp>
          <p:sp>
            <p:nvSpPr>
              <p:cNvPr id="60" name="矩形 59"/>
              <p:cNvSpPr/>
              <p:nvPr/>
            </p:nvSpPr>
            <p:spPr bwMode="auto">
              <a:xfrm>
                <a:off x="2008261" y="2060848"/>
                <a:ext cx="3386807" cy="288032"/>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lstStyle/>
              <a:p>
                <a:pPr algn="ctr" defTabSz="914400" fontAlgn="base">
                  <a:spcBef>
                    <a:spcPct val="0"/>
                  </a:spcBef>
                  <a:spcAft>
                    <a:spcPct val="0"/>
                  </a:spcAft>
                </a:pPr>
                <a:endParaRPr lang="zh-CN" altLang="en-US">
                  <a:solidFill>
                    <a:srgbClr val="000000"/>
                  </a:solidFill>
                  <a:ea typeface="宋体" panose="02010600030101010101" pitchFamily="2" charset="-122"/>
                </a:endParaRPr>
              </a:p>
            </p:txBody>
          </p:sp>
        </p:grpSp>
        <p:cxnSp>
          <p:nvCxnSpPr>
            <p:cNvPr id="44052" name="直接箭头连接符 44051"/>
            <p:cNvCxnSpPr>
              <a:stCxn id="60" idx="1"/>
            </p:cNvCxnSpPr>
            <p:nvPr/>
          </p:nvCxnSpPr>
          <p:spPr bwMode="auto">
            <a:xfrm flipH="1">
              <a:off x="1733731" y="2204864"/>
              <a:ext cx="274530" cy="0"/>
            </a:xfrm>
            <a:prstGeom prst="straightConnector1">
              <a:avLst/>
            </a:prstGeom>
            <a:solidFill>
              <a:schemeClr val="accent1"/>
            </a:solidFill>
            <a:ln w="28575" cap="flat" cmpd="sng" algn="ctr">
              <a:solidFill>
                <a:srgbClr val="C00000"/>
              </a:solidFill>
              <a:prstDash val="solid"/>
              <a:round/>
              <a:headEnd type="none" w="med" len="med"/>
              <a:tailEnd type="triangle" w="med" len="lg"/>
            </a:ln>
            <a:effectLst/>
          </p:spPr>
        </p:cxnSp>
      </p:grpSp>
      <p:pic>
        <p:nvPicPr>
          <p:cNvPr id="2" name="Picture 1"/>
          <p:cNvPicPr>
            <a:picLocks noChangeAspect="1"/>
          </p:cNvPicPr>
          <p:nvPr/>
        </p:nvPicPr>
        <p:blipFill>
          <a:blip r:embed="rId3"/>
          <a:stretch>
            <a:fillRect/>
          </a:stretch>
        </p:blipFill>
        <p:spPr>
          <a:xfrm>
            <a:off x="6465267" y="429994"/>
            <a:ext cx="2562823" cy="625451"/>
          </a:xfrm>
          <a:prstGeom prst="rect">
            <a:avLst/>
          </a:prstGeom>
        </p:spPr>
      </p:pic>
      <p:grpSp>
        <p:nvGrpSpPr>
          <p:cNvPr id="28" name="组合 44049"/>
          <p:cNvGrpSpPr/>
          <p:nvPr/>
        </p:nvGrpSpPr>
        <p:grpSpPr>
          <a:xfrm>
            <a:off x="5868143" y="1011377"/>
            <a:ext cx="2581064" cy="722101"/>
            <a:chOff x="435578" y="5336412"/>
            <a:chExt cx="2581064" cy="722101"/>
          </a:xfrm>
        </p:grpSpPr>
        <p:sp>
          <p:nvSpPr>
            <p:cNvPr id="29" name="矩形 47"/>
            <p:cNvSpPr/>
            <p:nvPr/>
          </p:nvSpPr>
          <p:spPr bwMode="auto">
            <a:xfrm>
              <a:off x="2279444" y="5800402"/>
              <a:ext cx="737198" cy="237892"/>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lstStyle/>
            <a:p>
              <a:pPr algn="ctr" defTabSz="914400" fontAlgn="base">
                <a:spcBef>
                  <a:spcPct val="0"/>
                </a:spcBef>
                <a:spcAft>
                  <a:spcPct val="0"/>
                </a:spcAft>
              </a:pPr>
              <a:endParaRPr lang="zh-CN" altLang="en-US" dirty="0">
                <a:solidFill>
                  <a:srgbClr val="000000"/>
                </a:solidFill>
                <a:ea typeface="宋体" panose="02010600030101010101" pitchFamily="2" charset="-122"/>
              </a:endParaRPr>
            </a:p>
          </p:txBody>
        </p:sp>
        <p:sp>
          <p:nvSpPr>
            <p:cNvPr id="30" name="AutoShape 13"/>
            <p:cNvSpPr>
              <a:spLocks noChangeArrowheads="1"/>
            </p:cNvSpPr>
            <p:nvPr/>
          </p:nvSpPr>
          <p:spPr bwMode="auto">
            <a:xfrm>
              <a:off x="435578" y="5336412"/>
              <a:ext cx="737197" cy="722101"/>
            </a:xfrm>
            <a:prstGeom prst="wedgeRoundRectCallout">
              <a:avLst>
                <a:gd name="adj1" fmla="val 186901"/>
                <a:gd name="adj2" fmla="val -6535"/>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专家检索</a:t>
              </a:r>
              <a:endParaRPr lang="zh-CN" altLang="en-US" b="1" dirty="0">
                <a:solidFill>
                  <a:srgbClr val="FFFFFF"/>
                </a:solidFill>
              </a:endParaRPr>
            </a:p>
          </p:txBody>
        </p:sp>
      </p:gr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053"/>
                                        </p:tgtEl>
                                        <p:attrNameLst>
                                          <p:attrName>style.visibility</p:attrName>
                                        </p:attrNameLst>
                                      </p:cBhvr>
                                      <p:to>
                                        <p:strVal val="visible"/>
                                      </p:to>
                                    </p:set>
                                    <p:animEffect transition="in" filter="fade">
                                      <p:cBhvr>
                                        <p:cTn id="7" dur="500"/>
                                        <p:tgtEl>
                                          <p:spTgt spid="4405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4045"/>
                                        </p:tgtEl>
                                        <p:attrNameLst>
                                          <p:attrName>style.visibility</p:attrName>
                                        </p:attrNameLst>
                                      </p:cBhvr>
                                      <p:to>
                                        <p:strVal val="visible"/>
                                      </p:to>
                                    </p:set>
                                    <p:animEffect transition="in" filter="fade">
                                      <p:cBhvr>
                                        <p:cTn id="12" dur="500"/>
                                        <p:tgtEl>
                                          <p:spTgt spid="4404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4049"/>
                                        </p:tgtEl>
                                        <p:attrNameLst>
                                          <p:attrName>style.visibility</p:attrName>
                                        </p:attrNameLst>
                                      </p:cBhvr>
                                      <p:to>
                                        <p:strVal val="visible"/>
                                      </p:to>
                                    </p:set>
                                    <p:animEffect transition="in" filter="fade">
                                      <p:cBhvr>
                                        <p:cTn id="17" dur="500"/>
                                        <p:tgtEl>
                                          <p:spTgt spid="4404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4046"/>
                                        </p:tgtEl>
                                        <p:attrNameLst>
                                          <p:attrName>style.visibility</p:attrName>
                                        </p:attrNameLst>
                                      </p:cBhvr>
                                      <p:to>
                                        <p:strVal val="visible"/>
                                      </p:to>
                                    </p:set>
                                    <p:animEffect transition="in" filter="fade">
                                      <p:cBhvr>
                                        <p:cTn id="22" dur="500"/>
                                        <p:tgtEl>
                                          <p:spTgt spid="4404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4047"/>
                                        </p:tgtEl>
                                        <p:attrNameLst>
                                          <p:attrName>style.visibility</p:attrName>
                                        </p:attrNameLst>
                                      </p:cBhvr>
                                      <p:to>
                                        <p:strVal val="visible"/>
                                      </p:to>
                                    </p:set>
                                    <p:animEffect transition="in" filter="fade">
                                      <p:cBhvr>
                                        <p:cTn id="27" dur="500"/>
                                        <p:tgtEl>
                                          <p:spTgt spid="4404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4050"/>
                                        </p:tgtEl>
                                        <p:attrNameLst>
                                          <p:attrName>style.visibility</p:attrName>
                                        </p:attrNameLst>
                                      </p:cBhvr>
                                      <p:to>
                                        <p:strVal val="visible"/>
                                      </p:to>
                                    </p:set>
                                    <p:animEffect transition="in" filter="fade">
                                      <p:cBhvr>
                                        <p:cTn id="32" dur="500"/>
                                        <p:tgtEl>
                                          <p:spTgt spid="4405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fade">
                                      <p:cBhvr>
                                        <p:cTn id="37"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763688" y="1096593"/>
            <a:ext cx="5730316" cy="426382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 Box 12"/>
          <p:cNvSpPr txBox="1">
            <a:spLocks noChangeArrowheads="1"/>
          </p:cNvSpPr>
          <p:nvPr/>
        </p:nvSpPr>
        <p:spPr bwMode="auto">
          <a:xfrm>
            <a:off x="258997" y="471142"/>
            <a:ext cx="351703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zh-CN" altLang="en-US" sz="2800" b="1" dirty="0">
                <a:solidFill>
                  <a:srgbClr val="FF8200"/>
                </a:solidFill>
                <a:latin typeface="微软雅黑" panose="020B0503020204020204" charset="-122"/>
                <a:ea typeface="微软雅黑" panose="020B0503020204020204" charset="-122"/>
              </a:rPr>
              <a:t>专家检索</a:t>
            </a:r>
            <a:endParaRPr lang="zh-CN" altLang="en-US" sz="2800" b="1" dirty="0">
              <a:solidFill>
                <a:srgbClr val="FF8200"/>
              </a:solidFill>
              <a:latin typeface="微软雅黑" panose="020B0503020204020204" charset="-122"/>
              <a:ea typeface="微软雅黑" panose="020B0503020204020204" charset="-122"/>
            </a:endParaRPr>
          </a:p>
        </p:txBody>
      </p:sp>
      <p:sp>
        <p:nvSpPr>
          <p:cNvPr id="2" name="矩形 1"/>
          <p:cNvSpPr/>
          <p:nvPr/>
        </p:nvSpPr>
        <p:spPr>
          <a:xfrm>
            <a:off x="1979712" y="5385699"/>
            <a:ext cx="5256584" cy="1200329"/>
          </a:xfrm>
          <a:prstGeom prst="rect">
            <a:avLst/>
          </a:prstGeom>
        </p:spPr>
        <p:style>
          <a:lnRef idx="1">
            <a:schemeClr val="accent2"/>
          </a:lnRef>
          <a:fillRef idx="3">
            <a:schemeClr val="accent2"/>
          </a:fillRef>
          <a:effectRef idx="2">
            <a:schemeClr val="accent2"/>
          </a:effectRef>
          <a:fontRef idx="minor">
            <a:schemeClr val="lt1"/>
          </a:fontRef>
        </p:style>
        <p:txBody>
          <a:bodyPr wrap="square">
            <a:spAutoFit/>
          </a:bodyPr>
          <a:lstStyle/>
          <a:p>
            <a:r>
              <a:rPr lang="zh-CN" altLang="en-US" b="1" dirty="0">
                <a:solidFill>
                  <a:srgbClr val="FFFFFF"/>
                </a:solidFill>
              </a:rPr>
              <a:t>使用布尔语法、邻近运算符和通配符建立搜索</a:t>
            </a:r>
            <a:endParaRPr lang="en-US" altLang="zh-CN" b="1" dirty="0">
              <a:solidFill>
                <a:srgbClr val="FFFFFF"/>
              </a:solidFill>
            </a:endParaRPr>
          </a:p>
          <a:p>
            <a:r>
              <a:rPr lang="zh-CN" altLang="en-US" b="1" dirty="0">
                <a:solidFill>
                  <a:srgbClr val="FFFFFF"/>
                </a:solidFill>
              </a:rPr>
              <a:t>优先考虑搜索字段</a:t>
            </a:r>
            <a:endParaRPr lang="en-US" altLang="zh-CN" b="1" dirty="0">
              <a:solidFill>
                <a:srgbClr val="FFFFFF"/>
              </a:solidFill>
            </a:endParaRPr>
          </a:p>
          <a:p>
            <a:r>
              <a:rPr lang="zh-CN" altLang="en-US" b="1" dirty="0">
                <a:solidFill>
                  <a:srgbClr val="FFFFFF"/>
                </a:solidFill>
              </a:rPr>
              <a:t>同时搜索多个领域</a:t>
            </a:r>
            <a:endParaRPr lang="en-US" altLang="zh-CN" b="1" dirty="0">
              <a:solidFill>
                <a:srgbClr val="FFFFFF"/>
              </a:solidFill>
            </a:endParaRPr>
          </a:p>
          <a:p>
            <a:r>
              <a:rPr lang="en-US" altLang="zh-CN" b="1" dirty="0">
                <a:solidFill>
                  <a:srgbClr val="FFFFFF"/>
                </a:solidFill>
              </a:rPr>
              <a:t>Tips: </a:t>
            </a:r>
            <a:r>
              <a:rPr lang="zh-CN" altLang="en-US" b="1" dirty="0">
                <a:solidFill>
                  <a:srgbClr val="FFFFFF"/>
                </a:solidFill>
              </a:rPr>
              <a:t>使用文档类型、时间及主题精简搜索</a:t>
            </a:r>
            <a:endParaRPr lang="en-US" altLang="zh-CN" b="1" dirty="0">
              <a:solidFill>
                <a:srgbClr val="FFFFFF"/>
              </a:solidFill>
            </a:endParaRPr>
          </a:p>
        </p:txBody>
      </p:sp>
      <p:sp>
        <p:nvSpPr>
          <p:cNvPr id="7" name="矩形 6"/>
          <p:cNvSpPr/>
          <p:nvPr/>
        </p:nvSpPr>
        <p:spPr bwMode="auto">
          <a:xfrm>
            <a:off x="2017513" y="1760590"/>
            <a:ext cx="4282679" cy="936104"/>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lstStyle/>
          <a:p>
            <a:pPr algn="ctr" defTabSz="914400" fontAlgn="base">
              <a:spcBef>
                <a:spcPct val="0"/>
              </a:spcBef>
              <a:spcAft>
                <a:spcPct val="0"/>
              </a:spcAft>
            </a:pPr>
            <a:endParaRPr lang="zh-CN" altLang="en-US">
              <a:solidFill>
                <a:srgbClr val="000000"/>
              </a:solidFill>
              <a:ea typeface="宋体" panose="02010600030101010101" pitchFamily="2" charset="-122"/>
            </a:endParaRPr>
          </a:p>
        </p:txBody>
      </p:sp>
      <p:pic>
        <p:nvPicPr>
          <p:cNvPr id="6" name="Picture 5"/>
          <p:cNvPicPr>
            <a:picLocks noChangeAspect="1"/>
          </p:cNvPicPr>
          <p:nvPr/>
        </p:nvPicPr>
        <p:blipFill>
          <a:blip r:embed="rId2"/>
          <a:stretch>
            <a:fillRect/>
          </a:stretch>
        </p:blipFill>
        <p:spPr>
          <a:xfrm>
            <a:off x="6581177" y="471142"/>
            <a:ext cx="2562823" cy="625451"/>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Group 2"/>
          <p:cNvGraphicFramePr>
            <a:graphicFrameLocks noGrp="1"/>
          </p:cNvGraphicFramePr>
          <p:nvPr/>
        </p:nvGraphicFramePr>
        <p:xfrm>
          <a:off x="1115616" y="1484784"/>
          <a:ext cx="7200800" cy="4450529"/>
        </p:xfrm>
        <a:graphic>
          <a:graphicData uri="http://schemas.openxmlformats.org/drawingml/2006/table">
            <a:tbl>
              <a:tblPr/>
              <a:tblGrid>
                <a:gridCol w="1096272"/>
                <a:gridCol w="6104528"/>
              </a:tblGrid>
              <a:tr h="382588">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zh-CN"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AND</a:t>
                      </a:r>
                      <a:endParaRPr kumimoji="0" lang="zh-CN" altLang="zh-CN"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默认算符，要求多个检索词同时出现在文章中</a:t>
                      </a:r>
                      <a:endPar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endParaRP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2588">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zh-CN"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OR</a:t>
                      </a:r>
                      <a:endParaRPr kumimoji="0" lang="zh-CN" altLang="zh-CN"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检索词中的任意一个或多个出现在文章中</a:t>
                      </a:r>
                      <a:endPar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endParaRP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93725">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zh-CN"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AND NOT</a:t>
                      </a:r>
                      <a:endParaRPr kumimoji="0" lang="zh-CN" altLang="zh-CN"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后面所跟的词不出现在文章中</a:t>
                      </a:r>
                      <a:endPar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endParaRP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96900">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en-US"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通配符 </a:t>
                      </a:r>
                      <a:r>
                        <a:rPr kumimoji="0" lang="en-US" altLang="zh-CN"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a:t>
                      </a:r>
                      <a:endParaRPr kumimoji="0" lang="zh-CN" altLang="en-US"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取代单词中的任意个（</a:t>
                      </a:r>
                      <a:r>
                        <a:rPr kumimoji="0" lang="zh-CN"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0,1,2…</a:t>
                      </a: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字母</a:t>
                      </a:r>
                      <a:b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b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如</a:t>
                      </a:r>
                      <a:r>
                        <a:rPr kumimoji="0" lang="zh-CN"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transplant* </a:t>
                      </a: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可以检索到</a:t>
                      </a:r>
                      <a:r>
                        <a:rPr kumimoji="0" lang="zh-CN"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transplant, transplanted, transplanting…</a:t>
                      </a:r>
                      <a:endParaRPr kumimoji="0" lang="zh-CN"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endParaRP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596900">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en-US"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通配符</a:t>
                      </a:r>
                      <a:r>
                        <a:rPr kumimoji="0" lang="en-US" altLang="zh-CN"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a:t>
                      </a:r>
                      <a:endParaRPr kumimoji="0" lang="zh-CN" altLang="en-US"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取代单词中的</a:t>
                      </a:r>
                      <a:r>
                        <a:rPr kumimoji="0" lang="zh-CN"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1</a:t>
                      </a: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个字母</a:t>
                      </a:r>
                      <a:endPar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endParaRPr>
                    </a:p>
                    <a:p>
                      <a:pPr marL="0" marR="0" lvl="0" indent="0" algn="l"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如</a:t>
                      </a:r>
                      <a:r>
                        <a:rPr kumimoji="0" lang="zh-CN"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wom?n </a:t>
                      </a: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可以检索到</a:t>
                      </a:r>
                      <a:r>
                        <a:rPr kumimoji="0" lang="zh-CN"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woman, women</a:t>
                      </a:r>
                      <a:endParaRPr kumimoji="0" lang="zh-CN"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endParaRP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57225">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zh-CN"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W/n</a:t>
                      </a:r>
                      <a:endParaRPr kumimoji="0" lang="zh-CN" altLang="zh-CN"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zh-CN"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PRE/n</a:t>
                      </a:r>
                      <a:endParaRPr kumimoji="0" lang="zh-CN" altLang="zh-CN"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两词相隔不超过</a:t>
                      </a:r>
                      <a:r>
                        <a:rPr kumimoji="0" lang="zh-CN"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n</a:t>
                      </a: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个词，词序不定   </a:t>
                      </a:r>
                      <a:r>
                        <a:rPr kumimoji="0" lang="zh-CN"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quick w/3 response </a:t>
                      </a:r>
                      <a:endParaRPr kumimoji="0" lang="zh-CN"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endParaRPr>
                    </a:p>
                    <a:p>
                      <a:pPr marL="0" marR="0" lvl="0" indent="0" algn="l"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两词相隔不超过</a:t>
                      </a:r>
                      <a:r>
                        <a:rPr kumimoji="0" lang="zh-CN"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n</a:t>
                      </a: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个词，词序一定   </a:t>
                      </a:r>
                      <a:r>
                        <a:rPr kumimoji="0" lang="zh-CN"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quick pre/2 response</a:t>
                      </a:r>
                      <a:endParaRPr kumimoji="0" lang="zh-CN"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endParaRP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2588">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en-US" altLang="zh-CN" sz="1800" b="1" i="0" u="none" strike="noStrike" cap="none" normalizeH="0" baseline="0" dirty="0">
                          <a:ln>
                            <a:noFill/>
                          </a:ln>
                          <a:solidFill>
                            <a:schemeClr val="tx1"/>
                          </a:solidFill>
                          <a:effectLst/>
                          <a:latin typeface="Arial" panose="020B0604020202020204" pitchFamily="34" charset="0"/>
                          <a:cs typeface="Times New Roman" panose="02020603050405020304" pitchFamily="18" charset="0"/>
                        </a:rPr>
                        <a:t>“”</a:t>
                      </a:r>
                      <a:endParaRPr kumimoji="0" lang="zh-CN" altLang="en-US"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宽松短语检索，标点符号、连字符、停用字等会被自动忽略 </a:t>
                      </a:r>
                      <a:r>
                        <a:rPr kumimoji="0" lang="en-GB"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heart-attack”</a:t>
                      </a:r>
                      <a:endParaRPr kumimoji="0" lang="en-GB"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endParaRP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82588">
                <a:tc>
                  <a:txBody>
                    <a:bodyPr/>
                    <a:lstStyle/>
                    <a:p>
                      <a:pPr marL="0" marR="0" lvl="0" indent="0" algn="ctr"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en-US" altLang="zh-CN"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rPr>
                        <a:t>{ }</a:t>
                      </a:r>
                      <a:endParaRPr kumimoji="0" lang="zh-CN" altLang="zh-CN" sz="1800" b="1" i="0" u="none" strike="noStrike" cap="none" normalizeH="0" baseline="0" dirty="0">
                        <a:ln>
                          <a:noFill/>
                        </a:ln>
                        <a:solidFill>
                          <a:schemeClr val="tx1"/>
                        </a:solidFill>
                        <a:effectLst/>
                        <a:latin typeface="Arial" panose="020B0604020202020204" pitchFamily="34" charset="0"/>
                        <a:ea typeface="宋体" panose="02010600030101010101" pitchFamily="2" charset="-122"/>
                        <a:cs typeface="Arial" panose="020B0604020202020204" pitchFamily="34" charset="0"/>
                      </a:endParaRPr>
                    </a:p>
                  </a:txBody>
                  <a:tcPr marL="90000" marR="90000" marT="46800" marB="46800" anchor="ctr" anchorCtr="1"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99CC00"/>
                    </a:solidFill>
                  </a:tcPr>
                </a:tc>
                <a:tc>
                  <a:txBody>
                    <a:bodyPr/>
                    <a:lstStyle/>
                    <a:p>
                      <a:pPr marL="0" marR="0" lvl="0" indent="0" algn="l" defTabSz="914400" rtl="0" eaLnBrk="1" fontAlgn="base" latinLnBrk="0" hangingPunct="1">
                        <a:lnSpc>
                          <a:spcPct val="100000"/>
                        </a:lnSpc>
                        <a:spcBef>
                          <a:spcPct val="0"/>
                        </a:spcBef>
                        <a:spcAft>
                          <a:spcPct val="0"/>
                        </a:spcAft>
                        <a:buClrTx/>
                        <a:buSzPct val="140000"/>
                        <a:buFont typeface="Arial" panose="020B0604020202020204" pitchFamily="34" charset="0"/>
                        <a:buNone/>
                      </a:pPr>
                      <a:r>
                        <a:rPr kumimoji="0" lang="zh-CN" altLang="en-US" sz="1600" b="1" i="0" u="none" strike="noStrike" cap="none" normalizeH="0" baseline="0" dirty="0">
                          <a:ln>
                            <a:noFill/>
                          </a:ln>
                          <a:solidFill>
                            <a:srgbClr val="262626"/>
                          </a:solidFill>
                          <a:effectLst/>
                          <a:latin typeface="Arial" panose="020B0604020202020204" pitchFamily="34" charset="0"/>
                          <a:ea typeface="宋体" panose="02010600030101010101" pitchFamily="2" charset="-122"/>
                          <a:cs typeface="Arial" panose="020B0604020202020204" pitchFamily="34" charset="0"/>
                        </a:rPr>
                        <a:t>精确短语检索，所有符号都将被作为检索词进行严格匹配 </a:t>
                      </a:r>
                      <a:r>
                        <a:rPr kumimoji="0" lang="en-GB"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a:t>
                      </a:r>
                      <a:r>
                        <a:rPr kumimoji="0" lang="en-GB" altLang="en-US" sz="1600" b="1" i="0" u="none" strike="noStrike" cap="none" normalizeH="0" baseline="0" dirty="0" err="1">
                          <a:ln>
                            <a:noFill/>
                          </a:ln>
                          <a:solidFill>
                            <a:srgbClr val="262626"/>
                          </a:solidFill>
                          <a:effectLst/>
                          <a:latin typeface="Arial" panose="020B0604020202020204" pitchFamily="34" charset="0"/>
                          <a:cs typeface="Times New Roman" panose="02020603050405020304" pitchFamily="18" charset="0"/>
                        </a:rPr>
                        <a:t>c++</a:t>
                      </a:r>
                      <a:r>
                        <a:rPr kumimoji="0" lang="en-GB"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rPr>
                        <a:t>}</a:t>
                      </a:r>
                      <a:endParaRPr kumimoji="0" lang="en-GB" altLang="en-US" sz="1600" b="1" i="0" u="none" strike="noStrike" cap="none" normalizeH="0" baseline="0" dirty="0">
                        <a:ln>
                          <a:noFill/>
                        </a:ln>
                        <a:solidFill>
                          <a:srgbClr val="262626"/>
                        </a:solidFill>
                        <a:effectLst/>
                        <a:latin typeface="Arial" panose="020B0604020202020204" pitchFamily="34" charset="0"/>
                        <a:cs typeface="Times New Roman" panose="02020603050405020304" pitchFamily="18" charset="0"/>
                      </a:endParaRPr>
                    </a:p>
                  </a:txBody>
                  <a:tcPr marL="90000" marR="90000" marT="46800" marB="4680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
        <p:nvSpPr>
          <p:cNvPr id="4" name="Text Box 12"/>
          <p:cNvSpPr txBox="1">
            <a:spLocks noChangeArrowheads="1"/>
          </p:cNvSpPr>
          <p:nvPr/>
        </p:nvSpPr>
        <p:spPr bwMode="auto">
          <a:xfrm>
            <a:off x="334888" y="406420"/>
            <a:ext cx="351703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zh-CN" altLang="en-US" sz="2800" b="1" dirty="0">
                <a:solidFill>
                  <a:srgbClr val="FF8200"/>
                </a:solidFill>
                <a:latin typeface="微软雅黑" panose="020B0503020204020204" charset="-122"/>
                <a:ea typeface="微软雅黑" panose="020B0503020204020204" charset="-122"/>
              </a:rPr>
              <a:t>检索语言</a:t>
            </a:r>
            <a:endParaRPr lang="zh-CN" altLang="en-US" sz="2800" b="1" dirty="0">
              <a:solidFill>
                <a:srgbClr val="FF8200"/>
              </a:solidFill>
              <a:latin typeface="微软雅黑" panose="020B0503020204020204" charset="-122"/>
              <a:ea typeface="微软雅黑" panose="020B0503020204020204" charset="-122"/>
            </a:endParaRPr>
          </a:p>
        </p:txBody>
      </p:sp>
      <p:pic>
        <p:nvPicPr>
          <p:cNvPr id="5" name="Picture 4"/>
          <p:cNvPicPr>
            <a:picLocks noChangeAspect="1"/>
          </p:cNvPicPr>
          <p:nvPr/>
        </p:nvPicPr>
        <p:blipFill>
          <a:blip r:embed="rId1"/>
          <a:stretch>
            <a:fillRect/>
          </a:stretch>
        </p:blipFill>
        <p:spPr>
          <a:xfrm>
            <a:off x="6465267" y="389664"/>
            <a:ext cx="2562823" cy="625451"/>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754880" y="0"/>
            <a:ext cx="4389120" cy="1243584"/>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p:cNvSpPr>
            <a:spLocks noGrp="1"/>
          </p:cNvSpPr>
          <p:nvPr>
            <p:ph type="title" idx="4294967295"/>
          </p:nvPr>
        </p:nvSpPr>
        <p:spPr>
          <a:xfrm>
            <a:off x="4752895" y="253568"/>
            <a:ext cx="4509977" cy="640080"/>
          </a:xfrm>
          <a:prstGeom prst="rect">
            <a:avLst/>
          </a:prstGeom>
        </p:spPr>
        <p:txBody>
          <a:bodyPr/>
          <a:lstStyle/>
          <a:p>
            <a:r>
              <a:rPr lang="nl-NL" sz="2400" b="1" dirty="0">
                <a:solidFill>
                  <a:schemeClr val="bg1"/>
                </a:solidFill>
              </a:rPr>
              <a:t>The Value of </a:t>
            </a:r>
            <a:br>
              <a:rPr lang="nl-NL" sz="2400" b="1" dirty="0">
                <a:solidFill>
                  <a:schemeClr val="bg1"/>
                </a:solidFill>
              </a:rPr>
            </a:br>
            <a:r>
              <a:rPr lang="nl-NL" sz="2400" b="1" dirty="0" err="1">
                <a:solidFill>
                  <a:schemeClr val="bg1"/>
                </a:solidFill>
              </a:rPr>
              <a:t>ScienceDirect</a:t>
            </a:r>
            <a:endParaRPr lang="en-US" sz="2400" b="1" dirty="0">
              <a:solidFill>
                <a:schemeClr val="bg1"/>
              </a:solidFill>
            </a:endParaRPr>
          </a:p>
        </p:txBody>
      </p:sp>
      <p:sp>
        <p:nvSpPr>
          <p:cNvPr id="11" name="Rounded Rectangle 10"/>
          <p:cNvSpPr/>
          <p:nvPr/>
        </p:nvSpPr>
        <p:spPr>
          <a:xfrm>
            <a:off x="5337469" y="440729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bg2">
                    <a:lumMod val="95000"/>
                  </a:schemeClr>
                </a:solidFill>
              </a:rPr>
              <a:t>提升可见性</a:t>
            </a:r>
            <a:endParaRPr lang="en-GB" sz="1600" dirty="0">
              <a:solidFill>
                <a:schemeClr val="bg2">
                  <a:lumMod val="95000"/>
                </a:schemeClr>
              </a:solidFill>
            </a:endParaRPr>
          </a:p>
        </p:txBody>
      </p:sp>
      <p:sp>
        <p:nvSpPr>
          <p:cNvPr id="13" name="Rounded Rectangle 12"/>
          <p:cNvSpPr/>
          <p:nvPr/>
        </p:nvSpPr>
        <p:spPr>
          <a:xfrm>
            <a:off x="5337470" y="1568196"/>
            <a:ext cx="3200401" cy="4572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tx1"/>
                </a:solidFill>
              </a:rPr>
              <a:t>Elsevier</a:t>
            </a:r>
            <a:r>
              <a:rPr lang="zh-CN" altLang="en-US" sz="1600" dirty="0">
                <a:solidFill>
                  <a:schemeClr val="tx1"/>
                </a:solidFill>
              </a:rPr>
              <a:t>的历史及传承</a:t>
            </a:r>
            <a:endParaRPr lang="en-GB" sz="1600" dirty="0">
              <a:solidFill>
                <a:schemeClr val="tx1"/>
              </a:solidFill>
            </a:endParaRPr>
          </a:p>
        </p:txBody>
      </p:sp>
      <p:sp>
        <p:nvSpPr>
          <p:cNvPr id="14" name="Rounded Rectangle 13"/>
          <p:cNvSpPr/>
          <p:nvPr/>
        </p:nvSpPr>
        <p:spPr>
          <a:xfrm>
            <a:off x="5337471" y="298670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altLang="zh-CN" sz="1600" dirty="0">
                <a:solidFill>
                  <a:schemeClr val="bg2">
                    <a:lumMod val="95000"/>
                  </a:schemeClr>
                </a:solidFill>
              </a:rPr>
              <a:t>S</a:t>
            </a:r>
            <a:r>
              <a:rPr lang="en-US" altLang="zh-CN" sz="1600" dirty="0" err="1">
                <a:solidFill>
                  <a:schemeClr val="bg2">
                    <a:lumMod val="95000"/>
                  </a:schemeClr>
                </a:solidFill>
              </a:rPr>
              <a:t>cienceDirect</a:t>
            </a:r>
            <a:r>
              <a:rPr lang="zh-CN" altLang="en-US" sz="1600" dirty="0">
                <a:solidFill>
                  <a:schemeClr val="bg2">
                    <a:lumMod val="95000"/>
                  </a:schemeClr>
                </a:solidFill>
              </a:rPr>
              <a:t>全文数据库</a:t>
            </a:r>
            <a:endParaRPr lang="en-GB" sz="1600" dirty="0">
              <a:solidFill>
                <a:schemeClr val="bg2">
                  <a:lumMod val="95000"/>
                </a:schemeClr>
              </a:solidFill>
            </a:endParaRPr>
          </a:p>
        </p:txBody>
      </p:sp>
      <p:sp>
        <p:nvSpPr>
          <p:cNvPr id="15" name="Rounded Rectangle 14"/>
          <p:cNvSpPr/>
          <p:nvPr/>
        </p:nvSpPr>
        <p:spPr>
          <a:xfrm>
            <a:off x="5337471" y="2287456"/>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bg2">
                    <a:lumMod val="95000"/>
                  </a:schemeClr>
                </a:solidFill>
              </a:rPr>
              <a:t>科学研究流程</a:t>
            </a:r>
            <a:endParaRPr lang="en-GB" sz="1600" dirty="0">
              <a:solidFill>
                <a:schemeClr val="bg2">
                  <a:lumMod val="95000"/>
                </a:schemeClr>
              </a:solidFill>
            </a:endParaRPr>
          </a:p>
        </p:txBody>
      </p:sp>
      <p:sp>
        <p:nvSpPr>
          <p:cNvPr id="16" name="Rounded Rectangle 15"/>
          <p:cNvSpPr/>
          <p:nvPr/>
        </p:nvSpPr>
        <p:spPr>
          <a:xfrm>
            <a:off x="5337471" y="3685944"/>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bg2">
                    <a:lumMod val="95000"/>
                  </a:schemeClr>
                </a:solidFill>
              </a:rPr>
              <a:t>SD</a:t>
            </a:r>
            <a:r>
              <a:rPr lang="zh-CN" altLang="en-US" sz="1600" dirty="0">
                <a:solidFill>
                  <a:schemeClr val="bg2">
                    <a:lumMod val="95000"/>
                  </a:schemeClr>
                </a:solidFill>
              </a:rPr>
              <a:t>上线新功能</a:t>
            </a:r>
            <a:endParaRPr lang="en-GB" sz="1600" dirty="0">
              <a:solidFill>
                <a:schemeClr val="bg2">
                  <a:lumMod val="95000"/>
                </a:schemeClr>
              </a:solidFill>
            </a:endParaRPr>
          </a:p>
        </p:txBody>
      </p:sp>
      <p:sp>
        <p:nvSpPr>
          <p:cNvPr id="2" name="Rounded Rectangle 10"/>
          <p:cNvSpPr/>
          <p:nvPr/>
        </p:nvSpPr>
        <p:spPr>
          <a:xfrm>
            <a:off x="5349534" y="5082295"/>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p>
            <a:pPr marL="1270" lvl="1" algn="ctr" eaLnBrk="0" hangingPunct="0">
              <a:spcBef>
                <a:spcPct val="20000"/>
              </a:spcBef>
              <a:buClr>
                <a:schemeClr val="accent1"/>
              </a:buClr>
            </a:pPr>
            <a:r>
              <a:rPr lang="zh-CN" altLang="en-US" sz="1600" dirty="0">
                <a:solidFill>
                  <a:schemeClr val="bg2">
                    <a:lumMod val="95000"/>
                  </a:schemeClr>
                </a:solidFill>
              </a:rPr>
              <a:t>科研论文写作</a:t>
            </a:r>
            <a:endParaRPr lang="zh-CN" altLang="en-US" sz="1600" dirty="0">
              <a:solidFill>
                <a:schemeClr val="bg2">
                  <a:lumMod val="95000"/>
                </a:schemeClr>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1115616" y="1082055"/>
            <a:ext cx="7056784" cy="5155257"/>
          </a:xfrm>
          <a:prstGeom prst="rect">
            <a:avLst/>
          </a:prstGeom>
        </p:spPr>
        <p:txBody>
          <a:bodyPr wrap="square">
            <a:spAutoFit/>
          </a:bodyPr>
          <a:lstStyle/>
          <a:p>
            <a:pPr>
              <a:spcBef>
                <a:spcPts val="600"/>
              </a:spcBef>
            </a:pPr>
            <a:r>
              <a:rPr lang="zh-CN" altLang="en-US" sz="2000" b="1" dirty="0">
                <a:solidFill>
                  <a:srgbClr val="C0504D"/>
                </a:solidFill>
                <a:ea typeface="微软雅黑" panose="020B0503020204020204" charset="-122"/>
              </a:rPr>
              <a:t>拼写方式</a:t>
            </a:r>
            <a:endParaRPr lang="zh-CN" altLang="en-US" sz="2000" b="1" dirty="0">
              <a:solidFill>
                <a:srgbClr val="C0504D"/>
              </a:solidFill>
              <a:ea typeface="微软雅黑" panose="020B0503020204020204" charset="-122"/>
            </a:endParaRPr>
          </a:p>
          <a:p>
            <a:pPr marL="265430">
              <a:spcBef>
                <a:spcPts val="600"/>
              </a:spcBef>
            </a:pPr>
            <a:r>
              <a:rPr lang="zh-CN" altLang="en-US" b="1" dirty="0">
                <a:solidFill>
                  <a:srgbClr val="000000"/>
                </a:solidFill>
              </a:rPr>
              <a:t>当英式与美式拼写方式不同时，可使用任何一种形式检索</a:t>
            </a:r>
            <a:endParaRPr lang="zh-CN" altLang="en-US" b="1" dirty="0">
              <a:solidFill>
                <a:srgbClr val="000000"/>
              </a:solidFill>
            </a:endParaRPr>
          </a:p>
          <a:p>
            <a:pPr marL="265430">
              <a:spcBef>
                <a:spcPts val="600"/>
              </a:spcBef>
            </a:pPr>
            <a:r>
              <a:rPr lang="zh-CN" altLang="en-US" b="1" dirty="0">
                <a:solidFill>
                  <a:srgbClr val="000000"/>
                </a:solidFill>
              </a:rPr>
              <a:t>例：</a:t>
            </a:r>
            <a:r>
              <a:rPr lang="en-US" altLang="zh-CN" b="1" dirty="0" err="1">
                <a:solidFill>
                  <a:srgbClr val="000000"/>
                </a:solidFill>
              </a:rPr>
              <a:t>behaviour</a:t>
            </a:r>
            <a:r>
              <a:rPr lang="en-US" altLang="zh-CN" b="1" dirty="0">
                <a:solidFill>
                  <a:srgbClr val="000000"/>
                </a:solidFill>
              </a:rPr>
              <a:t> </a:t>
            </a:r>
            <a:r>
              <a:rPr lang="zh-CN" altLang="en-US" b="1" dirty="0">
                <a:solidFill>
                  <a:srgbClr val="000000"/>
                </a:solidFill>
              </a:rPr>
              <a:t>与</a:t>
            </a:r>
            <a:r>
              <a:rPr lang="en-US" altLang="zh-CN" b="1" dirty="0">
                <a:solidFill>
                  <a:srgbClr val="000000"/>
                </a:solidFill>
              </a:rPr>
              <a:t>behavior; </a:t>
            </a:r>
            <a:r>
              <a:rPr lang="en-US" altLang="zh-CN" b="1" dirty="0" err="1">
                <a:solidFill>
                  <a:srgbClr val="000000"/>
                </a:solidFill>
              </a:rPr>
              <a:t>psychoanalyse</a:t>
            </a:r>
            <a:r>
              <a:rPr lang="en-US" altLang="zh-CN" b="1" dirty="0">
                <a:solidFill>
                  <a:srgbClr val="000000"/>
                </a:solidFill>
              </a:rPr>
              <a:t> </a:t>
            </a:r>
            <a:r>
              <a:rPr lang="zh-CN" altLang="en-US" b="1" dirty="0">
                <a:solidFill>
                  <a:srgbClr val="000000"/>
                </a:solidFill>
              </a:rPr>
              <a:t>与</a:t>
            </a:r>
            <a:r>
              <a:rPr lang="en-US" altLang="zh-CN" b="1" dirty="0">
                <a:solidFill>
                  <a:srgbClr val="000000"/>
                </a:solidFill>
              </a:rPr>
              <a:t>psychoanalyze</a:t>
            </a:r>
            <a:endParaRPr lang="en-US" altLang="zh-CN" b="1" dirty="0">
              <a:solidFill>
                <a:srgbClr val="000000"/>
              </a:solidFill>
            </a:endParaRPr>
          </a:p>
          <a:p>
            <a:pPr>
              <a:spcBef>
                <a:spcPts val="600"/>
              </a:spcBef>
            </a:pPr>
            <a:r>
              <a:rPr lang="zh-CN" altLang="en-US" sz="2000" b="1" dirty="0">
                <a:solidFill>
                  <a:srgbClr val="C0504D"/>
                </a:solidFill>
                <a:ea typeface="微软雅黑" panose="020B0503020204020204" charset="-122"/>
              </a:rPr>
              <a:t>单词复数</a:t>
            </a:r>
            <a:endParaRPr lang="zh-CN" altLang="en-US" sz="2000" b="1" dirty="0">
              <a:solidFill>
                <a:srgbClr val="C0504D"/>
              </a:solidFill>
              <a:ea typeface="微软雅黑" panose="020B0503020204020204" charset="-122"/>
            </a:endParaRPr>
          </a:p>
          <a:p>
            <a:pPr marL="265430">
              <a:spcBef>
                <a:spcPts val="600"/>
              </a:spcBef>
            </a:pPr>
            <a:r>
              <a:rPr lang="zh-CN" altLang="en-US" b="1" dirty="0">
                <a:solidFill>
                  <a:srgbClr val="000000"/>
                </a:solidFill>
              </a:rPr>
              <a:t>使用名词单数形式可同时检索出复数形式</a:t>
            </a:r>
            <a:endParaRPr lang="zh-CN" altLang="en-US" b="1" dirty="0">
              <a:solidFill>
                <a:srgbClr val="000000"/>
              </a:solidFill>
            </a:endParaRPr>
          </a:p>
          <a:p>
            <a:pPr marL="265430">
              <a:spcBef>
                <a:spcPts val="600"/>
              </a:spcBef>
            </a:pPr>
            <a:r>
              <a:rPr lang="zh-CN" altLang="en-US" b="1" dirty="0">
                <a:solidFill>
                  <a:srgbClr val="000000"/>
                </a:solidFill>
              </a:rPr>
              <a:t>例：</a:t>
            </a:r>
            <a:r>
              <a:rPr lang="en-US" altLang="zh-CN" b="1" dirty="0">
                <a:solidFill>
                  <a:srgbClr val="000000"/>
                </a:solidFill>
              </a:rPr>
              <a:t>horse -horses, woman –women</a:t>
            </a:r>
            <a:endParaRPr lang="en-US" altLang="zh-CN" b="1" dirty="0">
              <a:solidFill>
                <a:srgbClr val="000000"/>
              </a:solidFill>
            </a:endParaRPr>
          </a:p>
          <a:p>
            <a:pPr>
              <a:spcBef>
                <a:spcPts val="600"/>
              </a:spcBef>
            </a:pPr>
            <a:r>
              <a:rPr lang="zh-CN" altLang="en-US" sz="2000" b="1" dirty="0">
                <a:solidFill>
                  <a:srgbClr val="C0504D"/>
                </a:solidFill>
                <a:ea typeface="微软雅黑" panose="020B0503020204020204" charset="-122"/>
              </a:rPr>
              <a:t>希腊字母</a:t>
            </a:r>
            <a:endParaRPr lang="en-US" altLang="zh-CN" sz="2000" b="1" dirty="0">
              <a:solidFill>
                <a:srgbClr val="C0504D"/>
              </a:solidFill>
              <a:ea typeface="微软雅黑" panose="020B0503020204020204" charset="-122"/>
            </a:endParaRPr>
          </a:p>
          <a:p>
            <a:pPr marL="265430">
              <a:spcBef>
                <a:spcPts val="600"/>
              </a:spcBef>
            </a:pPr>
            <a:r>
              <a:rPr lang="zh-CN" altLang="en-US" b="1" dirty="0">
                <a:solidFill>
                  <a:srgbClr val="000000"/>
                </a:solidFill>
              </a:rPr>
              <a:t>支持</a:t>
            </a:r>
            <a:r>
              <a:rPr lang="en-US" altLang="zh-CN" b="1" dirty="0">
                <a:solidFill>
                  <a:srgbClr val="000000"/>
                </a:solidFill>
              </a:rPr>
              <a:t>α, β, γ, Ω</a:t>
            </a:r>
            <a:r>
              <a:rPr lang="zh-CN" altLang="en-US" b="1" dirty="0">
                <a:solidFill>
                  <a:srgbClr val="000000"/>
                </a:solidFill>
              </a:rPr>
              <a:t>检索（或英文拼写方式）</a:t>
            </a:r>
            <a:endParaRPr lang="zh-CN" altLang="en-US" b="1" dirty="0">
              <a:solidFill>
                <a:srgbClr val="000000"/>
              </a:solidFill>
            </a:endParaRPr>
          </a:p>
          <a:p>
            <a:pPr>
              <a:spcBef>
                <a:spcPts val="600"/>
              </a:spcBef>
            </a:pPr>
            <a:r>
              <a:rPr lang="zh-CN" altLang="en-US" sz="2000" b="1" dirty="0">
                <a:solidFill>
                  <a:srgbClr val="C0504D"/>
                </a:solidFill>
                <a:ea typeface="微软雅黑" panose="020B0503020204020204" charset="-122"/>
              </a:rPr>
              <a:t>法语、德语</a:t>
            </a:r>
            <a:endParaRPr lang="en-US" altLang="zh-CN" sz="2000" b="1" dirty="0">
              <a:solidFill>
                <a:srgbClr val="C0504D"/>
              </a:solidFill>
              <a:ea typeface="微软雅黑" panose="020B0503020204020204" charset="-122"/>
            </a:endParaRPr>
          </a:p>
          <a:p>
            <a:pPr marL="265430">
              <a:spcBef>
                <a:spcPts val="600"/>
              </a:spcBef>
            </a:pPr>
            <a:r>
              <a:rPr lang="zh-CN" altLang="en-US" b="1" dirty="0">
                <a:solidFill>
                  <a:srgbClr val="000000"/>
                </a:solidFill>
              </a:rPr>
              <a:t>重音、变音符号，如</a:t>
            </a:r>
            <a:r>
              <a:rPr lang="en-US" altLang="zh-CN" b="1" dirty="0" err="1">
                <a:solidFill>
                  <a:srgbClr val="000000"/>
                </a:solidFill>
              </a:rPr>
              <a:t>é,è,ä</a:t>
            </a:r>
            <a:r>
              <a:rPr lang="en-US" altLang="zh-CN" b="1" dirty="0">
                <a:solidFill>
                  <a:srgbClr val="000000"/>
                </a:solidFill>
              </a:rPr>
              <a:t> </a:t>
            </a:r>
            <a:r>
              <a:rPr lang="zh-CN" altLang="en-US" b="1" dirty="0">
                <a:solidFill>
                  <a:srgbClr val="000000"/>
                </a:solidFill>
              </a:rPr>
              <a:t>均可以检索</a:t>
            </a:r>
            <a:endParaRPr lang="zh-CN" altLang="en-US" b="1" dirty="0">
              <a:solidFill>
                <a:srgbClr val="000000"/>
              </a:solidFill>
            </a:endParaRPr>
          </a:p>
          <a:p>
            <a:pPr>
              <a:spcBef>
                <a:spcPts val="600"/>
              </a:spcBef>
            </a:pPr>
            <a:r>
              <a:rPr lang="zh-CN" altLang="en-US" sz="2000" b="1" dirty="0">
                <a:solidFill>
                  <a:srgbClr val="C0504D"/>
                </a:solidFill>
                <a:ea typeface="微软雅黑" panose="020B0503020204020204" charset="-122"/>
              </a:rPr>
              <a:t>大小写</a:t>
            </a:r>
            <a:endParaRPr lang="en-US" altLang="zh-CN" sz="2000" b="1" dirty="0">
              <a:solidFill>
                <a:srgbClr val="C0504D"/>
              </a:solidFill>
              <a:ea typeface="微软雅黑" panose="020B0503020204020204" charset="-122"/>
            </a:endParaRPr>
          </a:p>
          <a:p>
            <a:pPr marL="265430">
              <a:spcBef>
                <a:spcPts val="600"/>
              </a:spcBef>
            </a:pPr>
            <a:r>
              <a:rPr lang="zh-CN" altLang="en-US" b="1" dirty="0">
                <a:solidFill>
                  <a:srgbClr val="000000"/>
                </a:solidFill>
              </a:rPr>
              <a:t>英文字母不区分</a:t>
            </a:r>
            <a:endParaRPr lang="zh-CN" altLang="en-US" b="1" dirty="0">
              <a:solidFill>
                <a:srgbClr val="000000"/>
              </a:solidFill>
            </a:endParaRPr>
          </a:p>
          <a:p>
            <a:pPr>
              <a:spcBef>
                <a:spcPts val="600"/>
              </a:spcBef>
            </a:pPr>
            <a:r>
              <a:rPr lang="zh-CN" altLang="en-US" sz="2000" b="1" dirty="0">
                <a:solidFill>
                  <a:srgbClr val="C0504D"/>
                </a:solidFill>
                <a:ea typeface="微软雅黑" panose="020B0503020204020204" charset="-122"/>
              </a:rPr>
              <a:t>上下标</a:t>
            </a:r>
            <a:endParaRPr lang="zh-CN" altLang="en-US" sz="2000" b="1" dirty="0">
              <a:solidFill>
                <a:srgbClr val="C0504D"/>
              </a:solidFill>
              <a:ea typeface="微软雅黑" panose="020B0503020204020204" charset="-122"/>
            </a:endParaRPr>
          </a:p>
          <a:p>
            <a:pPr marL="179705">
              <a:spcBef>
                <a:spcPts val="600"/>
              </a:spcBef>
            </a:pPr>
            <a:r>
              <a:rPr lang="en-US" altLang="zh-CN" b="1" dirty="0">
                <a:solidFill>
                  <a:srgbClr val="000000"/>
                </a:solidFill>
              </a:rPr>
              <a:t> To search H</a:t>
            </a:r>
            <a:r>
              <a:rPr lang="en-US" altLang="zh-CN" b="1" baseline="-25000" dirty="0">
                <a:solidFill>
                  <a:srgbClr val="000000"/>
                </a:solidFill>
              </a:rPr>
              <a:t>2</a:t>
            </a:r>
            <a:r>
              <a:rPr lang="en-US" altLang="zh-CN" b="1" dirty="0">
                <a:solidFill>
                  <a:srgbClr val="000000"/>
                </a:solidFill>
              </a:rPr>
              <a:t>O</a:t>
            </a:r>
            <a:r>
              <a:rPr lang="zh-CN" altLang="en-US" b="1" dirty="0">
                <a:solidFill>
                  <a:srgbClr val="000000"/>
                </a:solidFill>
              </a:rPr>
              <a:t>，</a:t>
            </a:r>
            <a:r>
              <a:rPr lang="en-US" altLang="zh-CN" b="1" dirty="0">
                <a:solidFill>
                  <a:srgbClr val="000000"/>
                </a:solidFill>
              </a:rPr>
              <a:t>enter H2O</a:t>
            </a:r>
            <a:endParaRPr lang="zh-CN" altLang="en-US" b="1" dirty="0">
              <a:solidFill>
                <a:srgbClr val="000000"/>
              </a:solidFill>
            </a:endParaRPr>
          </a:p>
        </p:txBody>
      </p:sp>
      <p:sp>
        <p:nvSpPr>
          <p:cNvPr id="3" name="Text Box 12"/>
          <p:cNvSpPr txBox="1">
            <a:spLocks noChangeArrowheads="1"/>
          </p:cNvSpPr>
          <p:nvPr/>
        </p:nvSpPr>
        <p:spPr bwMode="auto">
          <a:xfrm>
            <a:off x="334888" y="406422"/>
            <a:ext cx="351703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algn="ctr"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r>
              <a:rPr lang="zh-CN" altLang="en-US" sz="2800" b="1" dirty="0">
                <a:solidFill>
                  <a:srgbClr val="FF8200"/>
                </a:solidFill>
                <a:latin typeface="微软雅黑" panose="020B0503020204020204" charset="-122"/>
                <a:ea typeface="微软雅黑" panose="020B0503020204020204" charset="-122"/>
              </a:rPr>
              <a:t>检索语言</a:t>
            </a:r>
            <a:endParaRPr lang="zh-CN" altLang="en-US" sz="2800" b="1" dirty="0">
              <a:solidFill>
                <a:srgbClr val="FF8200"/>
              </a:solidFill>
              <a:latin typeface="微软雅黑" panose="020B0503020204020204" charset="-122"/>
              <a:ea typeface="微软雅黑" panose="020B0503020204020204" charset="-122"/>
            </a:endParaRPr>
          </a:p>
        </p:txBody>
      </p:sp>
      <p:pic>
        <p:nvPicPr>
          <p:cNvPr id="4" name="Picture 3"/>
          <p:cNvPicPr>
            <a:picLocks noChangeAspect="1"/>
          </p:cNvPicPr>
          <p:nvPr/>
        </p:nvPicPr>
        <p:blipFill>
          <a:blip r:embed="rId1"/>
          <a:stretch>
            <a:fillRect/>
          </a:stretch>
        </p:blipFill>
        <p:spPr>
          <a:xfrm>
            <a:off x="6465267" y="389666"/>
            <a:ext cx="2562823" cy="625451"/>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nvGraphicFramePr>
        <p:xfrm>
          <a:off x="755576" y="1772816"/>
          <a:ext cx="2952328" cy="2767856"/>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graphicFrame>
        <p:nvGraphicFramePr>
          <p:cNvPr id="3" name="Diagram 2"/>
          <p:cNvGraphicFramePr/>
          <p:nvPr/>
        </p:nvGraphicFramePr>
        <p:xfrm>
          <a:off x="5364310" y="1834073"/>
          <a:ext cx="3024336" cy="269584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4" name="TextBox 3"/>
          <p:cNvSpPr txBox="1"/>
          <p:nvPr/>
        </p:nvSpPr>
        <p:spPr>
          <a:xfrm>
            <a:off x="1259632" y="1337442"/>
            <a:ext cx="2088232" cy="276999"/>
          </a:xfrm>
          <a:prstGeom prst="rect">
            <a:avLst/>
          </a:prstGeom>
          <a:solidFill>
            <a:srgbClr val="FFC000"/>
          </a:solidFill>
        </p:spPr>
        <p:txBody>
          <a:bodyPr wrap="square" rtlCol="0">
            <a:spAutoFit/>
          </a:bodyPr>
          <a:lstStyle/>
          <a:p>
            <a:r>
              <a:rPr lang="zh-CN" altLang="en-US" sz="1200" b="1" dirty="0">
                <a:solidFill>
                  <a:srgbClr val="000000"/>
                </a:solidFill>
              </a:rPr>
              <a:t>讨论多时的课题： </a:t>
            </a:r>
            <a:r>
              <a:rPr lang="en-US" altLang="zh-CN" sz="1200" b="1" dirty="0">
                <a:solidFill>
                  <a:srgbClr val="000000"/>
                </a:solidFill>
              </a:rPr>
              <a:t>H1N1</a:t>
            </a:r>
            <a:endParaRPr lang="en-US" sz="1200" b="1" dirty="0">
              <a:solidFill>
                <a:srgbClr val="000000"/>
              </a:solidFill>
            </a:endParaRPr>
          </a:p>
        </p:txBody>
      </p:sp>
      <p:sp>
        <p:nvSpPr>
          <p:cNvPr id="5" name="TextBox 4"/>
          <p:cNvSpPr txBox="1"/>
          <p:nvPr/>
        </p:nvSpPr>
        <p:spPr>
          <a:xfrm>
            <a:off x="5796136" y="1489842"/>
            <a:ext cx="2088232" cy="276999"/>
          </a:xfrm>
          <a:prstGeom prst="rect">
            <a:avLst/>
          </a:prstGeom>
          <a:solidFill>
            <a:srgbClr val="FFC000"/>
          </a:solidFill>
        </p:spPr>
        <p:txBody>
          <a:bodyPr wrap="square" rtlCol="0">
            <a:spAutoFit/>
          </a:bodyPr>
          <a:lstStyle/>
          <a:p>
            <a:r>
              <a:rPr lang="zh-CN" altLang="en-US" sz="1200" b="1" dirty="0">
                <a:solidFill>
                  <a:srgbClr val="000000"/>
                </a:solidFill>
              </a:rPr>
              <a:t>近期的课题： </a:t>
            </a:r>
            <a:r>
              <a:rPr lang="en-US" altLang="zh-CN" sz="1200" b="1" dirty="0">
                <a:solidFill>
                  <a:srgbClr val="000000"/>
                </a:solidFill>
              </a:rPr>
              <a:t>H7N9</a:t>
            </a:r>
            <a:endParaRPr lang="en-US" sz="1200" b="1" dirty="0">
              <a:solidFill>
                <a:srgbClr val="000000"/>
              </a:solidFill>
            </a:endParaRPr>
          </a:p>
        </p:txBody>
      </p:sp>
      <p:sp>
        <p:nvSpPr>
          <p:cNvPr id="6" name="TextBox 5"/>
          <p:cNvSpPr txBox="1"/>
          <p:nvPr/>
        </p:nvSpPr>
        <p:spPr>
          <a:xfrm>
            <a:off x="899592" y="5949280"/>
            <a:ext cx="7344816" cy="369332"/>
          </a:xfrm>
          <a:prstGeom prst="rect">
            <a:avLst/>
          </a:prstGeom>
          <a:noFill/>
        </p:spPr>
        <p:txBody>
          <a:bodyPr wrap="square" rtlCol="0">
            <a:spAutoFit/>
          </a:bodyPr>
          <a:lstStyle/>
          <a:p>
            <a:r>
              <a:rPr lang="zh-CN" altLang="en-US" dirty="0">
                <a:solidFill>
                  <a:srgbClr val="000000"/>
                </a:solidFill>
              </a:rPr>
              <a:t>检索金三角概念为台湾淡江大学资讯与图书馆系林雯瑶助理教授所提供</a:t>
            </a:r>
            <a:endParaRPr lang="en-US" dirty="0">
              <a:solidFill>
                <a:srgbClr val="000000"/>
              </a:solidFill>
            </a:endParaRPr>
          </a:p>
        </p:txBody>
      </p:sp>
      <p:sp>
        <p:nvSpPr>
          <p:cNvPr id="7" name="TextBox 6"/>
          <p:cNvSpPr txBox="1"/>
          <p:nvPr/>
        </p:nvSpPr>
        <p:spPr>
          <a:xfrm>
            <a:off x="251742" y="472185"/>
            <a:ext cx="8136904" cy="400110"/>
          </a:xfrm>
          <a:prstGeom prst="rect">
            <a:avLst/>
          </a:prstGeom>
          <a:noFill/>
        </p:spPr>
        <p:txBody>
          <a:bodyPr wrap="square" rtlCol="0">
            <a:spAutoFit/>
          </a:bodyPr>
          <a:lstStyle/>
          <a:p>
            <a:r>
              <a:rPr lang="zh-CN" altLang="en-US" sz="2000" b="1" dirty="0">
                <a:solidFill>
                  <a:srgbClr val="000000"/>
                </a:solidFill>
              </a:rPr>
              <a:t>利用关键词和栏位组合选择检索策略</a:t>
            </a:r>
            <a:r>
              <a:rPr lang="en-US" altLang="zh-CN" sz="2000" b="1" dirty="0">
                <a:solidFill>
                  <a:srgbClr val="000000"/>
                </a:solidFill>
              </a:rPr>
              <a:t>-</a:t>
            </a:r>
            <a:r>
              <a:rPr lang="zh-CN" altLang="en-US" sz="2000" b="1" dirty="0">
                <a:solidFill>
                  <a:srgbClr val="000000"/>
                </a:solidFill>
              </a:rPr>
              <a:t>检索金三角概念</a:t>
            </a:r>
            <a:endParaRPr lang="en-US" sz="2000" b="1" dirty="0">
              <a:solidFill>
                <a:srgbClr val="000000"/>
              </a:solidFill>
            </a:endParaRPr>
          </a:p>
        </p:txBody>
      </p:sp>
      <p:sp>
        <p:nvSpPr>
          <p:cNvPr id="8" name="TextBox 7"/>
          <p:cNvSpPr txBox="1"/>
          <p:nvPr/>
        </p:nvSpPr>
        <p:spPr>
          <a:xfrm>
            <a:off x="899592" y="4653136"/>
            <a:ext cx="2700300" cy="830997"/>
          </a:xfrm>
          <a:prstGeom prst="rect">
            <a:avLst/>
          </a:prstGeom>
          <a:solidFill>
            <a:schemeClr val="accent3">
              <a:lumMod val="75000"/>
            </a:schemeClr>
          </a:solidFill>
        </p:spPr>
        <p:txBody>
          <a:bodyPr wrap="square" rtlCol="0">
            <a:spAutoFit/>
          </a:bodyPr>
          <a:lstStyle/>
          <a:p>
            <a:r>
              <a:rPr lang="zh-CN" altLang="en-US" sz="1200" dirty="0">
                <a:solidFill>
                  <a:srgbClr val="000000"/>
                </a:solidFill>
              </a:rPr>
              <a:t>已经研究了一段时间的主题其文献较多</a:t>
            </a:r>
            <a:r>
              <a:rPr lang="en-US" altLang="zh-CN" sz="1200" dirty="0">
                <a:solidFill>
                  <a:srgbClr val="000000"/>
                </a:solidFill>
              </a:rPr>
              <a:t>,</a:t>
            </a:r>
            <a:r>
              <a:rPr lang="zh-CN" altLang="en-US" sz="1200" dirty="0">
                <a:solidFill>
                  <a:srgbClr val="000000"/>
                </a:solidFill>
              </a:rPr>
              <a:t>在所有字段中检索时，相关度高和低的文章都会被找出来。这时可以改用</a:t>
            </a:r>
            <a:r>
              <a:rPr lang="en-US" altLang="zh-CN" sz="1200" dirty="0">
                <a:solidFill>
                  <a:srgbClr val="000000"/>
                </a:solidFill>
              </a:rPr>
              <a:t>Keywords</a:t>
            </a:r>
            <a:r>
              <a:rPr lang="zh-CN" altLang="en-US" sz="1200" dirty="0">
                <a:solidFill>
                  <a:srgbClr val="000000"/>
                </a:solidFill>
              </a:rPr>
              <a:t>字段来检索</a:t>
            </a:r>
            <a:endParaRPr lang="en-US" sz="1200" dirty="0">
              <a:solidFill>
                <a:srgbClr val="000000"/>
              </a:solidFill>
            </a:endParaRPr>
          </a:p>
        </p:txBody>
      </p:sp>
      <p:sp>
        <p:nvSpPr>
          <p:cNvPr id="9" name="TextBox 8"/>
          <p:cNvSpPr txBox="1"/>
          <p:nvPr/>
        </p:nvSpPr>
        <p:spPr>
          <a:xfrm>
            <a:off x="5544108" y="4805536"/>
            <a:ext cx="2700300" cy="646331"/>
          </a:xfrm>
          <a:prstGeom prst="rect">
            <a:avLst/>
          </a:prstGeom>
          <a:solidFill>
            <a:schemeClr val="accent3">
              <a:lumMod val="75000"/>
            </a:schemeClr>
          </a:solidFill>
        </p:spPr>
        <p:txBody>
          <a:bodyPr wrap="square" rtlCol="0">
            <a:spAutoFit/>
          </a:bodyPr>
          <a:lstStyle/>
          <a:p>
            <a:r>
              <a:rPr lang="zh-CN" altLang="en-US" sz="1200" dirty="0">
                <a:solidFill>
                  <a:srgbClr val="000000"/>
                </a:solidFill>
              </a:rPr>
              <a:t>新兴课题文献产量较小，在</a:t>
            </a:r>
            <a:r>
              <a:rPr lang="en-US" altLang="zh-CN" sz="1200" dirty="0">
                <a:solidFill>
                  <a:srgbClr val="000000"/>
                </a:solidFill>
              </a:rPr>
              <a:t>Keywords</a:t>
            </a:r>
            <a:r>
              <a:rPr lang="zh-CN" altLang="en-US" sz="1200" dirty="0">
                <a:solidFill>
                  <a:srgbClr val="000000"/>
                </a:solidFill>
              </a:rPr>
              <a:t>字段可以找到精确文献，可以改在所有字段检索扩大文献量</a:t>
            </a:r>
            <a:endParaRPr lang="en-US" sz="1200" dirty="0">
              <a:solidFill>
                <a:srgbClr val="000000"/>
              </a:solidFill>
            </a:endParaRPr>
          </a:p>
        </p:txBody>
      </p:sp>
      <p:pic>
        <p:nvPicPr>
          <p:cNvPr id="10" name="Picture 9"/>
          <p:cNvPicPr>
            <a:picLocks noChangeAspect="1"/>
          </p:cNvPicPr>
          <p:nvPr/>
        </p:nvPicPr>
        <p:blipFill>
          <a:blip r:embed="rId11"/>
          <a:stretch>
            <a:fillRect/>
          </a:stretch>
        </p:blipFill>
        <p:spPr>
          <a:xfrm>
            <a:off x="6581177" y="467437"/>
            <a:ext cx="2562823" cy="625451"/>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D </a:t>
            </a:r>
            <a:r>
              <a:rPr lang="zh-CN" altLang="en-US" dirty="0"/>
              <a:t>经典高级搜索使用效率</a:t>
            </a:r>
            <a:endParaRPr lang="en-GB" dirty="0"/>
          </a:p>
        </p:txBody>
      </p:sp>
      <p:pic>
        <p:nvPicPr>
          <p:cNvPr id="5" name="Picture 4"/>
          <p:cNvPicPr>
            <a:picLocks noChangeAspect="1"/>
          </p:cNvPicPr>
          <p:nvPr/>
        </p:nvPicPr>
        <p:blipFill>
          <a:blip r:embed="rId1"/>
          <a:stretch>
            <a:fillRect/>
          </a:stretch>
        </p:blipFill>
        <p:spPr>
          <a:xfrm>
            <a:off x="7773870" y="2314320"/>
            <a:ext cx="800100" cy="771525"/>
          </a:xfrm>
          <a:prstGeom prst="rect">
            <a:avLst/>
          </a:prstGeom>
        </p:spPr>
      </p:pic>
      <p:pic>
        <p:nvPicPr>
          <p:cNvPr id="20" name="Picture 19"/>
          <p:cNvPicPr>
            <a:picLocks noChangeAspect="1"/>
          </p:cNvPicPr>
          <p:nvPr/>
        </p:nvPicPr>
        <p:blipFill rotWithShape="1">
          <a:blip r:embed="rId2"/>
          <a:srcRect l="2378" t="12057" r="23486"/>
          <a:stretch>
            <a:fillRect/>
          </a:stretch>
        </p:blipFill>
        <p:spPr>
          <a:xfrm>
            <a:off x="1465839" y="1198317"/>
            <a:ext cx="5772150" cy="5160305"/>
          </a:xfrm>
          <a:prstGeom prst="rect">
            <a:avLst/>
          </a:prstGeom>
        </p:spPr>
      </p:pic>
      <p:pic>
        <p:nvPicPr>
          <p:cNvPr id="17" name="Picture 16"/>
          <p:cNvPicPr>
            <a:picLocks noChangeAspect="1"/>
          </p:cNvPicPr>
          <p:nvPr/>
        </p:nvPicPr>
        <p:blipFill>
          <a:blip r:embed="rId3"/>
          <a:stretch>
            <a:fillRect/>
          </a:stretch>
        </p:blipFill>
        <p:spPr>
          <a:xfrm>
            <a:off x="7311908" y="3486415"/>
            <a:ext cx="1724025" cy="2476500"/>
          </a:xfrm>
          <a:prstGeom prst="rect">
            <a:avLst/>
          </a:prstGeom>
        </p:spPr>
      </p:pic>
      <p:pic>
        <p:nvPicPr>
          <p:cNvPr id="6" name="Picture 5"/>
          <p:cNvPicPr>
            <a:picLocks noChangeAspect="1"/>
          </p:cNvPicPr>
          <p:nvPr/>
        </p:nvPicPr>
        <p:blipFill>
          <a:blip r:embed="rId4"/>
          <a:stretch>
            <a:fillRect/>
          </a:stretch>
        </p:blipFill>
        <p:spPr>
          <a:xfrm>
            <a:off x="7123736" y="410846"/>
            <a:ext cx="2020264" cy="514249"/>
          </a:xfrm>
          <a:prstGeom prst="rect">
            <a:avLst/>
          </a:prstGeom>
        </p:spPr>
      </p:pic>
      <p:sp>
        <p:nvSpPr>
          <p:cNvPr id="3" name="TextBox 2"/>
          <p:cNvSpPr txBox="1"/>
          <p:nvPr/>
        </p:nvSpPr>
        <p:spPr>
          <a:xfrm>
            <a:off x="1573968" y="1117525"/>
            <a:ext cx="277318"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91%</a:t>
            </a:r>
            <a:endParaRPr lang="en-GB" sz="1050" dirty="0"/>
          </a:p>
        </p:txBody>
      </p:sp>
      <p:sp>
        <p:nvSpPr>
          <p:cNvPr id="8" name="TextBox 7"/>
          <p:cNvSpPr txBox="1"/>
          <p:nvPr/>
        </p:nvSpPr>
        <p:spPr>
          <a:xfrm>
            <a:off x="2108617" y="1123849"/>
            <a:ext cx="277318"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8%</a:t>
            </a:r>
            <a:endParaRPr lang="en-GB" sz="1050" dirty="0"/>
          </a:p>
        </p:txBody>
      </p:sp>
      <p:sp>
        <p:nvSpPr>
          <p:cNvPr id="9" name="TextBox 8"/>
          <p:cNvSpPr txBox="1"/>
          <p:nvPr/>
        </p:nvSpPr>
        <p:spPr>
          <a:xfrm>
            <a:off x="2701427" y="1119610"/>
            <a:ext cx="327285"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0.5%</a:t>
            </a:r>
            <a:endParaRPr lang="en-GB" sz="1050" dirty="0"/>
          </a:p>
        </p:txBody>
      </p:sp>
      <p:sp>
        <p:nvSpPr>
          <p:cNvPr id="10" name="TextBox 9"/>
          <p:cNvSpPr txBox="1"/>
          <p:nvPr/>
        </p:nvSpPr>
        <p:spPr>
          <a:xfrm>
            <a:off x="3601534" y="1114666"/>
            <a:ext cx="400840"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0.15%</a:t>
            </a:r>
            <a:endParaRPr lang="en-GB" sz="1050" dirty="0"/>
          </a:p>
        </p:txBody>
      </p:sp>
      <p:sp>
        <p:nvSpPr>
          <p:cNvPr id="11" name="TextBox 10"/>
          <p:cNvSpPr txBox="1"/>
          <p:nvPr/>
        </p:nvSpPr>
        <p:spPr>
          <a:xfrm>
            <a:off x="4374776" y="1105017"/>
            <a:ext cx="400840"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0.4%</a:t>
            </a:r>
            <a:endParaRPr lang="en-GB" sz="1050" dirty="0"/>
          </a:p>
        </p:txBody>
      </p:sp>
      <p:sp>
        <p:nvSpPr>
          <p:cNvPr id="12" name="TextBox 11"/>
          <p:cNvSpPr txBox="1"/>
          <p:nvPr/>
        </p:nvSpPr>
        <p:spPr>
          <a:xfrm>
            <a:off x="354767" y="4989524"/>
            <a:ext cx="277318"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17%</a:t>
            </a:r>
            <a:endParaRPr lang="en-GB" sz="1050" dirty="0"/>
          </a:p>
        </p:txBody>
      </p:sp>
      <p:cxnSp>
        <p:nvCxnSpPr>
          <p:cNvPr id="7" name="Straight Arrow Connector 6"/>
          <p:cNvCxnSpPr>
            <a:stCxn id="12" idx="3"/>
          </p:cNvCxnSpPr>
          <p:nvPr/>
        </p:nvCxnSpPr>
        <p:spPr>
          <a:xfrm flipV="1">
            <a:off x="632085" y="5070315"/>
            <a:ext cx="1046813" cy="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482185" y="3716213"/>
            <a:ext cx="277318"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18%</a:t>
            </a:r>
            <a:endParaRPr lang="en-GB" sz="1050" dirty="0"/>
          </a:p>
        </p:txBody>
      </p:sp>
      <p:cxnSp>
        <p:nvCxnSpPr>
          <p:cNvPr id="16" name="Straight Arrow Connector 15"/>
          <p:cNvCxnSpPr>
            <a:stCxn id="15" idx="3"/>
          </p:cNvCxnSpPr>
          <p:nvPr/>
        </p:nvCxnSpPr>
        <p:spPr>
          <a:xfrm>
            <a:off x="759503" y="3797005"/>
            <a:ext cx="919395" cy="5"/>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14" name="Left Brace 13"/>
          <p:cNvSpPr/>
          <p:nvPr/>
        </p:nvSpPr>
        <p:spPr>
          <a:xfrm>
            <a:off x="1611327" y="3305331"/>
            <a:ext cx="155448" cy="970734"/>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19" name="TextBox 18"/>
          <p:cNvSpPr txBox="1"/>
          <p:nvPr/>
        </p:nvSpPr>
        <p:spPr>
          <a:xfrm>
            <a:off x="2683939" y="6062942"/>
            <a:ext cx="277318"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3%</a:t>
            </a:r>
            <a:endParaRPr lang="en-GB" sz="1050" dirty="0"/>
          </a:p>
        </p:txBody>
      </p:sp>
      <p:cxnSp>
        <p:nvCxnSpPr>
          <p:cNvPr id="21" name="Straight Arrow Connector 20"/>
          <p:cNvCxnSpPr/>
          <p:nvPr/>
        </p:nvCxnSpPr>
        <p:spPr>
          <a:xfrm flipV="1">
            <a:off x="2795666" y="5673778"/>
            <a:ext cx="0" cy="38916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 name="TextBox 22"/>
          <p:cNvSpPr txBox="1"/>
          <p:nvPr/>
        </p:nvSpPr>
        <p:spPr>
          <a:xfrm>
            <a:off x="7603449" y="1033874"/>
            <a:ext cx="340876" cy="16158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spAutoFit/>
          </a:bodyPr>
          <a:lstStyle/>
          <a:p>
            <a:r>
              <a:rPr lang="en-GB" sz="1050" dirty="0"/>
              <a:t>1.9%</a:t>
            </a:r>
            <a:endParaRPr lang="en-GB" sz="1050" dirty="0"/>
          </a:p>
        </p:txBody>
      </p:sp>
      <p:cxnSp>
        <p:nvCxnSpPr>
          <p:cNvPr id="24" name="Straight Arrow Connector 23"/>
          <p:cNvCxnSpPr/>
          <p:nvPr/>
        </p:nvCxnSpPr>
        <p:spPr>
          <a:xfrm flipH="1">
            <a:off x="6946289" y="1123849"/>
            <a:ext cx="657160" cy="26967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8" name="Left Brace 27"/>
          <p:cNvSpPr/>
          <p:nvPr/>
        </p:nvSpPr>
        <p:spPr>
          <a:xfrm>
            <a:off x="1611328" y="4826833"/>
            <a:ext cx="155448" cy="442210"/>
          </a:xfrm>
          <a:prstGeom prst="leftBrace">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0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nvPr>
        </p:nvGraphicFramePr>
        <p:xfrm>
          <a:off x="393699" y="654024"/>
          <a:ext cx="8504641" cy="6006198"/>
        </p:xfrm>
        <a:graphic>
          <a:graphicData uri="http://schemas.openxmlformats.org/drawingml/2006/table">
            <a:tbl>
              <a:tblPr firstRow="1" bandRow="1">
                <a:tableStyleId>{85BE263C-DBD7-4A20-BB59-AAB30ACAA65A}</a:tableStyleId>
              </a:tblPr>
              <a:tblGrid>
                <a:gridCol w="1093907"/>
                <a:gridCol w="5486400"/>
                <a:gridCol w="1924334"/>
              </a:tblGrid>
              <a:tr h="546018">
                <a:tc>
                  <a:txBody>
                    <a:bodyPr/>
                    <a:lstStyle/>
                    <a:p>
                      <a:pPr algn="l"/>
                      <a:r>
                        <a:rPr lang="en-GB" sz="1800" dirty="0"/>
                        <a:t>Phase #</a:t>
                      </a:r>
                      <a:endParaRPr lang="en-GB" sz="1800" dirty="0"/>
                    </a:p>
                  </a:txBody>
                  <a:tcPr anchor="ctr"/>
                </a:tc>
                <a:tc>
                  <a:txBody>
                    <a:bodyPr/>
                    <a:lstStyle/>
                    <a:p>
                      <a:pPr algn="l"/>
                      <a:r>
                        <a:rPr lang="en-GB" sz="1800" dirty="0"/>
                        <a:t>Description</a:t>
                      </a:r>
                      <a:endParaRPr lang="en-GB" sz="1800" dirty="0"/>
                    </a:p>
                  </a:txBody>
                  <a:tcPr anchor="ctr"/>
                </a:tc>
                <a:tc>
                  <a:txBody>
                    <a:bodyPr/>
                    <a:lstStyle/>
                    <a:p>
                      <a:pPr algn="l"/>
                      <a:r>
                        <a:rPr lang="en-GB" sz="1800" dirty="0"/>
                        <a:t>Timeline</a:t>
                      </a:r>
                      <a:endParaRPr lang="en-GB" sz="1800" dirty="0"/>
                    </a:p>
                  </a:txBody>
                  <a:tcPr anchor="ctr"/>
                </a:tc>
              </a:tr>
              <a:tr h="546018">
                <a:tc>
                  <a:txBody>
                    <a:bodyPr/>
                    <a:lstStyle/>
                    <a:p>
                      <a:pPr algn="l"/>
                      <a:r>
                        <a:rPr lang="en-GB" sz="1800" dirty="0"/>
                        <a:t>1</a:t>
                      </a:r>
                      <a:endParaRPr lang="en-GB" sz="1800" dirty="0"/>
                    </a:p>
                  </a:txBody>
                  <a:tcPr anchor="ctr"/>
                </a:tc>
                <a:tc>
                  <a:txBody>
                    <a:bodyPr/>
                    <a:lstStyle/>
                    <a:p>
                      <a:pPr algn="l"/>
                      <a:r>
                        <a:rPr lang="en-GB" sz="1800" dirty="0"/>
                        <a:t>Quick search</a:t>
                      </a:r>
                      <a:endParaRPr lang="en-GB" sz="1800" dirty="0"/>
                    </a:p>
                  </a:txBody>
                  <a:tcPr anchor="ctr"/>
                </a:tc>
                <a:tc>
                  <a:txBody>
                    <a:bodyPr/>
                    <a:lstStyle/>
                    <a:p>
                      <a:pPr algn="l"/>
                      <a:r>
                        <a:rPr lang="en-GB" sz="1800" dirty="0"/>
                        <a:t>Migrated </a:t>
                      </a:r>
                      <a:endParaRPr lang="en-GB" sz="1800" dirty="0"/>
                    </a:p>
                  </a:txBody>
                  <a:tcPr anchor="ctr"/>
                </a:tc>
              </a:tr>
              <a:tr h="546018">
                <a:tc>
                  <a:txBody>
                    <a:bodyPr/>
                    <a:lstStyle/>
                    <a:p>
                      <a:pPr algn="l"/>
                      <a:r>
                        <a:rPr lang="en-GB" sz="1800" dirty="0"/>
                        <a:t>2</a:t>
                      </a:r>
                      <a:endParaRPr lang="en-GB" sz="1800" dirty="0"/>
                    </a:p>
                  </a:txBody>
                  <a:tcPr anchor="ctr"/>
                </a:tc>
                <a:tc>
                  <a:txBody>
                    <a:bodyPr/>
                    <a:lstStyle/>
                    <a:p>
                      <a:pPr marL="0" marR="0" lvl="0" indent="0" algn="l" defTabSz="457200" rtl="0" eaLnBrk="1" fontAlgn="auto" latinLnBrk="0" hangingPunct="1">
                        <a:lnSpc>
                          <a:spcPct val="100000"/>
                        </a:lnSpc>
                        <a:spcBef>
                          <a:spcPts val="0"/>
                        </a:spcBef>
                        <a:spcAft>
                          <a:spcPts val="0"/>
                        </a:spcAft>
                        <a:buClrTx/>
                        <a:buSzTx/>
                        <a:buFontTx/>
                        <a:buNone/>
                        <a:defRPr/>
                      </a:pPr>
                      <a:r>
                        <a:rPr lang="en-GB" sz="1800" dirty="0"/>
                        <a:t>Single search box</a:t>
                      </a:r>
                      <a:endParaRPr lang="en-GB" sz="1800" dirty="0"/>
                    </a:p>
                  </a:txBody>
                  <a:tcPr anchor="ctr"/>
                </a:tc>
                <a:tc>
                  <a:txBody>
                    <a:bodyPr/>
                    <a:lstStyle/>
                    <a:p>
                      <a:pPr algn="l"/>
                      <a:r>
                        <a:rPr lang="en-GB" sz="1800" dirty="0"/>
                        <a:t>Q3 2017</a:t>
                      </a:r>
                      <a:endParaRPr lang="en-GB" sz="1800" dirty="0"/>
                    </a:p>
                  </a:txBody>
                  <a:tcPr anchor="ctr"/>
                </a:tc>
              </a:tr>
              <a:tr h="546018">
                <a:tc>
                  <a:txBody>
                    <a:bodyPr/>
                    <a:lstStyle/>
                    <a:p>
                      <a:pPr algn="l"/>
                      <a:r>
                        <a:rPr lang="en-GB" sz="1800" dirty="0"/>
                        <a:t>3</a:t>
                      </a:r>
                      <a:endParaRPr lang="en-GB" sz="1800" dirty="0"/>
                    </a:p>
                  </a:txBody>
                  <a:tcPr anchor="ctr"/>
                </a:tc>
                <a:tc>
                  <a:txBody>
                    <a:bodyPr/>
                    <a:lstStyle/>
                    <a:p>
                      <a:pPr algn="l"/>
                      <a:r>
                        <a:rPr lang="en-GB" sz="1800" dirty="0"/>
                        <a:t>Add more searchable fields</a:t>
                      </a:r>
                      <a:endParaRPr lang="en-GB" sz="1800" dirty="0"/>
                    </a:p>
                  </a:txBody>
                  <a:tcPr anchor="ctr"/>
                </a:tc>
                <a:tc>
                  <a:txBody>
                    <a:bodyPr/>
                    <a:lstStyle/>
                    <a:p>
                      <a:pPr algn="l"/>
                      <a:r>
                        <a:rPr lang="en-GB" sz="1800" dirty="0"/>
                        <a:t>Q4 2017</a:t>
                      </a:r>
                      <a:endParaRPr lang="en-GB" sz="1800" dirty="0"/>
                    </a:p>
                  </a:txBody>
                  <a:tcPr anchor="ctr"/>
                </a:tc>
              </a:tr>
              <a:tr h="546018">
                <a:tc>
                  <a:txBody>
                    <a:bodyPr/>
                    <a:lstStyle/>
                    <a:p>
                      <a:pPr algn="l"/>
                      <a:r>
                        <a:rPr lang="en-GB" sz="1800" dirty="0"/>
                        <a:t>4</a:t>
                      </a:r>
                      <a:endParaRPr lang="en-GB" sz="1800" dirty="0"/>
                    </a:p>
                  </a:txBody>
                  <a:tcPr anchor="ctr"/>
                </a:tc>
                <a:tc>
                  <a:txBody>
                    <a:bodyPr/>
                    <a:lstStyle/>
                    <a:p>
                      <a:pPr algn="l"/>
                      <a:r>
                        <a:rPr lang="en-GB" sz="1800" dirty="0"/>
                        <a:t>Advanced search functions: wildcards, booleans</a:t>
                      </a:r>
                      <a:endParaRPr lang="en-GB" sz="1800" dirty="0"/>
                    </a:p>
                  </a:txBody>
                  <a:tcPr anchor="ctr"/>
                </a:tc>
                <a:tc>
                  <a:txBody>
                    <a:bodyPr/>
                    <a:lstStyle/>
                    <a:p>
                      <a:pPr marL="0" marR="0" lvl="0" indent="0" algn="l" defTabSz="457200" rtl="0" eaLnBrk="1" fontAlgn="auto" latinLnBrk="0" hangingPunct="1">
                        <a:lnSpc>
                          <a:spcPct val="100000"/>
                        </a:lnSpc>
                        <a:spcBef>
                          <a:spcPts val="0"/>
                        </a:spcBef>
                        <a:spcAft>
                          <a:spcPts val="0"/>
                        </a:spcAft>
                        <a:buClrTx/>
                        <a:buSzTx/>
                        <a:buFontTx/>
                        <a:buNone/>
                        <a:defRPr/>
                      </a:pPr>
                      <a:r>
                        <a:rPr lang="en-GB" sz="1800" dirty="0"/>
                        <a:t>Q4 2017</a:t>
                      </a:r>
                      <a:endParaRPr lang="en-GB" sz="1800" dirty="0"/>
                    </a:p>
                  </a:txBody>
                  <a:tcPr anchor="ctr"/>
                </a:tc>
              </a:tr>
              <a:tr h="546018">
                <a:tc>
                  <a:txBody>
                    <a:bodyPr/>
                    <a:lstStyle/>
                    <a:p>
                      <a:pPr algn="l"/>
                      <a:r>
                        <a:rPr lang="en-GB" sz="1800" dirty="0"/>
                        <a:t>5</a:t>
                      </a:r>
                      <a:endParaRPr lang="en-GB" sz="1800" dirty="0"/>
                    </a:p>
                  </a:txBody>
                  <a:tcPr anchor="ctr"/>
                </a:tc>
                <a:tc>
                  <a:txBody>
                    <a:bodyPr/>
                    <a:lstStyle/>
                    <a:p>
                      <a:pPr algn="l"/>
                      <a:r>
                        <a:rPr lang="en-GB" sz="1800" dirty="0"/>
                        <a:t>Replace old advanced search form with new</a:t>
                      </a:r>
                      <a:endParaRPr lang="en-GB" sz="1800" dirty="0"/>
                    </a:p>
                  </a:txBody>
                  <a:tcPr anchor="ctr"/>
                </a:tc>
                <a:tc>
                  <a:txBody>
                    <a:bodyPr/>
                    <a:lstStyle/>
                    <a:p>
                      <a:pPr algn="l"/>
                      <a:r>
                        <a:rPr lang="en-GB" sz="1800" dirty="0"/>
                        <a:t>Q4 2017</a:t>
                      </a:r>
                      <a:endParaRPr lang="en-GB" sz="1800" dirty="0"/>
                    </a:p>
                  </a:txBody>
                  <a:tcPr anchor="ctr"/>
                </a:tc>
              </a:tr>
              <a:tr h="546018">
                <a:tc>
                  <a:txBody>
                    <a:bodyPr/>
                    <a:lstStyle/>
                    <a:p>
                      <a:pPr algn="l"/>
                      <a:r>
                        <a:rPr lang="en-GB" sz="1800" dirty="0"/>
                        <a:t>6</a:t>
                      </a:r>
                      <a:endParaRPr lang="en-GB" sz="1800" dirty="0"/>
                    </a:p>
                  </a:txBody>
                  <a:tcPr anchor="ctr"/>
                </a:tc>
                <a:tc>
                  <a:txBody>
                    <a:bodyPr/>
                    <a:lstStyle/>
                    <a:p>
                      <a:pPr algn="l"/>
                      <a:r>
                        <a:rPr lang="en-GB" sz="1800" dirty="0"/>
                        <a:t>Add search alerts </a:t>
                      </a:r>
                      <a:endParaRPr lang="en-GB" sz="1800" dirty="0"/>
                    </a:p>
                  </a:txBody>
                  <a:tcPr anchor="ctr"/>
                </a:tc>
                <a:tc>
                  <a:txBody>
                    <a:bodyPr/>
                    <a:lstStyle/>
                    <a:p>
                      <a:pPr algn="l"/>
                      <a:r>
                        <a:rPr lang="en-GB" sz="1800" dirty="0"/>
                        <a:t>Q1 2018</a:t>
                      </a:r>
                      <a:endParaRPr lang="en-GB" sz="1800" dirty="0"/>
                    </a:p>
                  </a:txBody>
                  <a:tcPr anchor="ctr"/>
                </a:tc>
              </a:tr>
              <a:tr h="546018">
                <a:tc>
                  <a:txBody>
                    <a:bodyPr/>
                    <a:lstStyle/>
                    <a:p>
                      <a:pPr algn="l"/>
                      <a:r>
                        <a:rPr lang="en-GB" sz="1800" dirty="0"/>
                        <a:t>7</a:t>
                      </a:r>
                      <a:endParaRPr lang="en-GB" sz="1800" dirty="0"/>
                    </a:p>
                  </a:txBody>
                  <a:tcPr anchor="ctr"/>
                </a:tc>
                <a:tc>
                  <a:txBody>
                    <a:bodyPr/>
                    <a:lstStyle/>
                    <a:p>
                      <a:pPr algn="l"/>
                      <a:r>
                        <a:rPr lang="en-GB" sz="1800" dirty="0"/>
                        <a:t>Migrate expert search</a:t>
                      </a:r>
                      <a:endParaRPr lang="en-GB" sz="1800" dirty="0"/>
                    </a:p>
                  </a:txBody>
                  <a:tcPr anchor="ctr"/>
                </a:tc>
                <a:tc>
                  <a:txBody>
                    <a:bodyPr/>
                    <a:lstStyle/>
                    <a:p>
                      <a:pPr algn="l"/>
                      <a:r>
                        <a:rPr lang="en-GB" sz="1800" dirty="0"/>
                        <a:t>Q2 2018</a:t>
                      </a:r>
                      <a:endParaRPr lang="en-GB" sz="1800" dirty="0"/>
                    </a:p>
                  </a:txBody>
                  <a:tcPr anchor="ctr"/>
                </a:tc>
              </a:tr>
              <a:tr h="546018">
                <a:tc>
                  <a:txBody>
                    <a:bodyPr/>
                    <a:lstStyle/>
                    <a:p>
                      <a:pPr algn="l"/>
                      <a:r>
                        <a:rPr lang="en-GB" sz="1800" dirty="0"/>
                        <a:t>8</a:t>
                      </a:r>
                      <a:endParaRPr lang="en-GB" sz="1800" dirty="0"/>
                    </a:p>
                  </a:txBody>
                  <a:tcPr anchor="ctr"/>
                </a:tc>
                <a:tc>
                  <a:txBody>
                    <a:bodyPr/>
                    <a:lstStyle/>
                    <a:p>
                      <a:pPr algn="l"/>
                      <a:r>
                        <a:rPr lang="en-GB" sz="1800" dirty="0"/>
                        <a:t>Migrate Search API</a:t>
                      </a:r>
                      <a:endParaRPr lang="en-GB" sz="1800" dirty="0"/>
                    </a:p>
                  </a:txBody>
                  <a:tcPr anchor="ctr"/>
                </a:tc>
                <a:tc>
                  <a:txBody>
                    <a:bodyPr/>
                    <a:lstStyle/>
                    <a:p>
                      <a:pPr algn="l"/>
                      <a:r>
                        <a:rPr lang="en-GB" sz="1800" dirty="0"/>
                        <a:t>Q3 2018</a:t>
                      </a:r>
                      <a:endParaRPr lang="en-GB" sz="1800" dirty="0"/>
                    </a:p>
                  </a:txBody>
                  <a:tcPr anchor="ctr"/>
                </a:tc>
              </a:tr>
              <a:tr h="546018">
                <a:tc>
                  <a:txBody>
                    <a:bodyPr/>
                    <a:lstStyle/>
                    <a:p>
                      <a:pPr algn="l"/>
                      <a:r>
                        <a:rPr lang="en-GB" sz="1800" dirty="0"/>
                        <a:t>9</a:t>
                      </a:r>
                      <a:endParaRPr lang="en-GB" sz="1800" dirty="0"/>
                    </a:p>
                  </a:txBody>
                  <a:tcPr anchor="ctr"/>
                </a:tc>
                <a:tc>
                  <a:txBody>
                    <a:bodyPr/>
                    <a:lstStyle/>
                    <a:p>
                      <a:pPr algn="l"/>
                      <a:r>
                        <a:rPr lang="en-GB" sz="1800" dirty="0"/>
                        <a:t>Migrate image search</a:t>
                      </a:r>
                      <a:endParaRPr lang="en-GB" sz="1800" dirty="0"/>
                    </a:p>
                  </a:txBody>
                  <a:tcPr anchor="ctr"/>
                </a:tc>
                <a:tc>
                  <a:txBody>
                    <a:bodyPr/>
                    <a:lstStyle/>
                    <a:p>
                      <a:pPr marL="0" marR="0" lvl="0" indent="0" algn="l" defTabSz="457200" rtl="0" eaLnBrk="1" fontAlgn="auto" latinLnBrk="0" hangingPunct="1">
                        <a:lnSpc>
                          <a:spcPct val="100000"/>
                        </a:lnSpc>
                        <a:spcBef>
                          <a:spcPts val="0"/>
                        </a:spcBef>
                        <a:spcAft>
                          <a:spcPts val="0"/>
                        </a:spcAft>
                        <a:buClrTx/>
                        <a:buSzTx/>
                        <a:buFontTx/>
                        <a:buNone/>
                        <a:defRPr/>
                      </a:pPr>
                      <a:r>
                        <a:rPr lang="en-GB" sz="1800" dirty="0"/>
                        <a:t>Q3 2018</a:t>
                      </a:r>
                      <a:endParaRPr lang="en-GB" sz="1800" dirty="0"/>
                    </a:p>
                  </a:txBody>
                  <a:tcPr anchor="ctr"/>
                </a:tc>
              </a:tr>
              <a:tr h="546018">
                <a:tc>
                  <a:txBody>
                    <a:bodyPr/>
                    <a:lstStyle/>
                    <a:p>
                      <a:pPr algn="l"/>
                      <a:r>
                        <a:rPr lang="en-GB" sz="1800" dirty="0"/>
                        <a:t>10</a:t>
                      </a:r>
                      <a:endParaRPr lang="en-GB" sz="1800" dirty="0"/>
                    </a:p>
                  </a:txBody>
                  <a:tcPr anchor="ctr"/>
                </a:tc>
                <a:tc>
                  <a:txBody>
                    <a:bodyPr/>
                    <a:lstStyle/>
                    <a:p>
                      <a:pPr algn="l"/>
                      <a:r>
                        <a:rPr lang="en-GB" sz="1800" dirty="0"/>
                        <a:t>Retire old search pages running on SOLR</a:t>
                      </a:r>
                      <a:endParaRPr lang="en-GB" sz="1800" dirty="0"/>
                    </a:p>
                  </a:txBody>
                  <a:tcPr anchor="ctr"/>
                </a:tc>
                <a:tc>
                  <a:txBody>
                    <a:bodyPr/>
                    <a:lstStyle/>
                    <a:p>
                      <a:pPr algn="l"/>
                      <a:r>
                        <a:rPr lang="en-GB" sz="1800" dirty="0"/>
                        <a:t>Q3 2018</a:t>
                      </a:r>
                      <a:endParaRPr lang="en-GB" sz="1800" dirty="0"/>
                    </a:p>
                  </a:txBody>
                  <a:tcPr anchor="ctr"/>
                </a:tc>
              </a:tr>
            </a:tbl>
          </a:graphicData>
        </a:graphic>
      </p:graphicFrame>
      <p:sp>
        <p:nvSpPr>
          <p:cNvPr id="2" name="Rectangle 1"/>
          <p:cNvSpPr/>
          <p:nvPr/>
        </p:nvSpPr>
        <p:spPr>
          <a:xfrm>
            <a:off x="393699" y="654024"/>
            <a:ext cx="8504641" cy="6006198"/>
          </a:xfrm>
          <a:prstGeom prst="rect">
            <a:avLst/>
          </a:prstGeom>
          <a:solidFill>
            <a:schemeClr val="bg1">
              <a:alpha val="50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pic>
        <p:nvPicPr>
          <p:cNvPr id="1026" name="Picture 2" descr="Image result for green tick transparent"/>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8318384" y="1160052"/>
            <a:ext cx="405570" cy="464246"/>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rot="16200000">
            <a:off x="-222779" y="1498928"/>
            <a:ext cx="894401" cy="338554"/>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lIns="91440" tIns="45720" rIns="91440" bIns="45720">
            <a:spAutoFit/>
          </a:bodyPr>
          <a:lstStyle/>
          <a:p>
            <a:pPr algn="ctr"/>
            <a:r>
              <a:rPr lang="en-US" sz="1600" b="0" cap="none" spc="0" dirty="0">
                <a:ln w="0"/>
                <a:solidFill>
                  <a:schemeClr val="bg1"/>
                </a:solidFill>
                <a:effectLst>
                  <a:outerShdw blurRad="38100" dist="19050" dir="2700000" algn="tl" rotWithShape="0">
                    <a:schemeClr val="dk1">
                      <a:alpha val="40000"/>
                    </a:schemeClr>
                  </a:outerShdw>
                </a:effectLst>
              </a:rPr>
              <a:t>QUICK</a:t>
            </a:r>
            <a:endParaRPr lang="en-US" sz="1600" b="0" cap="none" spc="0" dirty="0">
              <a:ln w="0"/>
              <a:solidFill>
                <a:schemeClr val="bg1"/>
              </a:solidFill>
              <a:effectLst>
                <a:outerShdw blurRad="38100" dist="19050" dir="2700000" algn="tl" rotWithShape="0">
                  <a:schemeClr val="dk1">
                    <a:alpha val="40000"/>
                  </a:schemeClr>
                </a:outerShdw>
              </a:effectLst>
            </a:endParaRPr>
          </a:p>
        </p:txBody>
      </p:sp>
      <p:sp>
        <p:nvSpPr>
          <p:cNvPr id="8" name="Rectangle 7"/>
          <p:cNvSpPr/>
          <p:nvPr/>
        </p:nvSpPr>
        <p:spPr>
          <a:xfrm rot="16200000">
            <a:off x="-592823" y="2947263"/>
            <a:ext cx="1600734" cy="338554"/>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lIns="91440" tIns="45720" rIns="91440" bIns="45720">
            <a:spAutoFit/>
          </a:bodyPr>
          <a:lstStyle/>
          <a:p>
            <a:pPr algn="ctr"/>
            <a:r>
              <a:rPr lang="en-US" sz="1600" b="0" cap="none" spc="0" dirty="0">
                <a:ln w="0"/>
                <a:solidFill>
                  <a:schemeClr val="bg1"/>
                </a:solidFill>
                <a:effectLst>
                  <a:outerShdw blurRad="38100" dist="19050" dir="2700000" algn="tl" rotWithShape="0">
                    <a:schemeClr val="dk1">
                      <a:alpha val="40000"/>
                    </a:schemeClr>
                  </a:outerShdw>
                </a:effectLst>
              </a:rPr>
              <a:t>ADVANCED</a:t>
            </a:r>
            <a:endParaRPr lang="en-US" sz="1600" b="0" cap="none" spc="0" dirty="0">
              <a:ln w="0"/>
              <a:solidFill>
                <a:schemeClr val="bg1"/>
              </a:solidFill>
              <a:effectLst>
                <a:outerShdw blurRad="38100" dist="19050" dir="2700000" algn="tl" rotWithShape="0">
                  <a:schemeClr val="dk1">
                    <a:alpha val="40000"/>
                  </a:schemeClr>
                </a:outerShdw>
              </a:effectLst>
            </a:endParaRPr>
          </a:p>
        </p:txBody>
      </p:sp>
      <p:sp>
        <p:nvSpPr>
          <p:cNvPr id="9" name="Rectangle 8"/>
          <p:cNvSpPr/>
          <p:nvPr/>
        </p:nvSpPr>
        <p:spPr>
          <a:xfrm rot="16200000">
            <a:off x="-857456" y="5409067"/>
            <a:ext cx="2163755" cy="338554"/>
          </a:xfrm>
          <a:prstGeom prst="rect">
            <a:avLst/>
          </a:prstGeom>
        </p:spPr>
        <p:style>
          <a:lnRef idx="2">
            <a:schemeClr val="dk1">
              <a:shade val="50000"/>
            </a:schemeClr>
          </a:lnRef>
          <a:fillRef idx="1">
            <a:schemeClr val="dk1"/>
          </a:fillRef>
          <a:effectRef idx="0">
            <a:schemeClr val="dk1"/>
          </a:effectRef>
          <a:fontRef idx="minor">
            <a:schemeClr val="lt1"/>
          </a:fontRef>
        </p:style>
        <p:txBody>
          <a:bodyPr wrap="square" lIns="91440" tIns="45720" rIns="91440" bIns="45720">
            <a:spAutoFit/>
          </a:bodyPr>
          <a:lstStyle/>
          <a:p>
            <a:pPr algn="ctr"/>
            <a:r>
              <a:rPr lang="en-US" sz="1600" b="0" cap="none" spc="0" dirty="0">
                <a:ln w="0"/>
                <a:solidFill>
                  <a:schemeClr val="bg1"/>
                </a:solidFill>
                <a:effectLst>
                  <a:outerShdw blurRad="38100" dist="19050" dir="2700000" algn="tl" rotWithShape="0">
                    <a:schemeClr val="dk1">
                      <a:alpha val="40000"/>
                    </a:schemeClr>
                  </a:outerShdw>
                </a:effectLst>
              </a:rPr>
              <a:t>EXPERT</a:t>
            </a:r>
            <a:endParaRPr lang="en-US" sz="1600" b="0" cap="none" spc="0" dirty="0">
              <a:ln w="0"/>
              <a:solidFill>
                <a:schemeClr val="bg1"/>
              </a:solidFill>
              <a:effectLst>
                <a:outerShdw blurRad="38100" dist="19050" dir="2700000" algn="tl" rotWithShape="0">
                  <a:schemeClr val="dk1">
                    <a:alpha val="40000"/>
                  </a:schemeClr>
                </a:outerShdw>
              </a:effectLst>
            </a:endParaRPr>
          </a:p>
        </p:txBody>
      </p:sp>
      <p:pic>
        <p:nvPicPr>
          <p:cNvPr id="5" name="Picture 4"/>
          <p:cNvPicPr>
            <a:picLocks noChangeAspect="1"/>
          </p:cNvPicPr>
          <p:nvPr/>
        </p:nvPicPr>
        <p:blipFill>
          <a:blip r:embed="rId2"/>
          <a:stretch>
            <a:fillRect/>
          </a:stretch>
        </p:blipFill>
        <p:spPr>
          <a:xfrm>
            <a:off x="410576" y="1781322"/>
            <a:ext cx="8487763" cy="473186"/>
          </a:xfrm>
          <a:prstGeom prst="rect">
            <a:avLst/>
          </a:prstGeom>
          <a:effectLst>
            <a:glow rad="431800">
              <a:srgbClr val="C00000">
                <a:alpha val="40000"/>
              </a:srgbClr>
            </a:glow>
          </a:effectLst>
        </p:spPr>
      </p:pic>
      <p:grpSp>
        <p:nvGrpSpPr>
          <p:cNvPr id="10" name="组合 44048"/>
          <p:cNvGrpSpPr/>
          <p:nvPr/>
        </p:nvGrpSpPr>
        <p:grpSpPr>
          <a:xfrm>
            <a:off x="1436498" y="1205508"/>
            <a:ext cx="5626912" cy="982740"/>
            <a:chOff x="2282215" y="2247169"/>
            <a:chExt cx="2269408" cy="982740"/>
          </a:xfrm>
        </p:grpSpPr>
        <p:sp>
          <p:nvSpPr>
            <p:cNvPr id="11" name="矩形 61"/>
            <p:cNvSpPr/>
            <p:nvPr/>
          </p:nvSpPr>
          <p:spPr bwMode="auto">
            <a:xfrm>
              <a:off x="2282215" y="2883714"/>
              <a:ext cx="860258" cy="346195"/>
            </a:xfrm>
            <a:prstGeom prst="rect">
              <a:avLst/>
            </a:prstGeom>
            <a:noFill/>
            <a:ln>
              <a:solidFill>
                <a:srgbClr val="FF9900"/>
              </a:solid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91440" tIns="45720" rIns="91440" bIns="45720" numCol="1" rtlCol="0" anchor="t" anchorCtr="0" compatLnSpc="1"/>
            <a:lstStyle/>
            <a:p>
              <a:pPr algn="ctr" defTabSz="914400" fontAlgn="base">
                <a:spcBef>
                  <a:spcPct val="0"/>
                </a:spcBef>
                <a:spcAft>
                  <a:spcPct val="0"/>
                </a:spcAft>
              </a:pPr>
              <a:endParaRPr lang="zh-CN" altLang="en-US" dirty="0">
                <a:solidFill>
                  <a:srgbClr val="000000"/>
                </a:solidFill>
                <a:ea typeface="宋体" panose="02010600030101010101" pitchFamily="2" charset="-122"/>
              </a:endParaRPr>
            </a:p>
          </p:txBody>
        </p:sp>
        <p:sp>
          <p:nvSpPr>
            <p:cNvPr id="12" name="AutoShape 13"/>
            <p:cNvSpPr>
              <a:spLocks noChangeArrowheads="1"/>
            </p:cNvSpPr>
            <p:nvPr/>
          </p:nvSpPr>
          <p:spPr bwMode="auto">
            <a:xfrm>
              <a:off x="3576657" y="2247169"/>
              <a:ext cx="974966" cy="448848"/>
            </a:xfrm>
            <a:prstGeom prst="wedgeRoundRectCallout">
              <a:avLst>
                <a:gd name="adj1" fmla="val -119920"/>
                <a:gd name="adj2" fmla="val 54646"/>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a:lstStyle/>
            <a:p>
              <a:pPr defTabSz="914400" fontAlgn="base">
                <a:spcBef>
                  <a:spcPct val="0"/>
                </a:spcBef>
                <a:spcAft>
                  <a:spcPct val="0"/>
                </a:spcAft>
              </a:pPr>
              <a:r>
                <a:rPr lang="zh-CN" altLang="en-US" b="1" dirty="0">
                  <a:solidFill>
                    <a:srgbClr val="FFFFFF"/>
                  </a:solidFill>
                </a:rPr>
                <a:t>单一检索框即将面世</a:t>
              </a:r>
              <a:endParaRPr lang="zh-CN" altLang="en-US" b="1" dirty="0">
                <a:solidFill>
                  <a:srgbClr val="FFFFFF"/>
                </a:solidFill>
              </a:endParaRPr>
            </a:p>
          </p:txBody>
        </p:sp>
      </p:gr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754880" y="0"/>
            <a:ext cx="4389120" cy="12435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p:cNvSpPr>
            <a:spLocks noGrp="1"/>
          </p:cNvSpPr>
          <p:nvPr>
            <p:ph type="title" idx="4294967295"/>
          </p:nvPr>
        </p:nvSpPr>
        <p:spPr>
          <a:xfrm>
            <a:off x="4752895" y="253568"/>
            <a:ext cx="4509977" cy="640080"/>
          </a:xfrm>
          <a:prstGeom prst="rect">
            <a:avLst/>
          </a:prstGeom>
        </p:spPr>
        <p:txBody>
          <a:bodyPr/>
          <a:lstStyle/>
          <a:p>
            <a:r>
              <a:rPr lang="nl-NL" sz="2400" b="1" dirty="0">
                <a:solidFill>
                  <a:schemeClr val="bg1"/>
                </a:solidFill>
              </a:rPr>
              <a:t>The Value of ScienceDirect</a:t>
            </a:r>
            <a:endParaRPr lang="en-US" sz="2400" b="1" dirty="0">
              <a:solidFill>
                <a:schemeClr val="bg1"/>
              </a:solidFill>
            </a:endParaRPr>
          </a:p>
        </p:txBody>
      </p:sp>
      <p:sp>
        <p:nvSpPr>
          <p:cNvPr id="11" name="Rounded Rectangle 10"/>
          <p:cNvSpPr/>
          <p:nvPr/>
        </p:nvSpPr>
        <p:spPr>
          <a:xfrm>
            <a:off x="5337469" y="440729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bg2">
                    <a:lumMod val="95000"/>
                  </a:schemeClr>
                </a:solidFill>
              </a:rPr>
              <a:t>提升可见性</a:t>
            </a:r>
            <a:endParaRPr lang="en-GB" sz="1600" dirty="0">
              <a:solidFill>
                <a:schemeClr val="bg2">
                  <a:lumMod val="95000"/>
                </a:schemeClr>
              </a:solidFill>
            </a:endParaRPr>
          </a:p>
        </p:txBody>
      </p:sp>
      <p:sp>
        <p:nvSpPr>
          <p:cNvPr id="13" name="Rounded Rectangle 12"/>
          <p:cNvSpPr/>
          <p:nvPr/>
        </p:nvSpPr>
        <p:spPr>
          <a:xfrm>
            <a:off x="5337470" y="1568196"/>
            <a:ext cx="3200401" cy="4572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bg2">
                    <a:lumMod val="95000"/>
                  </a:schemeClr>
                </a:solidFill>
              </a:rPr>
              <a:t>Elsevier</a:t>
            </a:r>
            <a:r>
              <a:rPr lang="zh-CN" altLang="en-US" sz="1600" dirty="0">
                <a:solidFill>
                  <a:schemeClr val="bg2">
                    <a:lumMod val="95000"/>
                  </a:schemeClr>
                </a:solidFill>
              </a:rPr>
              <a:t>的历史及传承</a:t>
            </a:r>
            <a:endParaRPr lang="en-GB" sz="1600" dirty="0">
              <a:solidFill>
                <a:schemeClr val="bg2">
                  <a:lumMod val="95000"/>
                </a:schemeClr>
              </a:solidFill>
            </a:endParaRPr>
          </a:p>
        </p:txBody>
      </p:sp>
      <p:sp>
        <p:nvSpPr>
          <p:cNvPr id="14" name="Rounded Rectangle 13"/>
          <p:cNvSpPr/>
          <p:nvPr/>
        </p:nvSpPr>
        <p:spPr>
          <a:xfrm>
            <a:off x="5337471" y="298670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altLang="zh-CN" sz="1600" dirty="0">
                <a:solidFill>
                  <a:schemeClr val="bg1">
                    <a:lumMod val="95000"/>
                  </a:schemeClr>
                </a:solidFill>
              </a:rPr>
              <a:t>S</a:t>
            </a:r>
            <a:r>
              <a:rPr lang="en-US" altLang="zh-CN" sz="1600" dirty="0" err="1">
                <a:solidFill>
                  <a:schemeClr val="bg1">
                    <a:lumMod val="95000"/>
                  </a:schemeClr>
                </a:solidFill>
              </a:rPr>
              <a:t>cienceDirect</a:t>
            </a:r>
            <a:r>
              <a:rPr lang="zh-CN" altLang="en-US" sz="1600" dirty="0">
                <a:solidFill>
                  <a:schemeClr val="bg1">
                    <a:lumMod val="95000"/>
                  </a:schemeClr>
                </a:solidFill>
              </a:rPr>
              <a:t>全文数据库</a:t>
            </a:r>
            <a:endParaRPr lang="en-GB" sz="1600" dirty="0">
              <a:solidFill>
                <a:schemeClr val="bg1">
                  <a:lumMod val="95000"/>
                </a:schemeClr>
              </a:solidFill>
            </a:endParaRPr>
          </a:p>
        </p:txBody>
      </p:sp>
      <p:sp>
        <p:nvSpPr>
          <p:cNvPr id="15" name="Rounded Rectangle 14"/>
          <p:cNvSpPr/>
          <p:nvPr/>
        </p:nvSpPr>
        <p:spPr>
          <a:xfrm>
            <a:off x="5337471" y="2287456"/>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bg2">
                    <a:lumMod val="95000"/>
                  </a:schemeClr>
                </a:solidFill>
              </a:rPr>
              <a:t>科学研究流程</a:t>
            </a:r>
            <a:endParaRPr lang="en-GB" sz="1600" dirty="0">
              <a:solidFill>
                <a:schemeClr val="bg2">
                  <a:lumMod val="95000"/>
                </a:schemeClr>
              </a:solidFill>
            </a:endParaRPr>
          </a:p>
        </p:txBody>
      </p:sp>
      <p:sp>
        <p:nvSpPr>
          <p:cNvPr id="16" name="Rounded Rectangle 15"/>
          <p:cNvSpPr/>
          <p:nvPr/>
        </p:nvSpPr>
        <p:spPr>
          <a:xfrm>
            <a:off x="5337471" y="3685944"/>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tx2"/>
                </a:solidFill>
              </a:rPr>
              <a:t>SD</a:t>
            </a:r>
            <a:r>
              <a:rPr lang="zh-CN" altLang="en-US" sz="1600" dirty="0">
                <a:solidFill>
                  <a:schemeClr val="tx2"/>
                </a:solidFill>
              </a:rPr>
              <a:t>上线新功能</a:t>
            </a:r>
            <a:endParaRPr lang="en-GB" sz="1600" dirty="0">
              <a:solidFill>
                <a:schemeClr val="tx2"/>
              </a:solidFill>
            </a:endParaRPr>
          </a:p>
        </p:txBody>
      </p:sp>
      <p:sp>
        <p:nvSpPr>
          <p:cNvPr id="2" name="Rounded Rectangle 10"/>
          <p:cNvSpPr/>
          <p:nvPr/>
        </p:nvSpPr>
        <p:spPr>
          <a:xfrm>
            <a:off x="5349534" y="5082295"/>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p>
            <a:pPr marL="1270" lvl="1" algn="ctr" eaLnBrk="0" hangingPunct="0">
              <a:spcBef>
                <a:spcPct val="20000"/>
              </a:spcBef>
              <a:buClr>
                <a:schemeClr val="accent1"/>
              </a:buClr>
            </a:pPr>
            <a:r>
              <a:rPr lang="zh-CN" altLang="en-US" sz="1600" dirty="0">
                <a:solidFill>
                  <a:schemeClr val="bg2">
                    <a:lumMod val="95000"/>
                  </a:schemeClr>
                </a:solidFill>
              </a:rPr>
              <a:t>科研论文写作</a:t>
            </a:r>
            <a:endParaRPr lang="zh-CN" altLang="en-US" sz="1600" dirty="0">
              <a:solidFill>
                <a:schemeClr val="bg2">
                  <a:lumMod val="95000"/>
                </a:schemeClr>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p:cNvSpPr txBox="1"/>
          <p:nvPr/>
        </p:nvSpPr>
        <p:spPr>
          <a:xfrm>
            <a:off x="257174" y="27813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endParaRPr lang="en-US" sz="3200" dirty="0">
              <a:solidFill>
                <a:schemeClr val="bg1"/>
              </a:solidFill>
            </a:endParaRPr>
          </a:p>
        </p:txBody>
      </p:sp>
      <p:sp>
        <p:nvSpPr>
          <p:cNvPr id="3" name="Title 4"/>
          <p:cNvSpPr txBox="1"/>
          <p:nvPr/>
        </p:nvSpPr>
        <p:spPr>
          <a:xfrm>
            <a:off x="409574" y="29337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sz="3200" dirty="0">
                <a:solidFill>
                  <a:schemeClr val="bg1"/>
                </a:solidFill>
              </a:rPr>
              <a:t>科研文献管理</a:t>
            </a:r>
            <a:endParaRPr lang="en-US" sz="3200" dirty="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1"/>
          <a:stretch>
            <a:fillRect/>
          </a:stretch>
        </p:blipFill>
        <p:spPr>
          <a:xfrm>
            <a:off x="0" y="1486070"/>
            <a:ext cx="9144000" cy="3885860"/>
          </a:xfrm>
          <a:prstGeom prst="rect">
            <a:avLst/>
          </a:prstGeom>
        </p:spPr>
      </p:pic>
      <p:sp>
        <p:nvSpPr>
          <p:cNvPr id="3" name="Donut 5"/>
          <p:cNvSpPr/>
          <p:nvPr/>
        </p:nvSpPr>
        <p:spPr>
          <a:xfrm>
            <a:off x="2553579" y="1810293"/>
            <a:ext cx="1610458"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 name="Title 1"/>
          <p:cNvSpPr txBox="1"/>
          <p:nvPr/>
        </p:nvSpPr>
        <p:spPr>
          <a:xfrm>
            <a:off x="302010" y="562399"/>
            <a:ext cx="8238319" cy="41864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t>利用</a:t>
            </a:r>
            <a:r>
              <a:rPr lang="en-US" dirty="0"/>
              <a:t>ScienceDirect</a:t>
            </a:r>
            <a:r>
              <a:rPr lang="en-US" altLang="zh-CN" dirty="0"/>
              <a:t>——</a:t>
            </a:r>
            <a:r>
              <a:rPr lang="en-US" altLang="zh-CN" dirty="0" err="1"/>
              <a:t>Mendeley</a:t>
            </a:r>
            <a:r>
              <a:rPr lang="zh-CN" altLang="en-US" dirty="0"/>
              <a:t>管理文献</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1"/>
          <a:stretch>
            <a:fillRect/>
          </a:stretch>
        </p:blipFill>
        <p:spPr>
          <a:xfrm>
            <a:off x="0" y="1489259"/>
            <a:ext cx="9144000" cy="3879482"/>
          </a:xfrm>
          <a:prstGeom prst="rect">
            <a:avLst/>
          </a:prstGeom>
        </p:spPr>
      </p:pic>
      <p:sp>
        <p:nvSpPr>
          <p:cNvPr id="3" name="Donut 5"/>
          <p:cNvSpPr/>
          <p:nvPr/>
        </p:nvSpPr>
        <p:spPr>
          <a:xfrm>
            <a:off x="3513553" y="2623624"/>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 name="Title 1"/>
          <p:cNvSpPr txBox="1"/>
          <p:nvPr/>
        </p:nvSpPr>
        <p:spPr>
          <a:xfrm>
            <a:off x="302010" y="562399"/>
            <a:ext cx="8238319" cy="41864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t>利用</a:t>
            </a:r>
            <a:r>
              <a:rPr lang="en-US" dirty="0"/>
              <a:t>ScienceDirect</a:t>
            </a:r>
            <a:r>
              <a:rPr lang="en-US" altLang="zh-CN" dirty="0"/>
              <a:t>——</a:t>
            </a:r>
            <a:r>
              <a:rPr lang="en-US" altLang="zh-CN" dirty="0" err="1"/>
              <a:t>Mendeley</a:t>
            </a:r>
            <a:r>
              <a:rPr lang="zh-CN" altLang="en-US" dirty="0"/>
              <a:t>管理文献</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1"/>
          <a:stretch>
            <a:fillRect/>
          </a:stretch>
        </p:blipFill>
        <p:spPr>
          <a:xfrm>
            <a:off x="104931" y="1387867"/>
            <a:ext cx="9144000" cy="4082265"/>
          </a:xfrm>
          <a:prstGeom prst="rect">
            <a:avLst/>
          </a:prstGeom>
        </p:spPr>
      </p:pic>
      <p:sp>
        <p:nvSpPr>
          <p:cNvPr id="3" name="Donut 5"/>
          <p:cNvSpPr/>
          <p:nvPr/>
        </p:nvSpPr>
        <p:spPr>
          <a:xfrm>
            <a:off x="6286733" y="3822837"/>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 name="Donut 5"/>
          <p:cNvSpPr/>
          <p:nvPr/>
        </p:nvSpPr>
        <p:spPr>
          <a:xfrm>
            <a:off x="7500937" y="1544332"/>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5" name="Title 1"/>
          <p:cNvSpPr txBox="1"/>
          <p:nvPr/>
        </p:nvSpPr>
        <p:spPr>
          <a:xfrm>
            <a:off x="302010" y="562399"/>
            <a:ext cx="8238319" cy="41864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t>利用</a:t>
            </a:r>
            <a:r>
              <a:rPr lang="en-US" dirty="0"/>
              <a:t>ScienceDirect</a:t>
            </a:r>
            <a:r>
              <a:rPr lang="en-US" altLang="zh-CN" dirty="0"/>
              <a:t>——</a:t>
            </a:r>
            <a:r>
              <a:rPr lang="en-US" altLang="zh-CN" dirty="0" err="1"/>
              <a:t>Mendeley</a:t>
            </a:r>
            <a:r>
              <a:rPr lang="zh-CN" altLang="en-US" dirty="0"/>
              <a:t>管理文献</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1"/>
          <a:stretch>
            <a:fillRect/>
          </a:stretch>
        </p:blipFill>
        <p:spPr>
          <a:xfrm>
            <a:off x="0" y="1439708"/>
            <a:ext cx="9144000" cy="3978584"/>
          </a:xfrm>
          <a:prstGeom prst="rect">
            <a:avLst/>
          </a:prstGeom>
        </p:spPr>
      </p:pic>
      <p:sp>
        <p:nvSpPr>
          <p:cNvPr id="3" name="Donut 5"/>
          <p:cNvSpPr/>
          <p:nvPr/>
        </p:nvSpPr>
        <p:spPr>
          <a:xfrm>
            <a:off x="7620858" y="1783817"/>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 name="Donut 5"/>
          <p:cNvSpPr/>
          <p:nvPr/>
        </p:nvSpPr>
        <p:spPr>
          <a:xfrm>
            <a:off x="6281057" y="1504702"/>
            <a:ext cx="1339801" cy="478971"/>
          </a:xfrm>
          <a:prstGeom prst="donut">
            <a:avLst>
              <a:gd name="adj" fmla="val 6818"/>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5" name="Title 1"/>
          <p:cNvSpPr txBox="1"/>
          <p:nvPr/>
        </p:nvSpPr>
        <p:spPr>
          <a:xfrm>
            <a:off x="302010" y="562399"/>
            <a:ext cx="8238319" cy="41864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t>利用</a:t>
            </a:r>
            <a:r>
              <a:rPr lang="en-US" dirty="0"/>
              <a:t>ScienceDirect</a:t>
            </a:r>
            <a:r>
              <a:rPr lang="en-US" altLang="zh-CN" dirty="0"/>
              <a:t>——</a:t>
            </a:r>
            <a:r>
              <a:rPr lang="en-US" altLang="zh-CN" dirty="0" err="1"/>
              <a:t>Mendeley</a:t>
            </a:r>
            <a:r>
              <a:rPr lang="zh-CN" altLang="en-US" dirty="0"/>
              <a:t>管理文献</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a:t>
            </a:r>
            <a:r>
              <a:rPr lang="en-US" altLang="zh-CN" dirty="0"/>
              <a:t>lsevier</a:t>
            </a:r>
            <a:r>
              <a:rPr lang="zh-CN" altLang="en-US" dirty="0"/>
              <a:t>的历史与传承</a:t>
            </a:r>
            <a:endParaRPr lang="en-US" dirty="0"/>
          </a:p>
        </p:txBody>
      </p:sp>
      <p:pic>
        <p:nvPicPr>
          <p:cNvPr id="4" name="Picture 3"/>
          <p:cNvPicPr>
            <a:picLocks noChangeAspect="1"/>
          </p:cNvPicPr>
          <p:nvPr/>
        </p:nvPicPr>
        <p:blipFill>
          <a:blip r:embed="rId1"/>
          <a:stretch>
            <a:fillRect/>
          </a:stretch>
        </p:blipFill>
        <p:spPr>
          <a:xfrm>
            <a:off x="328042" y="1123851"/>
            <a:ext cx="8270048" cy="4163711"/>
          </a:xfrm>
          <a:prstGeom prst="rect">
            <a:avLst/>
          </a:prstGeom>
        </p:spPr>
      </p:pic>
      <p:sp>
        <p:nvSpPr>
          <p:cNvPr id="5" name="TextBox 4"/>
          <p:cNvSpPr txBox="1"/>
          <p:nvPr/>
        </p:nvSpPr>
        <p:spPr>
          <a:xfrm>
            <a:off x="918158" y="4827052"/>
            <a:ext cx="4045398" cy="3001334"/>
          </a:xfrm>
          <a:prstGeom prst="rect">
            <a:avLst/>
          </a:prstGeom>
          <a:solidFill>
            <a:schemeClr val="bg1"/>
          </a:solidFill>
        </p:spPr>
        <p:txBody>
          <a:bodyPr wrap="square" rtlCol="0">
            <a:spAutoFit/>
          </a:bodyPr>
          <a:lstStyle/>
          <a:p>
            <a:pPr>
              <a:lnSpc>
                <a:spcPct val="150000"/>
              </a:lnSpc>
            </a:pPr>
            <a:r>
              <a:rPr lang="en-US" sz="1600" dirty="0"/>
              <a:t>E</a:t>
            </a:r>
            <a:r>
              <a:rPr lang="en-US" altLang="zh-CN" sz="1600" dirty="0"/>
              <a:t>lsevier</a:t>
            </a:r>
            <a:r>
              <a:rPr lang="zh-CN" altLang="en-US" sz="1600" dirty="0"/>
              <a:t>的名字来自于一家古老而独立的出版机构</a:t>
            </a:r>
            <a:endParaRPr lang="en-US" altLang="zh-CN" sz="1600" dirty="0"/>
          </a:p>
          <a:p>
            <a:pPr>
              <a:lnSpc>
                <a:spcPct val="150000"/>
              </a:lnSpc>
            </a:pPr>
            <a:r>
              <a:rPr lang="en-US" sz="1600" dirty="0" err="1"/>
              <a:t>E</a:t>
            </a:r>
            <a:r>
              <a:rPr lang="en-US" altLang="zh-CN" sz="1600" dirty="0" err="1"/>
              <a:t>lzavir</a:t>
            </a:r>
            <a:r>
              <a:rPr lang="zh-CN" altLang="en-US" sz="1600" dirty="0"/>
              <a:t>出版机构始建于</a:t>
            </a:r>
            <a:r>
              <a:rPr lang="en-US" altLang="zh-CN" sz="1600" dirty="0"/>
              <a:t>1580</a:t>
            </a:r>
            <a:r>
              <a:rPr lang="zh-CN" altLang="en-US" sz="1600" dirty="0"/>
              <a:t>年荷兰，但于</a:t>
            </a:r>
            <a:r>
              <a:rPr lang="en-US" altLang="zh-CN" sz="1600" dirty="0"/>
              <a:t>1712</a:t>
            </a:r>
            <a:r>
              <a:rPr lang="zh-CN" altLang="en-US" sz="1600" dirty="0"/>
              <a:t>年曾中止过一次服务。</a:t>
            </a:r>
            <a:endParaRPr lang="en-US" altLang="zh-CN" sz="1600" dirty="0"/>
          </a:p>
          <a:p>
            <a:pPr>
              <a:lnSpc>
                <a:spcPct val="150000"/>
              </a:lnSpc>
            </a:pPr>
            <a:endParaRPr lang="en-US" sz="1600" dirty="0"/>
          </a:p>
          <a:p>
            <a:pPr>
              <a:lnSpc>
                <a:spcPct val="150000"/>
              </a:lnSpc>
            </a:pPr>
            <a:endParaRPr lang="en-US" sz="1600" dirty="0"/>
          </a:p>
          <a:p>
            <a:pPr>
              <a:lnSpc>
                <a:spcPct val="150000"/>
              </a:lnSpc>
            </a:pPr>
            <a:endParaRPr lang="en-US" sz="1600" dirty="0"/>
          </a:p>
          <a:p>
            <a:pPr>
              <a:lnSpc>
                <a:spcPct val="150000"/>
              </a:lnSpc>
            </a:pPr>
            <a:endParaRPr lang="en-US" sz="1600" dirty="0"/>
          </a:p>
        </p:txBody>
      </p:sp>
      <p:pic>
        <p:nvPicPr>
          <p:cNvPr id="8" name="Picture 4" descr="Discorsi e Dimostrazioni Matematich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11559" y="2915478"/>
            <a:ext cx="2738528" cy="3508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1">
            <a:hlinkClick r:id="rId1"/>
          </p:cNvPr>
          <p:cNvSpPr>
            <a:spLocks noGrp="1"/>
          </p:cNvSpPr>
          <p:nvPr>
            <p:ph type="title"/>
          </p:nvPr>
        </p:nvSpPr>
        <p:spPr bwMode="auto">
          <a:xfrm>
            <a:off x="165652" y="274638"/>
            <a:ext cx="6563072" cy="1143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hangingPunct="0">
              <a:defRPr/>
            </a:pPr>
            <a:r>
              <a:rPr lang="zh-CN" altLang="en-US" sz="2600" dirty="0">
                <a:solidFill>
                  <a:srgbClr val="A40B24"/>
                </a:solidFill>
                <a:latin typeface="微软雅黑" panose="020B0503020204020204" charset="-122"/>
                <a:ea typeface="微软雅黑" panose="020B0503020204020204" charset="-122"/>
                <a:cs typeface="Georgia" panose="02040502050405020303" charset="0"/>
                <a:sym typeface="Georgia" panose="02040502050405020303" charset="0"/>
              </a:rPr>
              <a:t>或在</a:t>
            </a:r>
            <a:r>
              <a:rPr lang="en-US" altLang="zh-CN" sz="2600" dirty="0" err="1">
                <a:solidFill>
                  <a:srgbClr val="A40B24"/>
                </a:solidFill>
                <a:latin typeface="微软雅黑" panose="020B0503020204020204" charset="-122"/>
                <a:ea typeface="微软雅黑" panose="020B0503020204020204" charset="-122"/>
                <a:cs typeface="Georgia" panose="02040502050405020303" charset="0"/>
                <a:sym typeface="Georgia" panose="02040502050405020303" charset="0"/>
              </a:rPr>
              <a:t>Mendeley</a:t>
            </a:r>
            <a:r>
              <a:rPr lang="zh-CN" altLang="en-US" sz="2600" dirty="0">
                <a:solidFill>
                  <a:srgbClr val="A40B24"/>
                </a:solidFill>
                <a:latin typeface="微软雅黑" panose="020B0503020204020204" charset="-122"/>
                <a:ea typeface="微软雅黑" panose="020B0503020204020204" charset="-122"/>
                <a:cs typeface="Georgia" panose="02040502050405020303" charset="0"/>
                <a:sym typeface="Georgia" panose="02040502050405020303" charset="0"/>
              </a:rPr>
              <a:t>中进行文献的阅读和管理</a:t>
            </a:r>
            <a:endParaRPr lang="en-US" dirty="0">
              <a:solidFill>
                <a:srgbClr val="A40B24"/>
              </a:solidFill>
              <a:latin typeface="微软雅黑" panose="020B0503020204020204" charset="-122"/>
              <a:ea typeface="微软雅黑" panose="020B0503020204020204" charset="-122"/>
              <a:cs typeface="Arial" panose="020B0604020202020204" pitchFamily="34" charset="0"/>
              <a:sym typeface="Arial" panose="020B0604020202020204" pitchFamily="34" charset="0"/>
            </a:endParaRPr>
          </a:p>
        </p:txBody>
      </p:sp>
      <p:pic>
        <p:nvPicPr>
          <p:cNvPr id="552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47850" y="374650"/>
            <a:ext cx="2962275" cy="2085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9" name="Group 8"/>
          <p:cNvGrpSpPr/>
          <p:nvPr/>
        </p:nvGrpSpPr>
        <p:grpSpPr>
          <a:xfrm>
            <a:off x="53340" y="1801450"/>
            <a:ext cx="9036496" cy="4995649"/>
            <a:chOff x="0" y="1649050"/>
            <a:chExt cx="9036496" cy="4995649"/>
          </a:xfrm>
        </p:grpSpPr>
        <p:pic>
          <p:nvPicPr>
            <p:cNvPr id="552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014528"/>
              <a:ext cx="9036496" cy="46301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 name="Group 12"/>
            <p:cNvGrpSpPr/>
            <p:nvPr/>
          </p:nvGrpSpPr>
          <p:grpSpPr bwMode="auto">
            <a:xfrm>
              <a:off x="3068695" y="4080377"/>
              <a:ext cx="4383625" cy="1085850"/>
              <a:chOff x="0" y="0"/>
              <a:chExt cx="2043090" cy="1087388"/>
            </a:xfrm>
            <a:solidFill>
              <a:srgbClr val="A40B24"/>
            </a:solidFill>
          </p:grpSpPr>
          <p:sp>
            <p:nvSpPr>
              <p:cNvPr id="11" name="AutoShape 13"/>
              <p:cNvSpPr/>
              <p:nvPr/>
            </p:nvSpPr>
            <p:spPr bwMode="auto">
              <a:xfrm>
                <a:off x="0" y="0"/>
                <a:ext cx="2043090" cy="10873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7063" y="4949"/>
                    </a:moveTo>
                    <a:lnTo>
                      <a:pt x="21600" y="4949"/>
                    </a:lnTo>
                    <a:lnTo>
                      <a:pt x="21600" y="21600"/>
                    </a:lnTo>
                    <a:lnTo>
                      <a:pt x="7063" y="21600"/>
                    </a:lnTo>
                    <a:lnTo>
                      <a:pt x="7063" y="11887"/>
                    </a:lnTo>
                    <a:lnTo>
                      <a:pt x="0" y="0"/>
                    </a:lnTo>
                    <a:lnTo>
                      <a:pt x="7063" y="7724"/>
                    </a:ln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p>
                <a:pPr defTabSz="914400" fontAlgn="base" hangingPunct="0">
                  <a:spcBef>
                    <a:spcPct val="0"/>
                  </a:spcBef>
                  <a:spcAft>
                    <a:spcPct val="0"/>
                  </a:spcAft>
                  <a:defRPr/>
                </a:pPr>
                <a:endParaRPr lang="en-US" sz="1600">
                  <a:solidFill>
                    <a:srgbClr val="FFFFFF"/>
                  </a:solidFill>
                  <a:latin typeface="Georgia" panose="02040502050405020303" charset="0"/>
                  <a:cs typeface="Georgia" panose="02040502050405020303" charset="0"/>
                  <a:sym typeface="Georgia" panose="02040502050405020303" charset="0"/>
                </a:endParaRPr>
              </a:p>
            </p:txBody>
          </p:sp>
          <p:sp>
            <p:nvSpPr>
              <p:cNvPr id="12" name="AutoShape 14"/>
              <p:cNvSpPr/>
              <p:nvPr/>
            </p:nvSpPr>
            <p:spPr bwMode="auto">
              <a:xfrm>
                <a:off x="852193" y="249590"/>
                <a:ext cx="1120759" cy="81554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600"/>
                    </a:lnTo>
                    <a:lnTo>
                      <a:pt x="0" y="21600"/>
                    </a:lnTo>
                    <a:close/>
                  </a:path>
                </a:pathLst>
              </a:custGeom>
              <a:grp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defTabSz="914400" fontAlgn="base" hangingPunct="0">
                  <a:spcBef>
                    <a:spcPct val="0"/>
                  </a:spcBef>
                  <a:spcAft>
                    <a:spcPct val="0"/>
                  </a:spcAft>
                  <a:defRPr/>
                </a:pPr>
                <a:r>
                  <a:rPr lang="zh-CN" altLang="en-US" dirty="0">
                    <a:solidFill>
                      <a:srgbClr val="FFFFFF"/>
                    </a:solidFill>
                    <a:latin typeface="Microsoft JhengHei" panose="020B0604030504040204" pitchFamily="34" charset="-120"/>
                    <a:ea typeface="Microsoft JhengHei" panose="020B0604030504040204" pitchFamily="34" charset="-120"/>
                    <a:cs typeface="Arial" panose="020B0604020202020204" pitchFamily="34" charset="0"/>
                    <a:sym typeface="Arial" panose="020B0604020202020204" pitchFamily="34" charset="0"/>
                  </a:rPr>
                  <a:t>双击加入的词条，便可自动下载，并跳转至全文阅读页面</a:t>
                </a:r>
                <a:endParaRPr lang="en-US" dirty="0">
                  <a:solidFill>
                    <a:srgbClr val="FFFFFF"/>
                  </a:solidFill>
                  <a:latin typeface="Microsoft JhengHei" panose="020B0604030504040204" pitchFamily="34" charset="-120"/>
                  <a:ea typeface="Microsoft JhengHei" panose="020B0604030504040204" pitchFamily="34" charset="-120"/>
                  <a:cs typeface="Arial" panose="020B0604020202020204" pitchFamily="34" charset="0"/>
                  <a:sym typeface="Arial" panose="020B0604020202020204" pitchFamily="34" charset="0"/>
                </a:endParaRPr>
              </a:p>
            </p:txBody>
          </p:sp>
        </p:grpSp>
        <p:sp>
          <p:nvSpPr>
            <p:cNvPr id="7" name="Bent Arrow 6"/>
            <p:cNvSpPr/>
            <p:nvPr/>
          </p:nvSpPr>
          <p:spPr bwMode="auto">
            <a:xfrm rot="5400000">
              <a:off x="3051955" y="1908955"/>
              <a:ext cx="1923966" cy="1404156"/>
            </a:xfrm>
            <a:prstGeom prst="bentArrow">
              <a:avLst>
                <a:gd name="adj1" fmla="val 25000"/>
                <a:gd name="adj2" fmla="val 25876"/>
                <a:gd name="adj3" fmla="val 25000"/>
                <a:gd name="adj4" fmla="val 43750"/>
              </a:avLst>
            </a:prstGeom>
            <a:solidFill>
              <a:schemeClr val="bg1"/>
            </a:solidFill>
            <a:ln w="25400" cap="flat" cmpd="sng" algn="ctr">
              <a:noFill/>
              <a:prstDash val="solid"/>
              <a:round/>
              <a:headEnd type="none" w="med" len="med"/>
              <a:tailEnd type="none" w="med" len="med"/>
            </a:ln>
            <a:effectLst/>
          </p:spPr>
          <p:txBody>
            <a:bodyPr vert="horz" wrap="square" lIns="45719" tIns="45719" rIns="45719" bIns="45719" numCol="1" rtlCol="0" anchor="ctr" anchorCtr="0" compatLnSpc="1"/>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gr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2" name="Picture 2" descr="C:\Users\zhany190\AppData\Local\Temp\SNAGHTML760bafb.PNG"/>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5471" y="1340768"/>
            <a:ext cx="9128529" cy="4864986"/>
          </a:xfrm>
          <a:prstGeom prst="rect">
            <a:avLst/>
          </a:prstGeom>
          <a:noFill/>
          <a:extLst>
            <a:ext uri="{909E8E84-426E-40DD-AFC4-6F175D3DCCD1}">
              <a14:hiddenFill xmlns:a14="http://schemas.microsoft.com/office/drawing/2010/main">
                <a:solidFill>
                  <a:srgbClr val="FFFFFF"/>
                </a:solidFill>
              </a14:hiddenFill>
            </a:ext>
          </a:extLst>
        </p:spPr>
      </p:pic>
      <p:sp>
        <p:nvSpPr>
          <p:cNvPr id="5" name="AutoShape 1">
            <a:hlinkClick r:id="rId2"/>
          </p:cNvPr>
          <p:cNvSpPr>
            <a:spLocks noGrp="1"/>
          </p:cNvSpPr>
          <p:nvPr>
            <p:ph type="title"/>
          </p:nvPr>
        </p:nvSpPr>
        <p:spPr bwMode="auto">
          <a:xfrm>
            <a:off x="169168" y="197768"/>
            <a:ext cx="6563072" cy="1143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hangingPunct="0">
              <a:defRPr/>
            </a:pPr>
            <a:r>
              <a:rPr lang="en-US" altLang="zh-CN" sz="2600" dirty="0" err="1">
                <a:solidFill>
                  <a:srgbClr val="A40B24"/>
                </a:solidFill>
                <a:latin typeface="微软雅黑" panose="020B0503020204020204" charset="-122"/>
                <a:ea typeface="微软雅黑" panose="020B0503020204020204" charset="-122"/>
                <a:cs typeface="Georgia" panose="02040502050405020303" charset="0"/>
                <a:sym typeface="Georgia" panose="02040502050405020303" charset="0"/>
              </a:rPr>
              <a:t>Mendeley</a:t>
            </a:r>
            <a:r>
              <a:rPr lang="zh-CN" altLang="en-US" sz="2600" dirty="0">
                <a:solidFill>
                  <a:srgbClr val="A40B24"/>
                </a:solidFill>
                <a:latin typeface="微软雅黑" panose="020B0503020204020204" charset="-122"/>
                <a:ea typeface="微软雅黑" panose="020B0503020204020204" charset="-122"/>
                <a:cs typeface="Georgia" panose="02040502050405020303" charset="0"/>
                <a:sym typeface="Georgia" panose="02040502050405020303" charset="0"/>
              </a:rPr>
              <a:t>中进行文献阅读，标注和评论。以及查看文献的书目信息</a:t>
            </a:r>
            <a:endParaRPr lang="en-US" dirty="0">
              <a:solidFill>
                <a:srgbClr val="A40B24"/>
              </a:solidFill>
              <a:latin typeface="微软雅黑" panose="020B0503020204020204" charset="-122"/>
              <a:ea typeface="微软雅黑" panose="020B0503020204020204" charset="-122"/>
              <a:cs typeface="Arial" panose="020B0604020202020204" pitchFamily="34" charset="0"/>
              <a:sym typeface="Arial" panose="020B0604020202020204" pitchFamily="34" charset="0"/>
            </a:endParaRPr>
          </a:p>
        </p:txBody>
      </p:sp>
      <p:sp>
        <p:nvSpPr>
          <p:cNvPr id="6" name="Rounded Rectangle 5"/>
          <p:cNvSpPr>
            <a:spLocks noChangeArrowheads="1"/>
          </p:cNvSpPr>
          <p:nvPr/>
        </p:nvSpPr>
        <p:spPr bwMode="auto">
          <a:xfrm>
            <a:off x="6999016" y="1604950"/>
            <a:ext cx="2144984" cy="311882"/>
          </a:xfrm>
          <a:prstGeom prst="roundRect">
            <a:avLst>
              <a:gd name="adj" fmla="val 16667"/>
            </a:avLst>
          </a:prstGeom>
          <a:noFill/>
          <a:ln w="76200">
            <a:solidFill>
              <a:srgbClr val="A40B24"/>
            </a:solidFill>
            <a:rou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7" name="Rounded Rectangle 6"/>
          <p:cNvSpPr>
            <a:spLocks noChangeArrowheads="1"/>
          </p:cNvSpPr>
          <p:nvPr/>
        </p:nvSpPr>
        <p:spPr bwMode="auto">
          <a:xfrm>
            <a:off x="2267744" y="5445224"/>
            <a:ext cx="4464496" cy="504056"/>
          </a:xfrm>
          <a:prstGeom prst="roundRect">
            <a:avLst>
              <a:gd name="adj" fmla="val 16667"/>
            </a:avLst>
          </a:prstGeom>
          <a:noFill/>
          <a:ln w="76200">
            <a:solidFill>
              <a:srgbClr val="A40B24"/>
            </a:solidFill>
            <a:rou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8" name="Rounded Rectangle 7"/>
          <p:cNvSpPr>
            <a:spLocks noChangeArrowheads="1"/>
          </p:cNvSpPr>
          <p:nvPr/>
        </p:nvSpPr>
        <p:spPr bwMode="auto">
          <a:xfrm>
            <a:off x="4721764" y="2453140"/>
            <a:ext cx="1728192" cy="1584176"/>
          </a:xfrm>
          <a:prstGeom prst="roundRect">
            <a:avLst>
              <a:gd name="adj" fmla="val 16667"/>
            </a:avLst>
          </a:prstGeom>
          <a:noFill/>
          <a:ln w="76200">
            <a:solidFill>
              <a:srgbClr val="A40B24"/>
            </a:solidFill>
            <a:rou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9" name="Rounded Rectangle 8"/>
          <p:cNvSpPr>
            <a:spLocks noChangeArrowheads="1"/>
          </p:cNvSpPr>
          <p:nvPr/>
        </p:nvSpPr>
        <p:spPr bwMode="auto">
          <a:xfrm>
            <a:off x="7069428" y="3863076"/>
            <a:ext cx="2074572" cy="2086203"/>
          </a:xfrm>
          <a:prstGeom prst="roundRect">
            <a:avLst>
              <a:gd name="adj" fmla="val 16667"/>
            </a:avLst>
          </a:prstGeom>
          <a:noFill/>
          <a:ln w="76200">
            <a:solidFill>
              <a:srgbClr val="A40B24"/>
            </a:solidFill>
            <a:rou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1">
            <a:hlinkClick r:id="rId1"/>
          </p:cNvPr>
          <p:cNvSpPr>
            <a:spLocks noGrp="1"/>
          </p:cNvSpPr>
          <p:nvPr>
            <p:ph type="title"/>
          </p:nvPr>
        </p:nvSpPr>
        <p:spPr bwMode="auto">
          <a:xfrm>
            <a:off x="252106" y="99993"/>
            <a:ext cx="6563072" cy="114300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hangingPunct="0">
              <a:defRPr/>
            </a:pPr>
            <a:r>
              <a:rPr lang="zh-CN" altLang="en-US" sz="2600" dirty="0">
                <a:solidFill>
                  <a:srgbClr val="A40B24"/>
                </a:solidFill>
                <a:latin typeface="微软雅黑" panose="020B0503020204020204" charset="-122"/>
                <a:ea typeface="微软雅黑" panose="020B0503020204020204" charset="-122"/>
                <a:cs typeface="Georgia" panose="02040502050405020303" charset="0"/>
                <a:sym typeface="Georgia" panose="02040502050405020303" charset="0"/>
              </a:rPr>
              <a:t>将文献通过</a:t>
            </a:r>
            <a:r>
              <a:rPr lang="en-US" altLang="zh-CN" sz="2600" dirty="0" err="1">
                <a:solidFill>
                  <a:srgbClr val="A40B24"/>
                </a:solidFill>
                <a:latin typeface="微软雅黑" panose="020B0503020204020204" charset="-122"/>
                <a:ea typeface="微软雅黑" panose="020B0503020204020204" charset="-122"/>
                <a:cs typeface="Georgia" panose="02040502050405020303" charset="0"/>
                <a:sym typeface="Georgia" panose="02040502050405020303" charset="0"/>
              </a:rPr>
              <a:t>Mendeley</a:t>
            </a:r>
            <a:r>
              <a:rPr lang="zh-CN" altLang="en-US" sz="2600" dirty="0">
                <a:solidFill>
                  <a:srgbClr val="A40B24"/>
                </a:solidFill>
                <a:latin typeface="微软雅黑" panose="020B0503020204020204" charset="-122"/>
                <a:ea typeface="微软雅黑" panose="020B0503020204020204" charset="-122"/>
                <a:cs typeface="Georgia" panose="02040502050405020303" charset="0"/>
                <a:sym typeface="Georgia" panose="02040502050405020303" charset="0"/>
              </a:rPr>
              <a:t>引用至您的手稿中</a:t>
            </a:r>
            <a:endParaRPr lang="en-US" dirty="0">
              <a:solidFill>
                <a:srgbClr val="A40B24"/>
              </a:solidFill>
              <a:latin typeface="微软雅黑" panose="020B0503020204020204" charset="-122"/>
              <a:ea typeface="微软雅黑" panose="020B0503020204020204" charset="-122"/>
              <a:cs typeface="Arial" panose="020B0604020202020204" pitchFamily="34" charset="0"/>
              <a:sym typeface="Arial" panose="020B0604020202020204" pitchFamily="34" charset="0"/>
            </a:endParaRPr>
          </a:p>
        </p:txBody>
      </p:sp>
      <p:grpSp>
        <p:nvGrpSpPr>
          <p:cNvPr id="6" name="Group 5"/>
          <p:cNvGrpSpPr/>
          <p:nvPr/>
        </p:nvGrpSpPr>
        <p:grpSpPr>
          <a:xfrm>
            <a:off x="467544" y="1141705"/>
            <a:ext cx="3207476" cy="1232625"/>
            <a:chOff x="1043608" y="1141705"/>
            <a:chExt cx="3207476" cy="1232625"/>
          </a:xfrm>
        </p:grpSpPr>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3608" y="1141705"/>
              <a:ext cx="3207476" cy="1232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Rounded Rectangle 8"/>
            <p:cNvSpPr>
              <a:spLocks noChangeArrowheads="1"/>
            </p:cNvSpPr>
            <p:nvPr/>
          </p:nvSpPr>
          <p:spPr bwMode="auto">
            <a:xfrm>
              <a:off x="1043608" y="1196976"/>
              <a:ext cx="719621" cy="1151904"/>
            </a:xfrm>
            <a:prstGeom prst="roundRect">
              <a:avLst>
                <a:gd name="adj" fmla="val 16667"/>
              </a:avLst>
            </a:prstGeom>
            <a:noFill/>
            <a:ln w="57150">
              <a:solidFill>
                <a:srgbClr val="A40B24"/>
              </a:solidFill>
              <a:rou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grpSp>
      <p:pic>
        <p:nvPicPr>
          <p:cNvPr id="573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19672" y="893661"/>
            <a:ext cx="586408" cy="6066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AutoShape 13"/>
          <p:cNvSpPr/>
          <p:nvPr/>
        </p:nvSpPr>
        <p:spPr bwMode="auto">
          <a:xfrm>
            <a:off x="919514" y="2398941"/>
            <a:ext cx="3292446" cy="670019"/>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7063" y="4949"/>
                </a:moveTo>
                <a:lnTo>
                  <a:pt x="21600" y="4949"/>
                </a:lnTo>
                <a:lnTo>
                  <a:pt x="21600" y="21600"/>
                </a:lnTo>
                <a:lnTo>
                  <a:pt x="7063" y="21600"/>
                </a:lnTo>
                <a:lnTo>
                  <a:pt x="7063" y="11887"/>
                </a:lnTo>
                <a:lnTo>
                  <a:pt x="0" y="0"/>
                </a:lnTo>
                <a:lnTo>
                  <a:pt x="7063" y="7724"/>
                </a:lnTo>
                <a:close/>
              </a:path>
            </a:pathLst>
          </a:custGeom>
          <a:solidFill>
            <a:srgbClr val="A40B24"/>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lstStyle/>
          <a:p>
            <a:pPr defTabSz="914400" fontAlgn="base" hangingPunct="0">
              <a:spcBef>
                <a:spcPct val="0"/>
              </a:spcBef>
              <a:spcAft>
                <a:spcPct val="0"/>
              </a:spcAft>
              <a:defRPr/>
            </a:pPr>
            <a:endParaRPr lang="en-US" sz="1600" dirty="0">
              <a:solidFill>
                <a:srgbClr val="FFFFFF"/>
              </a:solidFill>
              <a:latin typeface="Georgia" panose="02040502050405020303" charset="0"/>
              <a:cs typeface="Georgia" panose="02040502050405020303" charset="0"/>
              <a:sym typeface="Georgia" panose="02040502050405020303" charset="0"/>
            </a:endParaRPr>
          </a:p>
        </p:txBody>
      </p:sp>
      <p:sp>
        <p:nvSpPr>
          <p:cNvPr id="10" name="AutoShape 16"/>
          <p:cNvSpPr/>
          <p:nvPr/>
        </p:nvSpPr>
        <p:spPr bwMode="auto">
          <a:xfrm>
            <a:off x="2009868" y="2519400"/>
            <a:ext cx="2268352" cy="50405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45719" tIns="45719" rIns="45719" bIns="45719"/>
          <a:lstStyle/>
          <a:p>
            <a:pPr defTabSz="914400" fontAlgn="base" hangingPunct="0">
              <a:spcBef>
                <a:spcPct val="0"/>
              </a:spcBef>
              <a:spcAft>
                <a:spcPct val="0"/>
              </a:spcAft>
              <a:defRPr/>
            </a:pPr>
            <a:r>
              <a:rPr lang="zh-CN" altLang="en-US" sz="1600" dirty="0">
                <a:solidFill>
                  <a:srgbClr val="FFFFFF"/>
                </a:solidFill>
                <a:latin typeface="Calibri" panose="020F0502020204030204" pitchFamily="34" charset="0"/>
                <a:ea typeface="Microsoft JhengHei" panose="020B0604030504040204" pitchFamily="34" charset="-120"/>
                <a:cs typeface="Calibri" panose="020F0502020204030204" pitchFamily="34" charset="0"/>
                <a:sym typeface="Georgia" panose="02040502050405020303" charset="0"/>
              </a:rPr>
              <a:t>选择</a:t>
            </a:r>
            <a:r>
              <a:rPr lang="en-US" altLang="zh-CN" sz="1600" dirty="0">
                <a:solidFill>
                  <a:srgbClr val="FFFFFF"/>
                </a:solidFill>
                <a:latin typeface="Calibri" panose="020F0502020204030204" pitchFamily="34" charset="0"/>
                <a:ea typeface="Microsoft JhengHei" panose="020B0604030504040204" pitchFamily="34" charset="-120"/>
                <a:cs typeface="Calibri" panose="020F0502020204030204" pitchFamily="34" charset="0"/>
                <a:sym typeface="Georgia" panose="02040502050405020303" charset="0"/>
              </a:rPr>
              <a:t>word</a:t>
            </a:r>
            <a:r>
              <a:rPr lang="zh-CN" altLang="en-US" sz="1600" dirty="0">
                <a:solidFill>
                  <a:srgbClr val="FFFFFF"/>
                </a:solidFill>
                <a:latin typeface="Calibri" panose="020F0502020204030204" pitchFamily="34" charset="0"/>
                <a:ea typeface="Microsoft JhengHei" panose="020B0604030504040204" pitchFamily="34" charset="-120"/>
                <a:cs typeface="Calibri" panose="020F0502020204030204" pitchFamily="34" charset="0"/>
                <a:sym typeface="Georgia" panose="02040502050405020303" charset="0"/>
              </a:rPr>
              <a:t>中的</a:t>
            </a:r>
            <a:r>
              <a:rPr lang="en-US" altLang="zh-CN" sz="1600" dirty="0">
                <a:solidFill>
                  <a:srgbClr val="FFFFFF"/>
                </a:solidFill>
                <a:latin typeface="Calibri" panose="020F0502020204030204" pitchFamily="34" charset="0"/>
                <a:ea typeface="Microsoft JhengHei" panose="020B0604030504040204" pitchFamily="34" charset="-120"/>
                <a:cs typeface="Calibri" panose="020F0502020204030204" pitchFamily="34" charset="0"/>
                <a:sym typeface="Georgia" panose="02040502050405020303" charset="0"/>
              </a:rPr>
              <a:t>Reference</a:t>
            </a:r>
            <a:r>
              <a:rPr lang="zh-CN" altLang="en-US" sz="1600" dirty="0">
                <a:solidFill>
                  <a:srgbClr val="FFFFFF"/>
                </a:solidFill>
                <a:latin typeface="Calibri" panose="020F0502020204030204" pitchFamily="34" charset="0"/>
                <a:ea typeface="Microsoft JhengHei" panose="020B0604030504040204" pitchFamily="34" charset="-120"/>
                <a:cs typeface="Calibri" panose="020F0502020204030204" pitchFamily="34" charset="0"/>
                <a:sym typeface="Georgia" panose="02040502050405020303" charset="0"/>
              </a:rPr>
              <a:t>的</a:t>
            </a:r>
            <a:r>
              <a:rPr lang="en-US" altLang="zh-CN" sz="1600" dirty="0">
                <a:solidFill>
                  <a:srgbClr val="FFFFFF"/>
                </a:solidFill>
                <a:latin typeface="Calibri" panose="020F0502020204030204" pitchFamily="34" charset="0"/>
                <a:ea typeface="Microsoft JhengHei" panose="020B0604030504040204" pitchFamily="34" charset="-120"/>
                <a:cs typeface="Calibri" panose="020F0502020204030204" pitchFamily="34" charset="0"/>
                <a:sym typeface="Georgia" panose="02040502050405020303" charset="0"/>
              </a:rPr>
              <a:t>Insert Citation</a:t>
            </a:r>
            <a:endParaRPr lang="en-US" dirty="0">
              <a:solidFill>
                <a:srgbClr val="000000"/>
              </a:solidFill>
              <a:latin typeface="Calibri" panose="020F0502020204030204" pitchFamily="34" charset="0"/>
              <a:ea typeface="Microsoft JhengHei" panose="020B0604030504040204" pitchFamily="34" charset="-120"/>
              <a:cs typeface="Calibri" panose="020F0502020204030204" pitchFamily="34" charset="0"/>
              <a:sym typeface="Arial" panose="020B0604020202020204" pitchFamily="34" charset="0"/>
            </a:endParaRPr>
          </a:p>
        </p:txBody>
      </p:sp>
      <p:grpSp>
        <p:nvGrpSpPr>
          <p:cNvPr id="25" name="Group 24"/>
          <p:cNvGrpSpPr/>
          <p:nvPr/>
        </p:nvGrpSpPr>
        <p:grpSpPr>
          <a:xfrm>
            <a:off x="3938910" y="908720"/>
            <a:ext cx="5097586" cy="2743200"/>
            <a:chOff x="3938910" y="908720"/>
            <a:chExt cx="5097586" cy="2743200"/>
          </a:xfrm>
        </p:grpSpPr>
        <p:sp>
          <p:nvSpPr>
            <p:cNvPr id="11" name="Right Arrow 4"/>
            <p:cNvSpPr>
              <a:spLocks noChangeArrowheads="1"/>
            </p:cNvSpPr>
            <p:nvPr/>
          </p:nvSpPr>
          <p:spPr bwMode="auto">
            <a:xfrm>
              <a:off x="3938910" y="1484796"/>
              <a:ext cx="546100" cy="576263"/>
            </a:xfrm>
            <a:prstGeom prst="rightArrow">
              <a:avLst>
                <a:gd name="adj1" fmla="val 50000"/>
                <a:gd name="adj2" fmla="val 50000"/>
              </a:avLst>
            </a:prstGeom>
            <a:solidFill>
              <a:srgbClr val="A40B24"/>
            </a:solidFill>
            <a:ln w="25400">
              <a:solidFill>
                <a:srgbClr val="A40B24"/>
              </a:solidFill>
              <a:round/>
            </a:ln>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pic>
          <p:nvPicPr>
            <p:cNvPr id="5734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45471" y="908720"/>
              <a:ext cx="4391025" cy="2743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3" name="Rounded Rectangle 12"/>
          <p:cNvSpPr>
            <a:spLocks noChangeArrowheads="1"/>
          </p:cNvSpPr>
          <p:nvPr/>
        </p:nvSpPr>
        <p:spPr bwMode="auto">
          <a:xfrm>
            <a:off x="4622777" y="1320460"/>
            <a:ext cx="4464496" cy="622875"/>
          </a:xfrm>
          <a:prstGeom prst="roundRect">
            <a:avLst>
              <a:gd name="adj" fmla="val 16667"/>
            </a:avLst>
          </a:prstGeom>
          <a:noFill/>
          <a:ln w="76200">
            <a:solidFill>
              <a:srgbClr val="A40B24"/>
            </a:solidFill>
            <a:rou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14" name="Rounded Rectangle 13"/>
          <p:cNvSpPr>
            <a:spLocks noChangeArrowheads="1"/>
          </p:cNvSpPr>
          <p:nvPr/>
        </p:nvSpPr>
        <p:spPr bwMode="auto">
          <a:xfrm>
            <a:off x="7234607" y="3215089"/>
            <a:ext cx="971600" cy="252028"/>
          </a:xfrm>
          <a:prstGeom prst="roundRect">
            <a:avLst>
              <a:gd name="adj" fmla="val 16667"/>
            </a:avLst>
          </a:prstGeom>
          <a:noFill/>
          <a:ln w="76200">
            <a:solidFill>
              <a:srgbClr val="A40B24"/>
            </a:solidFill>
            <a:rou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grpSp>
        <p:nvGrpSpPr>
          <p:cNvPr id="22" name="Group 21"/>
          <p:cNvGrpSpPr/>
          <p:nvPr/>
        </p:nvGrpSpPr>
        <p:grpSpPr>
          <a:xfrm>
            <a:off x="5237245" y="3733363"/>
            <a:ext cx="3207476" cy="1896125"/>
            <a:chOff x="5237245" y="3733363"/>
            <a:chExt cx="3207476" cy="1896125"/>
          </a:xfrm>
        </p:grpSpPr>
        <p:sp>
          <p:nvSpPr>
            <p:cNvPr id="15" name="Right Arrow 4"/>
            <p:cNvSpPr>
              <a:spLocks noChangeArrowheads="1"/>
            </p:cNvSpPr>
            <p:nvPr/>
          </p:nvSpPr>
          <p:spPr bwMode="auto">
            <a:xfrm rot="5400000">
              <a:off x="6279801" y="3718281"/>
              <a:ext cx="546100" cy="576263"/>
            </a:xfrm>
            <a:prstGeom prst="rightArrow">
              <a:avLst>
                <a:gd name="adj1" fmla="val 50000"/>
                <a:gd name="adj2" fmla="val 50000"/>
              </a:avLst>
            </a:prstGeom>
            <a:solidFill>
              <a:srgbClr val="A40B24"/>
            </a:solidFill>
            <a:ln w="25400">
              <a:solidFill>
                <a:srgbClr val="A40B24"/>
              </a:solidFill>
              <a:round/>
            </a:ln>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grpSp>
          <p:nvGrpSpPr>
            <p:cNvPr id="16" name="Group 15"/>
            <p:cNvGrpSpPr/>
            <p:nvPr/>
          </p:nvGrpSpPr>
          <p:grpSpPr>
            <a:xfrm>
              <a:off x="5237245" y="4396863"/>
              <a:ext cx="3207476" cy="1232625"/>
              <a:chOff x="1043608" y="1141705"/>
              <a:chExt cx="3207476" cy="1232625"/>
            </a:xfrm>
          </p:grpSpPr>
          <p:pic>
            <p:nvPicPr>
              <p:cNvPr id="1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43608" y="1141705"/>
                <a:ext cx="3207476" cy="1232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Rounded Rectangle 8"/>
              <p:cNvSpPr>
                <a:spLocks noChangeArrowheads="1"/>
              </p:cNvSpPr>
              <p:nvPr/>
            </p:nvSpPr>
            <p:spPr bwMode="auto">
              <a:xfrm>
                <a:off x="1674507" y="1500022"/>
                <a:ext cx="1852263" cy="360040"/>
              </a:xfrm>
              <a:prstGeom prst="roundRect">
                <a:avLst>
                  <a:gd name="adj" fmla="val 16667"/>
                </a:avLst>
              </a:prstGeom>
              <a:noFill/>
              <a:ln w="57150">
                <a:solidFill>
                  <a:srgbClr val="A40B24"/>
                </a:solidFill>
                <a:rou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grpSp>
      </p:grpSp>
      <p:grpSp>
        <p:nvGrpSpPr>
          <p:cNvPr id="20" name="Group 19"/>
          <p:cNvGrpSpPr/>
          <p:nvPr/>
        </p:nvGrpSpPr>
        <p:grpSpPr>
          <a:xfrm>
            <a:off x="222587" y="4031928"/>
            <a:ext cx="4967522" cy="1940734"/>
            <a:chOff x="222587" y="4031928"/>
            <a:chExt cx="4967522" cy="1940734"/>
          </a:xfrm>
        </p:grpSpPr>
        <p:sp>
          <p:nvSpPr>
            <p:cNvPr id="19" name="Right Arrow 4"/>
            <p:cNvSpPr>
              <a:spLocks noChangeArrowheads="1"/>
            </p:cNvSpPr>
            <p:nvPr/>
          </p:nvSpPr>
          <p:spPr bwMode="auto">
            <a:xfrm rot="10800000">
              <a:off x="4644009" y="4725144"/>
              <a:ext cx="546100" cy="576263"/>
            </a:xfrm>
            <a:prstGeom prst="rightArrow">
              <a:avLst>
                <a:gd name="adj1" fmla="val 50000"/>
                <a:gd name="adj2" fmla="val 50000"/>
              </a:avLst>
            </a:prstGeom>
            <a:solidFill>
              <a:srgbClr val="A40B24"/>
            </a:solidFill>
            <a:ln w="25400">
              <a:solidFill>
                <a:srgbClr val="A40B24"/>
              </a:solidFill>
              <a:round/>
            </a:ln>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grpSp>
          <p:nvGrpSpPr>
            <p:cNvPr id="12" name="Group 11"/>
            <p:cNvGrpSpPr/>
            <p:nvPr/>
          </p:nvGrpSpPr>
          <p:grpSpPr>
            <a:xfrm>
              <a:off x="222587" y="4031928"/>
              <a:ext cx="4422884" cy="1940734"/>
              <a:chOff x="222587" y="4031928"/>
              <a:chExt cx="4422884" cy="1940734"/>
            </a:xfrm>
          </p:grpSpPr>
          <p:pic>
            <p:nvPicPr>
              <p:cNvPr id="5734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2587" y="4031928"/>
                <a:ext cx="4400190" cy="19407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ounded Rectangle 8"/>
              <p:cNvSpPr>
                <a:spLocks noChangeArrowheads="1"/>
              </p:cNvSpPr>
              <p:nvPr/>
            </p:nvSpPr>
            <p:spPr bwMode="auto">
              <a:xfrm>
                <a:off x="497700" y="4036823"/>
                <a:ext cx="1852263" cy="360040"/>
              </a:xfrm>
              <a:prstGeom prst="roundRect">
                <a:avLst>
                  <a:gd name="adj" fmla="val 16667"/>
                </a:avLst>
              </a:prstGeom>
              <a:noFill/>
              <a:ln w="57150">
                <a:solidFill>
                  <a:srgbClr val="A40B24"/>
                </a:solidFill>
                <a:rou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3" name="Right Arrow 4"/>
              <p:cNvSpPr>
                <a:spLocks noChangeArrowheads="1"/>
              </p:cNvSpPr>
              <p:nvPr/>
            </p:nvSpPr>
            <p:spPr bwMode="auto">
              <a:xfrm rot="4377868">
                <a:off x="2051997" y="4647068"/>
                <a:ext cx="546100" cy="576263"/>
              </a:xfrm>
              <a:prstGeom prst="rightArrow">
                <a:avLst>
                  <a:gd name="adj1" fmla="val 50000"/>
                  <a:gd name="adj2" fmla="val 50000"/>
                </a:avLst>
              </a:prstGeom>
              <a:solidFill>
                <a:srgbClr val="A40B24"/>
              </a:solidFill>
              <a:ln w="25400">
                <a:solidFill>
                  <a:srgbClr val="A40B24"/>
                </a:solidFill>
                <a:round/>
              </a:ln>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sp>
            <p:nvSpPr>
              <p:cNvPr id="24" name="Rounded Rectangle 8"/>
              <p:cNvSpPr>
                <a:spLocks noChangeArrowheads="1"/>
              </p:cNvSpPr>
              <p:nvPr/>
            </p:nvSpPr>
            <p:spPr bwMode="auto">
              <a:xfrm>
                <a:off x="832831" y="5517232"/>
                <a:ext cx="3812640" cy="360040"/>
              </a:xfrm>
              <a:prstGeom prst="roundRect">
                <a:avLst>
                  <a:gd name="adj" fmla="val 16667"/>
                </a:avLst>
              </a:prstGeom>
              <a:noFill/>
              <a:ln w="57150">
                <a:solidFill>
                  <a:srgbClr val="A40B24"/>
                </a:solidFill>
                <a:round/>
              </a:ln>
              <a:extLst>
                <a:ext uri="{909E8E84-426E-40DD-AFC4-6F175D3DCCD1}">
                  <a14:hiddenFill xmlns:a14="http://schemas.microsoft.com/office/drawing/2010/main">
                    <a:solidFill>
                      <a:srgbClr val="FFFFFF"/>
                    </a:solidFill>
                  </a14:hiddenFill>
                </a:ext>
              </a:extLst>
            </p:spPr>
            <p:txBody>
              <a:bodyPr lIns="45719" tIns="45719" rIns="45719" bIns="45719" anchor="ctr"/>
              <a:lstStyle/>
              <a:p>
                <a:pPr marL="457200" defTabSz="914400" fontAlgn="base" hangingPunct="0">
                  <a:spcBef>
                    <a:spcPct val="0"/>
                  </a:spcBef>
                  <a:spcAft>
                    <a:spcPct val="0"/>
                  </a:spcAft>
                </a:pPr>
                <a:endParaRPr lang="en-US">
                  <a:solidFill>
                    <a:srgbClr val="000000"/>
                  </a:solidFill>
                  <a:latin typeface="Arial" panose="020B0604020202020204" pitchFamily="34" charset="0"/>
                  <a:cs typeface="Arial" panose="020B0604020202020204" pitchFamily="34" charset="0"/>
                  <a:sym typeface="Arial" panose="020B0604020202020204" pitchFamily="34" charset="0"/>
                </a:endParaRPr>
              </a:p>
            </p:txBody>
          </p:sp>
        </p:grpSp>
      </p:grpSp>
      <p:grpSp>
        <p:nvGrpSpPr>
          <p:cNvPr id="26" name="Group 25"/>
          <p:cNvGrpSpPr/>
          <p:nvPr/>
        </p:nvGrpSpPr>
        <p:grpSpPr>
          <a:xfrm>
            <a:off x="353789" y="2505833"/>
            <a:ext cx="8580437" cy="1562100"/>
            <a:chOff x="353789" y="2505833"/>
            <a:chExt cx="8580437" cy="1562100"/>
          </a:xfrm>
        </p:grpSpPr>
        <p:pic>
          <p:nvPicPr>
            <p:cNvPr id="57350"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3789" y="2505833"/>
              <a:ext cx="8580437" cy="15621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1" name="AutoShape 5"/>
            <p:cNvSpPr/>
            <p:nvPr/>
          </p:nvSpPr>
          <p:spPr bwMode="auto">
            <a:xfrm>
              <a:off x="3458783" y="3341102"/>
              <a:ext cx="4425585" cy="63570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600" y="0"/>
                  </a:lnTo>
                  <a:lnTo>
                    <a:pt x="21600" y="21599"/>
                  </a:lnTo>
                  <a:lnTo>
                    <a:pt x="0" y="21599"/>
                  </a:lnTo>
                  <a:close/>
                </a:path>
              </a:pathLst>
            </a:custGeom>
            <a:solidFill>
              <a:srgbClr val="A40B24"/>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0" tIns="0" rIns="0" bIns="0" anchor="ctr"/>
            <a:lstStyle/>
            <a:p>
              <a:pPr algn="ctr" defTabSz="914400" fontAlgn="base">
                <a:spcBef>
                  <a:spcPct val="0"/>
                </a:spcBef>
                <a:spcAft>
                  <a:spcPct val="0"/>
                </a:spcAft>
                <a:defRPr/>
              </a:pPr>
              <a:r>
                <a:rPr lang="zh-CN" altLang="en-US" b="1" dirty="0">
                  <a:solidFill>
                    <a:srgbClr val="FFFFFF"/>
                  </a:solidFill>
                  <a:latin typeface="Calibri" panose="020F0502020204030204" pitchFamily="34" charset="0"/>
                  <a:ea typeface="Microsoft JhengHei" panose="020B0604030504040204" pitchFamily="34" charset="-120"/>
                  <a:cs typeface="Calibri" panose="020F0502020204030204" pitchFamily="34" charset="0"/>
                </a:rPr>
                <a:t>将文献以指定方式插入手稿中</a:t>
              </a:r>
              <a:endParaRPr lang="en-US" b="1" dirty="0">
                <a:solidFill>
                  <a:srgbClr val="FFFFFF"/>
                </a:solidFill>
                <a:latin typeface="Calibri" panose="020F0502020204030204" pitchFamily="34" charset="0"/>
                <a:ea typeface="Microsoft JhengHei" panose="020B0604030504040204" pitchFamily="34" charset="-120"/>
                <a:cs typeface="Calibri" panose="020F0502020204030204" pitchFamily="34" charset="0"/>
              </a:endParaRPr>
            </a:p>
          </p:txBody>
        </p:sp>
      </p:grpSp>
      <p:sp>
        <p:nvSpPr>
          <p:cNvPr id="33" name="Rectangular Callout 3"/>
          <p:cNvSpPr>
            <a:spLocks noChangeArrowheads="1"/>
          </p:cNvSpPr>
          <p:nvPr/>
        </p:nvSpPr>
        <p:spPr bwMode="auto">
          <a:xfrm>
            <a:off x="2009867" y="6237312"/>
            <a:ext cx="3661707" cy="476672"/>
          </a:xfrm>
          <a:prstGeom prst="wedgeRectCallout">
            <a:avLst>
              <a:gd name="adj1" fmla="val -36676"/>
              <a:gd name="adj2" fmla="val -131769"/>
            </a:avLst>
          </a:prstGeom>
          <a:solidFill>
            <a:srgbClr val="A40B24"/>
          </a:solidFill>
          <a:ln w="25400">
            <a:solidFill>
              <a:srgbClr val="A40B24"/>
            </a:solidFill>
            <a:round/>
          </a:ln>
        </p:spPr>
        <p:txBody>
          <a:bodyPr lIns="45719" tIns="45719" rIns="45719" bIns="45719" anchor="ctr"/>
          <a:lstStyle/>
          <a:p>
            <a:pPr marL="457200" defTabSz="914400" fontAlgn="base" hangingPunct="0">
              <a:spcBef>
                <a:spcPct val="0"/>
              </a:spcBef>
              <a:spcAft>
                <a:spcPct val="0"/>
              </a:spcAft>
            </a:pPr>
            <a:r>
              <a:rPr lang="zh-CN" altLang="en-US" b="1" dirty="0">
                <a:solidFill>
                  <a:srgbClr val="FFFFFF"/>
                </a:solidFill>
                <a:latin typeface="Calibri" panose="020F0502020204030204" pitchFamily="34" charset="0"/>
                <a:ea typeface="Microsoft JhengHei" panose="020B0604030504040204" pitchFamily="34" charset="-120"/>
                <a:cs typeface="Calibri" panose="020F0502020204030204" pitchFamily="34" charset="0"/>
                <a:sym typeface="Arial" panose="020B0604020202020204" pitchFamily="34" charset="0"/>
              </a:rPr>
              <a:t>选择相应期刊接受的引用格式</a:t>
            </a:r>
            <a:endParaRPr lang="en-US" b="1" dirty="0">
              <a:solidFill>
                <a:srgbClr val="FFFFFF"/>
              </a:solidFill>
              <a:latin typeface="Calibri" panose="020F0502020204030204" pitchFamily="34" charset="0"/>
              <a:ea typeface="Microsoft JhengHei" panose="020B0604030504040204" pitchFamily="34" charset="-120"/>
              <a:cs typeface="Calibri" panose="020F0502020204030204" pitchFamily="34" charset="0"/>
              <a:sym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
                                        </p:tgtEl>
                                        <p:attrNameLst>
                                          <p:attrName>style.visibility</p:attrName>
                                        </p:attrNameLst>
                                      </p:cBhvr>
                                      <p:to>
                                        <p:strVal val="visible"/>
                                      </p:to>
                                    </p:set>
                                    <p:animEffect transition="in" filter="fade">
                                      <p:cBhvr>
                                        <p:cTn id="12" dur="500"/>
                                        <p:tgtEl>
                                          <p:spTgt spid="2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animEffect transition="in" filter="fade">
                                      <p:cBhvr>
                                        <p:cTn id="23" dur="500"/>
                                        <p:tgtEl>
                                          <p:spTgt spid="20"/>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500"/>
                                        <p:tgtEl>
                                          <p:spTgt spid="33"/>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33"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p:cNvSpPr txBox="1"/>
          <p:nvPr/>
        </p:nvSpPr>
        <p:spPr>
          <a:xfrm>
            <a:off x="257174" y="27813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endParaRPr lang="en-US" sz="3200" dirty="0">
              <a:solidFill>
                <a:schemeClr val="bg1"/>
              </a:solidFill>
            </a:endParaRPr>
          </a:p>
        </p:txBody>
      </p:sp>
      <p:sp>
        <p:nvSpPr>
          <p:cNvPr id="3" name="Title 4"/>
          <p:cNvSpPr txBox="1"/>
          <p:nvPr/>
        </p:nvSpPr>
        <p:spPr>
          <a:xfrm>
            <a:off x="409574" y="29337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sz="3200" dirty="0">
                <a:solidFill>
                  <a:schemeClr val="bg1"/>
                </a:solidFill>
              </a:rPr>
              <a:t>在线帮助</a:t>
            </a:r>
            <a:endParaRPr lang="en-US" sz="3200" dirty="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p:nvPr/>
        </p:nvSpPr>
        <p:spPr>
          <a:xfrm>
            <a:off x="0" y="110358"/>
            <a:ext cx="8229600" cy="1143000"/>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solidFill>
                  <a:srgbClr val="FF8200"/>
                </a:solidFill>
              </a:rPr>
              <a:t>检索过程需要帮助</a:t>
            </a:r>
            <a:endParaRPr lang="en-US" dirty="0">
              <a:solidFill>
                <a:srgbClr val="FF8200"/>
              </a:solidFill>
            </a:endParaRPr>
          </a:p>
        </p:txBody>
      </p:sp>
      <p:pic>
        <p:nvPicPr>
          <p:cNvPr id="6" name="Picture 5"/>
          <p:cNvPicPr>
            <a:picLocks noChangeAspect="1"/>
          </p:cNvPicPr>
          <p:nvPr/>
        </p:nvPicPr>
        <p:blipFill>
          <a:blip r:embed="rId1"/>
          <a:stretch>
            <a:fillRect/>
          </a:stretch>
        </p:blipFill>
        <p:spPr>
          <a:xfrm>
            <a:off x="38100" y="1072054"/>
            <a:ext cx="9144000" cy="3374893"/>
          </a:xfrm>
          <a:prstGeom prst="rect">
            <a:avLst/>
          </a:prstGeom>
        </p:spPr>
      </p:pic>
      <p:sp>
        <p:nvSpPr>
          <p:cNvPr id="7" name="Oval 6"/>
          <p:cNvSpPr/>
          <p:nvPr/>
        </p:nvSpPr>
        <p:spPr>
          <a:xfrm>
            <a:off x="8702565" y="961245"/>
            <a:ext cx="362607" cy="355174"/>
          </a:xfrm>
          <a:prstGeom prst="ellipse">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 name="Speech Bubble: Oval 7"/>
          <p:cNvSpPr/>
          <p:nvPr/>
        </p:nvSpPr>
        <p:spPr>
          <a:xfrm>
            <a:off x="6810703" y="425669"/>
            <a:ext cx="1765738" cy="535576"/>
          </a:xfrm>
          <a:prstGeom prst="wedgeEllipseCallout">
            <a:avLst>
              <a:gd name="adj1" fmla="val 57598"/>
              <a:gd name="adj2" fmla="val 4621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t>发问在这里</a:t>
            </a:r>
            <a:endParaRPr lang="en-US" sz="1400"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1"/>
          <a:stretch>
            <a:fillRect/>
          </a:stretch>
        </p:blipFill>
        <p:spPr>
          <a:xfrm>
            <a:off x="38100" y="970029"/>
            <a:ext cx="9105900" cy="4210050"/>
          </a:xfrm>
          <a:prstGeom prst="rect">
            <a:avLst/>
          </a:prstGeom>
        </p:spPr>
      </p:pic>
      <p:sp>
        <p:nvSpPr>
          <p:cNvPr id="3" name="Title 1"/>
          <p:cNvSpPr txBox="1"/>
          <p:nvPr/>
        </p:nvSpPr>
        <p:spPr>
          <a:xfrm>
            <a:off x="0" y="110358"/>
            <a:ext cx="8229600" cy="1143000"/>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solidFill>
                  <a:srgbClr val="FF8200"/>
                </a:solidFill>
              </a:rPr>
              <a:t>检索过程需要帮助</a:t>
            </a:r>
            <a:endParaRPr lang="en-US" dirty="0">
              <a:solidFill>
                <a:srgbClr val="FF8200"/>
              </a:solidFill>
            </a:endParaRPr>
          </a:p>
        </p:txBody>
      </p:sp>
      <p:pic>
        <p:nvPicPr>
          <p:cNvPr id="4" name="Picture 3"/>
          <p:cNvPicPr>
            <a:picLocks noChangeAspect="1"/>
          </p:cNvPicPr>
          <p:nvPr/>
        </p:nvPicPr>
        <p:blipFill>
          <a:blip r:embed="rId2"/>
          <a:stretch>
            <a:fillRect/>
          </a:stretch>
        </p:blipFill>
        <p:spPr>
          <a:xfrm>
            <a:off x="0" y="5375393"/>
            <a:ext cx="9144000" cy="1482607"/>
          </a:xfrm>
          <a:prstGeom prst="rect">
            <a:avLst/>
          </a:prstGeom>
        </p:spPr>
      </p:pic>
      <p:sp>
        <p:nvSpPr>
          <p:cNvPr id="5" name="Rectangle: Rounded Corners 4"/>
          <p:cNvSpPr/>
          <p:nvPr/>
        </p:nvSpPr>
        <p:spPr>
          <a:xfrm>
            <a:off x="4114800" y="5707117"/>
            <a:ext cx="977462" cy="930166"/>
          </a:xfrm>
          <a:prstGeom prst="round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Speech Bubble: Oval 5"/>
          <p:cNvSpPr/>
          <p:nvPr/>
        </p:nvSpPr>
        <p:spPr>
          <a:xfrm>
            <a:off x="4114800" y="4471279"/>
            <a:ext cx="3626069" cy="1040524"/>
          </a:xfrm>
          <a:prstGeom prst="wedgeEllipseCallou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a:solidFill>
                  <a:schemeClr val="tx1"/>
                </a:solidFill>
              </a:rPr>
              <a:t>在线聊天中英文均可</a:t>
            </a:r>
            <a:endParaRPr lang="en-US" dirty="0">
              <a:solidFill>
                <a:schemeClr val="tx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1"/>
          <a:srcRect l="16552" t="13967" r="14827" b="5993"/>
          <a:stretch>
            <a:fillRect/>
          </a:stretch>
        </p:blipFill>
        <p:spPr>
          <a:xfrm>
            <a:off x="488730" y="1466192"/>
            <a:ext cx="8119241" cy="5324428"/>
          </a:xfrm>
          <a:prstGeom prst="rect">
            <a:avLst/>
          </a:prstGeom>
        </p:spPr>
      </p:pic>
      <p:sp>
        <p:nvSpPr>
          <p:cNvPr id="3" name="Title 1"/>
          <p:cNvSpPr txBox="1"/>
          <p:nvPr/>
        </p:nvSpPr>
        <p:spPr>
          <a:xfrm>
            <a:off x="0" y="110358"/>
            <a:ext cx="8229600" cy="1143000"/>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solidFill>
                  <a:srgbClr val="FF8200"/>
                </a:solidFill>
              </a:rPr>
              <a:t>检索过程需要帮助</a:t>
            </a:r>
            <a:endParaRPr lang="en-US" dirty="0">
              <a:solidFill>
                <a:srgbClr val="FF8200"/>
              </a:solidFill>
            </a:endParaRPr>
          </a:p>
        </p:txBody>
      </p:sp>
      <p:sp>
        <p:nvSpPr>
          <p:cNvPr id="4" name="Rectangle 3"/>
          <p:cNvSpPr/>
          <p:nvPr/>
        </p:nvSpPr>
        <p:spPr>
          <a:xfrm>
            <a:off x="2222938" y="1970690"/>
            <a:ext cx="4193628" cy="1923393"/>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 name="Speech Bubble: Oval 4"/>
          <p:cNvSpPr/>
          <p:nvPr/>
        </p:nvSpPr>
        <p:spPr>
          <a:xfrm>
            <a:off x="4603531" y="488731"/>
            <a:ext cx="3026979" cy="1355835"/>
          </a:xfrm>
          <a:prstGeom prst="wedgeEllipseCallou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500" dirty="0">
                <a:solidFill>
                  <a:schemeClr val="tx1"/>
                </a:solidFill>
              </a:rPr>
              <a:t>输入名字和联系方式，当时没有解决的问题也会得到后续反馈</a:t>
            </a:r>
            <a:endParaRPr lang="en-US" sz="1500" dirty="0">
              <a:solidFill>
                <a:schemeClr val="tx1"/>
              </a:solidFill>
            </a:endParaRPr>
          </a:p>
        </p:txBody>
      </p:sp>
      <p:sp>
        <p:nvSpPr>
          <p:cNvPr id="6" name="Speech Bubble: Oval 5"/>
          <p:cNvSpPr/>
          <p:nvPr/>
        </p:nvSpPr>
        <p:spPr>
          <a:xfrm>
            <a:off x="0" y="3590363"/>
            <a:ext cx="2538249" cy="1076086"/>
          </a:xfrm>
          <a:prstGeom prst="wedgeEllipseCallout">
            <a:avLst>
              <a:gd name="adj1" fmla="val 35077"/>
              <a:gd name="adj2" fmla="val 77755"/>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500" dirty="0">
                <a:solidFill>
                  <a:schemeClr val="tx1"/>
                </a:solidFill>
              </a:rPr>
              <a:t>选择身份和目的，将获得更专业帮助</a:t>
            </a:r>
            <a:endParaRPr lang="en-US" sz="1500" dirty="0">
              <a:solidFill>
                <a:schemeClr val="tx1"/>
              </a:solidFill>
            </a:endParaRPr>
          </a:p>
        </p:txBody>
      </p:sp>
      <p:sp>
        <p:nvSpPr>
          <p:cNvPr id="7" name="Rectangle 6"/>
          <p:cNvSpPr/>
          <p:nvPr/>
        </p:nvSpPr>
        <p:spPr>
          <a:xfrm>
            <a:off x="2222938" y="4298732"/>
            <a:ext cx="4193628" cy="1923393"/>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1"/>
          <a:stretch>
            <a:fillRect/>
          </a:stretch>
        </p:blipFill>
        <p:spPr>
          <a:xfrm>
            <a:off x="0" y="1961491"/>
            <a:ext cx="9144000" cy="4152900"/>
          </a:xfrm>
          <a:prstGeom prst="rect">
            <a:avLst/>
          </a:prstGeom>
        </p:spPr>
      </p:pic>
      <p:sp>
        <p:nvSpPr>
          <p:cNvPr id="3" name="Title 1"/>
          <p:cNvSpPr txBox="1"/>
          <p:nvPr/>
        </p:nvSpPr>
        <p:spPr>
          <a:xfrm>
            <a:off x="0" y="110358"/>
            <a:ext cx="8229600" cy="1143000"/>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dirty="0">
                <a:solidFill>
                  <a:srgbClr val="FF8200"/>
                </a:solidFill>
              </a:rPr>
              <a:t>检索过程需要帮助</a:t>
            </a:r>
            <a:endParaRPr lang="en-US" dirty="0">
              <a:solidFill>
                <a:srgbClr val="FF8200"/>
              </a:solidFill>
            </a:endParaRPr>
          </a:p>
        </p:txBody>
      </p:sp>
      <p:sp>
        <p:nvSpPr>
          <p:cNvPr id="4" name="Speech Bubble: Oval 3"/>
          <p:cNvSpPr/>
          <p:nvPr/>
        </p:nvSpPr>
        <p:spPr>
          <a:xfrm>
            <a:off x="2585545" y="1253358"/>
            <a:ext cx="4162096" cy="1237594"/>
          </a:xfrm>
          <a:prstGeom prst="wedgeEllipseCallou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a:solidFill>
                  <a:schemeClr val="tx1"/>
                </a:solidFill>
              </a:rPr>
              <a:t>实时聊天记录</a:t>
            </a:r>
            <a:endParaRPr lang="en-US" dirty="0">
              <a:solidFill>
                <a:schemeClr val="tx1"/>
              </a:solidFill>
            </a:endParaRPr>
          </a:p>
        </p:txBody>
      </p:sp>
      <p:sp>
        <p:nvSpPr>
          <p:cNvPr id="5" name="Speech Bubble: Oval 4"/>
          <p:cNvSpPr/>
          <p:nvPr/>
        </p:nvSpPr>
        <p:spPr>
          <a:xfrm>
            <a:off x="4981904" y="4298729"/>
            <a:ext cx="4162096" cy="1237594"/>
          </a:xfrm>
          <a:prstGeom prst="wedgeEllipseCallou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dirty="0">
                <a:solidFill>
                  <a:schemeClr val="tx1"/>
                </a:solidFill>
              </a:rPr>
              <a:t>开始畅聊</a:t>
            </a:r>
            <a:endParaRPr lang="en-US" dirty="0">
              <a:solidFill>
                <a:schemeClr val="tx1"/>
              </a:solidFill>
            </a:endParaRPr>
          </a:p>
        </p:txBody>
      </p:sp>
      <p:sp>
        <p:nvSpPr>
          <p:cNvPr id="9" name="Rectangle 8"/>
          <p:cNvSpPr/>
          <p:nvPr/>
        </p:nvSpPr>
        <p:spPr>
          <a:xfrm>
            <a:off x="110359" y="3216166"/>
            <a:ext cx="2128344" cy="425669"/>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p:cNvSpPr txBox="1"/>
          <p:nvPr/>
        </p:nvSpPr>
        <p:spPr>
          <a:xfrm>
            <a:off x="257174" y="27813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endParaRPr lang="en-US" sz="3200" dirty="0">
              <a:solidFill>
                <a:schemeClr val="bg1"/>
              </a:solidFill>
            </a:endParaRPr>
          </a:p>
        </p:txBody>
      </p:sp>
      <p:sp>
        <p:nvSpPr>
          <p:cNvPr id="3" name="Title 4"/>
          <p:cNvSpPr txBox="1"/>
          <p:nvPr/>
        </p:nvSpPr>
        <p:spPr>
          <a:xfrm>
            <a:off x="409574" y="29337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sz="3200" dirty="0">
                <a:solidFill>
                  <a:schemeClr val="bg1"/>
                </a:solidFill>
              </a:rPr>
              <a:t>推荐阅读</a:t>
            </a:r>
            <a:endParaRPr lang="en-US" sz="3200" dirty="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1151389" y="1574797"/>
            <a:ext cx="6724002" cy="6724002"/>
            <a:chOff x="1151389" y="1574797"/>
            <a:chExt cx="6724002" cy="6724002"/>
          </a:xfrm>
        </p:grpSpPr>
        <p:pic>
          <p:nvPicPr>
            <p:cNvPr id="9" name="Picture 8"/>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151389" y="1574797"/>
              <a:ext cx="6724002" cy="6724002"/>
            </a:xfrm>
            <a:prstGeom prst="rect">
              <a:avLst/>
            </a:prstGeom>
          </p:spPr>
        </p:pic>
        <p:pic>
          <p:nvPicPr>
            <p:cNvPr id="16" name="Picture 15"/>
            <p:cNvPicPr>
              <a:picLocks noChangeAspect="1"/>
            </p:cNvPicPr>
            <p:nvPr/>
          </p:nvPicPr>
          <p:blipFill>
            <a:blip r:embed="rId2"/>
            <a:stretch>
              <a:fillRect/>
            </a:stretch>
          </p:blipFill>
          <p:spPr>
            <a:xfrm>
              <a:off x="1535559" y="1908048"/>
              <a:ext cx="5906642" cy="3480192"/>
            </a:xfrm>
            <a:prstGeom prst="rect">
              <a:avLst/>
            </a:prstGeom>
          </p:spPr>
        </p:pic>
      </p:grpSp>
      <p:pic>
        <p:nvPicPr>
          <p:cNvPr id="6" name="Picture 5"/>
          <p:cNvPicPr>
            <a:picLocks noChangeAspect="1"/>
          </p:cNvPicPr>
          <p:nvPr/>
        </p:nvPicPr>
        <p:blipFill>
          <a:blip r:embed="rId3"/>
          <a:stretch>
            <a:fillRect/>
          </a:stretch>
        </p:blipFill>
        <p:spPr>
          <a:xfrm>
            <a:off x="432052" y="738237"/>
            <a:ext cx="447236" cy="582889"/>
          </a:xfrm>
          <a:prstGeom prst="rect">
            <a:avLst/>
          </a:prstGeom>
        </p:spPr>
      </p:pic>
      <p:sp>
        <p:nvSpPr>
          <p:cNvPr id="4" name="Rectangle 3"/>
          <p:cNvSpPr/>
          <p:nvPr/>
        </p:nvSpPr>
        <p:spPr>
          <a:xfrm>
            <a:off x="1400964" y="1850820"/>
            <a:ext cx="6213221" cy="3537420"/>
          </a:xfrm>
          <a:prstGeom prst="rect">
            <a:avLst/>
          </a:prstGeom>
          <a:solidFill>
            <a:schemeClr val="accent6">
              <a:lumMod val="50000"/>
              <a:alpha val="40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8" name="Picture 17"/>
          <p:cNvPicPr>
            <a:picLocks noChangeAspect="1"/>
          </p:cNvPicPr>
          <p:nvPr/>
        </p:nvPicPr>
        <p:blipFill rotWithShape="1">
          <a:blip r:embed="rId4">
            <a:extLst>
              <a:ext uri="{28A0092B-C50C-407E-A947-70E740481C1C}">
                <a14:useLocalDpi xmlns:a14="http://schemas.microsoft.com/office/drawing/2010/main" val="0"/>
              </a:ext>
            </a:extLst>
          </a:blip>
          <a:srcRect b="45478"/>
          <a:stretch>
            <a:fillRect/>
          </a:stretch>
        </p:blipFill>
        <p:spPr>
          <a:xfrm>
            <a:off x="1683082" y="3626977"/>
            <a:ext cx="3576849" cy="1640777"/>
          </a:xfrm>
          <a:prstGeom prst="rect">
            <a:avLst/>
          </a:prstGeom>
          <a:solidFill>
            <a:srgbClr val="FFFFFF">
              <a:shade val="85000"/>
            </a:srgbClr>
          </a:solidFill>
          <a:ln w="88900" cap="sq">
            <a:solidFill>
              <a:srgbClr val="FFFFFF"/>
            </a:solidFill>
            <a:miter lim="800000"/>
            <a:headEnd/>
            <a:tailEnd/>
          </a:ln>
          <a:effectLst>
            <a:outerShdw blurRad="101600" dist="38100" dir="8100000" sx="102000" sy="102000" algn="tr" rotWithShape="0">
              <a:prstClr val="black">
                <a:alpha val="40000"/>
              </a:prstClr>
            </a:outerShdw>
          </a:effectLst>
          <a:scene3d>
            <a:camera prst="orthographicFront"/>
            <a:lightRig rig="twoPt" dir="t">
              <a:rot lat="0" lon="0" rev="7200000"/>
            </a:lightRig>
          </a:scene3d>
          <a:sp3d>
            <a:bevelT w="25400" h="19050"/>
            <a:contourClr>
              <a:srgbClr val="FFFFFF"/>
            </a:contourClr>
          </a:sp3d>
        </p:spPr>
      </p:pic>
      <p:sp>
        <p:nvSpPr>
          <p:cNvPr id="11" name="Title 1"/>
          <p:cNvSpPr txBox="1"/>
          <p:nvPr/>
        </p:nvSpPr>
        <p:spPr>
          <a:xfrm>
            <a:off x="905681" y="834722"/>
            <a:ext cx="8238319" cy="1480149"/>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sz="2200" dirty="0"/>
              <a:t>推荐阅读</a:t>
            </a:r>
            <a:br>
              <a:rPr lang="en-US" sz="2200" dirty="0"/>
            </a:br>
            <a:endParaRPr lang="en-US" sz="2200" dirty="0">
              <a:solidFill>
                <a:schemeClr val="tx1"/>
              </a:solidFill>
              <a:latin typeface="+mn-lt"/>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par>
                                <p:cTn id="8" presetID="1"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571955"/>
            <a:ext cx="8238319" cy="418645"/>
          </a:xfrm>
        </p:spPr>
        <p:txBody>
          <a:bodyPr/>
          <a:lstStyle/>
          <a:p>
            <a:pPr algn="ctr"/>
            <a:r>
              <a:rPr lang="en-US" dirty="0"/>
              <a:t>Unbiased, comprehensive journal coverage with titles from many reputable scholarly publishers</a:t>
            </a:r>
            <a:endParaRPr lang="en-US" dirty="0"/>
          </a:p>
        </p:txBody>
      </p:sp>
      <p:sp>
        <p:nvSpPr>
          <p:cNvPr id="20" name="TextBox 19"/>
          <p:cNvSpPr txBox="1"/>
          <p:nvPr/>
        </p:nvSpPr>
        <p:spPr>
          <a:xfrm>
            <a:off x="1" y="6625100"/>
            <a:ext cx="9144000" cy="246221"/>
          </a:xfrm>
          <a:prstGeom prst="rect">
            <a:avLst/>
          </a:prstGeom>
          <a:noFill/>
        </p:spPr>
        <p:txBody>
          <a:bodyPr wrap="square" rtlCol="0">
            <a:spAutoFit/>
          </a:bodyPr>
          <a:lstStyle/>
          <a:p>
            <a:r>
              <a:rPr lang="en-US" sz="1000" b="1" dirty="0"/>
              <a:t>Source</a:t>
            </a:r>
            <a:r>
              <a:rPr lang="en-US" sz="1000" dirty="0"/>
              <a:t>: November 2015 title list at </a:t>
            </a:r>
            <a:r>
              <a:rPr lang="en-US" sz="1000" dirty="0">
                <a:hlinkClick r:id="rId1"/>
              </a:rPr>
              <a:t>https://www.elsevier.com/solutions/scopus/content</a:t>
            </a:r>
            <a:endParaRPr lang="en-US" sz="1000" dirty="0"/>
          </a:p>
        </p:txBody>
      </p:sp>
      <p:pic>
        <p:nvPicPr>
          <p:cNvPr id="1229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04411" y="1747055"/>
            <a:ext cx="1944374" cy="2057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p:cNvPicPr>
            <a:picLocks noChangeAspect="1"/>
          </p:cNvPicPr>
          <p:nvPr/>
        </p:nvPicPr>
        <p:blipFill>
          <a:blip r:embed="rId3"/>
          <a:stretch>
            <a:fillRect/>
          </a:stretch>
        </p:blipFill>
        <p:spPr>
          <a:xfrm>
            <a:off x="1" y="1171067"/>
            <a:ext cx="9102117" cy="5700254"/>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p:cNvSpPr txBox="1"/>
          <p:nvPr/>
        </p:nvSpPr>
        <p:spPr>
          <a:xfrm>
            <a:off x="257174" y="27813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endParaRPr lang="en-US" sz="3200" dirty="0">
              <a:solidFill>
                <a:schemeClr val="bg1"/>
              </a:solidFill>
            </a:endParaRPr>
          </a:p>
        </p:txBody>
      </p:sp>
      <p:sp>
        <p:nvSpPr>
          <p:cNvPr id="3" name="Title 4"/>
          <p:cNvSpPr txBox="1"/>
          <p:nvPr/>
        </p:nvSpPr>
        <p:spPr>
          <a:xfrm>
            <a:off x="409574" y="29337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zh-CN" altLang="en-US" sz="3200" dirty="0">
                <a:solidFill>
                  <a:schemeClr val="bg1"/>
                </a:solidFill>
              </a:rPr>
              <a:t>远程登录</a:t>
            </a:r>
            <a:endParaRPr lang="en-US" sz="3200" dirty="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br>
              <a:rPr lang="en-US" altLang="zh-CN" sz="2000" dirty="0"/>
            </a:br>
            <a:r>
              <a:rPr lang="zh-CN" altLang="en-US" sz="2000" dirty="0"/>
              <a:t>打开</a:t>
            </a:r>
            <a:r>
              <a:rPr lang="en-US" altLang="zh-CN" sz="2000" dirty="0"/>
              <a:t>SD</a:t>
            </a:r>
            <a:r>
              <a:rPr lang="zh-CN" altLang="en-US" sz="2000" dirty="0"/>
              <a:t>主页，用自己的用户名密码登录后，下方</a:t>
            </a:r>
            <a:r>
              <a:rPr lang="en-US" altLang="zh-CN" sz="2000" dirty="0"/>
              <a:t>Activate remote access</a:t>
            </a:r>
            <a:r>
              <a:rPr lang="zh-CN" altLang="en-US" sz="2000" dirty="0"/>
              <a:t>按钮</a:t>
            </a:r>
            <a:endParaRPr lang="en-US" sz="2000" dirty="0"/>
          </a:p>
        </p:txBody>
      </p:sp>
      <p:pic>
        <p:nvPicPr>
          <p:cNvPr id="3" name="Picture 2"/>
          <p:cNvPicPr>
            <a:picLocks noChangeAspect="1"/>
          </p:cNvPicPr>
          <p:nvPr/>
        </p:nvPicPr>
        <p:blipFill>
          <a:blip r:embed="rId1"/>
          <a:stretch>
            <a:fillRect/>
          </a:stretch>
        </p:blipFill>
        <p:spPr>
          <a:xfrm>
            <a:off x="4359" y="1804893"/>
            <a:ext cx="9144000" cy="4337711"/>
          </a:xfrm>
          <a:prstGeom prst="rect">
            <a:avLst/>
          </a:prstGeom>
        </p:spPr>
      </p:pic>
      <p:sp>
        <p:nvSpPr>
          <p:cNvPr id="4" name="Frame 3"/>
          <p:cNvSpPr/>
          <p:nvPr/>
        </p:nvSpPr>
        <p:spPr>
          <a:xfrm>
            <a:off x="2081718" y="5350212"/>
            <a:ext cx="836579" cy="428017"/>
          </a:xfrm>
          <a:prstGeom prst="frame">
            <a:avLst/>
          </a:prstGeom>
          <a:solidFill>
            <a:srgbClr val="C00000"/>
          </a:solidFill>
          <a:ln>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53565A"/>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2000" dirty="0">
                <a:solidFill>
                  <a:srgbClr val="007398"/>
                </a:solidFill>
                <a:latin typeface="微软雅黑" panose="020B0503020204020204" charset="-122"/>
                <a:ea typeface="微软雅黑" panose="020B0503020204020204" charset="-122"/>
              </a:rPr>
              <a:t>进入到</a:t>
            </a:r>
            <a:r>
              <a:rPr lang="en-US" altLang="zh-CN" sz="2000" dirty="0">
                <a:solidFill>
                  <a:srgbClr val="007398"/>
                </a:solidFill>
                <a:latin typeface="微软雅黑" panose="020B0503020204020204" charset="-122"/>
                <a:ea typeface="微软雅黑" panose="020B0503020204020204" charset="-122"/>
              </a:rPr>
              <a:t>Submit Your Email</a:t>
            </a:r>
            <a:r>
              <a:rPr lang="zh-CN" altLang="en-US" sz="2000" dirty="0">
                <a:solidFill>
                  <a:srgbClr val="007398"/>
                </a:solidFill>
                <a:latin typeface="微软雅黑" panose="020B0503020204020204" charset="-122"/>
                <a:ea typeface="微软雅黑" panose="020B0503020204020204" charset="-122"/>
              </a:rPr>
              <a:t>界面输入所属单位邮箱并点</a:t>
            </a:r>
            <a:r>
              <a:rPr lang="en-US" altLang="zh-CN" sz="2000" dirty="0">
                <a:solidFill>
                  <a:srgbClr val="007398"/>
                </a:solidFill>
                <a:latin typeface="微软雅黑" panose="020B0503020204020204" charset="-122"/>
                <a:ea typeface="微软雅黑" panose="020B0503020204020204" charset="-122"/>
              </a:rPr>
              <a:t>Continue</a:t>
            </a:r>
            <a:endParaRPr lang="en-US" sz="2000" dirty="0">
              <a:solidFill>
                <a:srgbClr val="007398"/>
              </a:solidFill>
              <a:latin typeface="微软雅黑" panose="020B0503020204020204" charset="-122"/>
              <a:ea typeface="微软雅黑" panose="020B0503020204020204" charset="-122"/>
            </a:endParaRPr>
          </a:p>
        </p:txBody>
      </p:sp>
      <p:pic>
        <p:nvPicPr>
          <p:cNvPr id="3074" name="Picture 2"/>
          <p:cNvPicPr>
            <a:picLocks noChangeAspect="1" noChangeArrowheads="1"/>
          </p:cNvPicPr>
          <p:nvPr/>
        </p:nvPicPr>
        <p:blipFill rotWithShape="1">
          <a:blip r:embed="rId1">
            <a:extLst>
              <a:ext uri="{28A0092B-C50C-407E-A947-70E740481C1C}">
                <a14:useLocalDpi xmlns:a14="http://schemas.microsoft.com/office/drawing/2010/main" val="0"/>
              </a:ext>
            </a:extLst>
          </a:blip>
          <a:srcRect t="8289"/>
          <a:stretch>
            <a:fillRect/>
          </a:stretch>
        </p:blipFill>
        <p:spPr bwMode="auto">
          <a:xfrm>
            <a:off x="350745" y="1716258"/>
            <a:ext cx="8111938" cy="5029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txBox="1">
            <a:spLocks noChangeArrowheads="1"/>
          </p:cNvSpPr>
          <p:nvPr>
            <p:custDataLst>
              <p:tags r:id="rId2"/>
            </p:custDataLst>
          </p:nvPr>
        </p:nvSpPr>
        <p:spPr bwMode="auto">
          <a:xfrm>
            <a:off x="806822" y="4060156"/>
            <a:ext cx="3424519" cy="341404"/>
          </a:xfrm>
          <a:prstGeom prst="rect">
            <a:avLst/>
          </a:prstGeom>
          <a:noFill/>
          <a:ln w="25400">
            <a:solidFill>
              <a:schemeClr val="accent2"/>
            </a:solidFill>
            <a:miter lim="800000"/>
          </a:ln>
          <a:effectLst/>
        </p:spPr>
        <p:txBody>
          <a:bodyPr vert="horz" wrap="square" lIns="90011" tIns="108014" rIns="90011" bIns="46806" numCol="1" anchor="t" anchorCtr="0" compatLnSpc="1"/>
          <a:lstStyle>
            <a:lvl1pPr algn="l" rtl="0" eaLnBrk="1" fontAlgn="base" hangingPunct="1">
              <a:spcBef>
                <a:spcPct val="30000"/>
              </a:spcBef>
              <a:spcAft>
                <a:spcPct val="20000"/>
              </a:spcAft>
              <a:buClr>
                <a:schemeClr val="accent2"/>
              </a:buClr>
              <a:buFont typeface="Wingdings" panose="05000000000000000000"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9pPr>
          </a:lstStyle>
          <a:p>
            <a:pPr>
              <a:buClr>
                <a:srgbClr val="007398"/>
              </a:buClr>
            </a:pPr>
            <a:endParaRPr lang="de-DE" b="0" dirty="0">
              <a:solidFill>
                <a:srgbClr val="53565A"/>
              </a:solidFill>
            </a:endParaRPr>
          </a:p>
        </p:txBody>
      </p:sp>
      <p:pic>
        <p:nvPicPr>
          <p:cNvPr id="5" name="Picture 4"/>
          <p:cNvPicPr>
            <a:picLocks noChangeAspect="1"/>
          </p:cNvPicPr>
          <p:nvPr/>
        </p:nvPicPr>
        <p:blipFill>
          <a:blip r:embed="rId3"/>
          <a:stretch>
            <a:fillRect/>
          </a:stretch>
        </p:blipFill>
        <p:spPr>
          <a:xfrm>
            <a:off x="457200" y="1130785"/>
            <a:ext cx="5772150" cy="733425"/>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2000" dirty="0">
                <a:solidFill>
                  <a:srgbClr val="007398"/>
                </a:solidFill>
                <a:latin typeface="微软雅黑" panose="020B0503020204020204" charset="-122"/>
                <a:ea typeface="微软雅黑" panose="020B0503020204020204" charset="-122"/>
              </a:rPr>
              <a:t>成功发送</a:t>
            </a:r>
            <a:r>
              <a:rPr lang="en-US" altLang="zh-CN" sz="2000" dirty="0">
                <a:solidFill>
                  <a:srgbClr val="007398"/>
                </a:solidFill>
                <a:latin typeface="微软雅黑" panose="020B0503020204020204" charset="-122"/>
                <a:ea typeface="微软雅黑" panose="020B0503020204020204" charset="-122"/>
              </a:rPr>
              <a:t>confirmation email</a:t>
            </a:r>
            <a:r>
              <a:rPr lang="zh-CN" altLang="en-US" sz="2000" dirty="0">
                <a:solidFill>
                  <a:srgbClr val="007398"/>
                </a:solidFill>
                <a:latin typeface="微软雅黑" panose="020B0503020204020204" charset="-122"/>
                <a:ea typeface="微软雅黑" panose="020B0503020204020204" charset="-122"/>
              </a:rPr>
              <a:t>到输入的邮箱</a:t>
            </a:r>
            <a:endParaRPr lang="en-US" sz="2000" dirty="0">
              <a:solidFill>
                <a:srgbClr val="007398"/>
              </a:solidFill>
              <a:latin typeface="微软雅黑" panose="020B0503020204020204" charset="-122"/>
              <a:ea typeface="微软雅黑" panose="020B0503020204020204" charset="-122"/>
            </a:endParaRPr>
          </a:p>
        </p:txBody>
      </p:sp>
      <p:pic>
        <p:nvPicPr>
          <p:cNvPr id="5122" name="Picture 2"/>
          <p:cNvPicPr>
            <a:picLocks noChangeAspect="1" noChangeArrowheads="1"/>
          </p:cNvPicPr>
          <p:nvPr/>
        </p:nvPicPr>
        <p:blipFill rotWithShape="1">
          <a:blip r:embed="rId1">
            <a:extLst>
              <a:ext uri="{28A0092B-C50C-407E-A947-70E740481C1C}">
                <a14:useLocalDpi xmlns:a14="http://schemas.microsoft.com/office/drawing/2010/main" val="0"/>
              </a:ext>
            </a:extLst>
          </a:blip>
          <a:srcRect t="16744"/>
          <a:stretch>
            <a:fillRect/>
          </a:stretch>
        </p:blipFill>
        <p:spPr bwMode="auto">
          <a:xfrm>
            <a:off x="885825" y="2025748"/>
            <a:ext cx="7372350" cy="35130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p:cNvPicPr>
            <a:picLocks noChangeAspect="1"/>
          </p:cNvPicPr>
          <p:nvPr/>
        </p:nvPicPr>
        <p:blipFill>
          <a:blip r:embed="rId2"/>
          <a:stretch>
            <a:fillRect/>
          </a:stretch>
        </p:blipFill>
        <p:spPr>
          <a:xfrm>
            <a:off x="885825" y="1292323"/>
            <a:ext cx="5772150" cy="733425"/>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sz="2000" dirty="0"/>
              <a:t>到邮箱里点击</a:t>
            </a:r>
            <a:r>
              <a:rPr lang="en-US" altLang="zh-CN" sz="2000" dirty="0"/>
              <a:t>Activate my remote access now</a:t>
            </a:r>
            <a:r>
              <a:rPr lang="zh-CN" altLang="en-US" sz="2000" dirty="0"/>
              <a:t>激活</a:t>
            </a:r>
            <a:r>
              <a:rPr lang="en-US" altLang="zh-CN" sz="2000" dirty="0"/>
              <a:t>Remote Access</a:t>
            </a:r>
            <a:endParaRPr lang="en-US" sz="2000" dirty="0"/>
          </a:p>
        </p:txBody>
      </p:sp>
      <p:pic>
        <p:nvPicPr>
          <p:cNvPr id="6146"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666750" y="1338263"/>
            <a:ext cx="7810500" cy="4181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txBox="1">
            <a:spLocks noChangeArrowheads="1"/>
          </p:cNvSpPr>
          <p:nvPr>
            <p:custDataLst>
              <p:tags r:id="rId2"/>
            </p:custDataLst>
          </p:nvPr>
        </p:nvSpPr>
        <p:spPr bwMode="auto">
          <a:xfrm>
            <a:off x="797857" y="3356537"/>
            <a:ext cx="2411508" cy="341404"/>
          </a:xfrm>
          <a:prstGeom prst="rect">
            <a:avLst/>
          </a:prstGeom>
          <a:noFill/>
          <a:ln w="25400">
            <a:solidFill>
              <a:schemeClr val="accent2"/>
            </a:solidFill>
            <a:miter lim="800000"/>
          </a:ln>
          <a:effectLst/>
        </p:spPr>
        <p:txBody>
          <a:bodyPr vert="horz" wrap="square" lIns="90011" tIns="108014" rIns="90011" bIns="46806" numCol="1" anchor="t" anchorCtr="0" compatLnSpc="1"/>
          <a:lstStyle>
            <a:lvl1pPr algn="l" rtl="0" eaLnBrk="1" fontAlgn="base" hangingPunct="1">
              <a:spcBef>
                <a:spcPct val="30000"/>
              </a:spcBef>
              <a:spcAft>
                <a:spcPct val="20000"/>
              </a:spcAft>
              <a:buClr>
                <a:schemeClr val="accent2"/>
              </a:buClr>
              <a:buFont typeface="Wingdings" panose="05000000000000000000"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anose="05000000000000000000" pitchFamily="2" charset="2"/>
              <a:buChar char="§"/>
              <a:tabLst>
                <a:tab pos="266700" algn="l"/>
                <a:tab pos="631825" algn="l"/>
                <a:tab pos="981075" algn="l"/>
              </a:tabLst>
              <a:defRPr sz="1600">
                <a:solidFill>
                  <a:schemeClr val="tx1"/>
                </a:solidFill>
                <a:latin typeface="+mn-lt"/>
              </a:defRPr>
            </a:lvl9pPr>
          </a:lstStyle>
          <a:p>
            <a:pPr>
              <a:buClr>
                <a:srgbClr val="007398"/>
              </a:buClr>
            </a:pPr>
            <a:endParaRPr lang="de-DE" b="0" dirty="0">
              <a:solidFill>
                <a:srgbClr val="53565A"/>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Remote Access</a:t>
            </a:r>
            <a:r>
              <a:rPr lang="zh-CN" altLang="en-US" dirty="0"/>
              <a:t>成功设置</a:t>
            </a:r>
            <a:endParaRPr lang="en-US" dirty="0"/>
          </a:p>
        </p:txBody>
      </p:sp>
      <p:pic>
        <p:nvPicPr>
          <p:cNvPr id="1026"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857250" y="1852613"/>
            <a:ext cx="7429500" cy="3152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Picture 2"/>
          <p:cNvPicPr>
            <a:picLocks noChangeAspect="1"/>
          </p:cNvPicPr>
          <p:nvPr/>
        </p:nvPicPr>
        <p:blipFill>
          <a:blip r:embed="rId2"/>
          <a:stretch>
            <a:fillRect/>
          </a:stretch>
        </p:blipFill>
        <p:spPr>
          <a:xfrm>
            <a:off x="857250" y="1233487"/>
            <a:ext cx="5772150" cy="733425"/>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p:cNvSpPr txBox="1"/>
          <p:nvPr/>
        </p:nvSpPr>
        <p:spPr>
          <a:xfrm>
            <a:off x="257174" y="27813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endParaRPr lang="en-US" sz="3200" dirty="0">
              <a:solidFill>
                <a:schemeClr val="bg1"/>
              </a:solidFill>
            </a:endParaRPr>
          </a:p>
        </p:txBody>
      </p:sp>
      <p:sp>
        <p:nvSpPr>
          <p:cNvPr id="3" name="Title 4"/>
          <p:cNvSpPr txBox="1"/>
          <p:nvPr/>
        </p:nvSpPr>
        <p:spPr>
          <a:xfrm>
            <a:off x="409574" y="29337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en-US" altLang="zh-CN" sz="3200" dirty="0">
                <a:solidFill>
                  <a:schemeClr val="bg1"/>
                </a:solidFill>
              </a:rPr>
              <a:t>ScienceDirect</a:t>
            </a:r>
            <a:r>
              <a:rPr lang="zh-CN" altLang="en-US" sz="3200" dirty="0">
                <a:solidFill>
                  <a:schemeClr val="bg1"/>
                </a:solidFill>
              </a:rPr>
              <a:t>主题页</a:t>
            </a:r>
            <a:endParaRPr lang="en-US" sz="3200" dirty="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p:nvPr/>
        </p:nvSpPr>
        <p:spPr>
          <a:xfrm>
            <a:off x="457200" y="323444"/>
            <a:ext cx="8974455" cy="570230"/>
          </a:xfrm>
          <a:prstGeom prst="rect">
            <a:avLst/>
          </a:prstGeom>
        </p:spPr>
        <p:txBody>
          <a:bodyPr/>
          <a:lstStyle>
            <a:lvl1pPr algn="l" defTabSz="457200" rtl="0" eaLnBrk="1" latinLnBrk="0" hangingPunct="1">
              <a:spcBef>
                <a:spcPct val="0"/>
              </a:spcBef>
              <a:buNone/>
              <a:defRPr sz="2000" kern="1200">
                <a:solidFill>
                  <a:schemeClr val="tx2"/>
                </a:solidFill>
                <a:latin typeface="+mj-lt"/>
                <a:ea typeface="+mj-ea"/>
                <a:cs typeface="+mj-cs"/>
              </a:defRPr>
            </a:lvl1pPr>
          </a:lstStyle>
          <a:p>
            <a:r>
              <a:rPr lang="zh-CN" altLang="en-US" sz="2200" b="1" dirty="0">
                <a:solidFill>
                  <a:schemeClr val="accent1"/>
                </a:solidFill>
              </a:rPr>
              <a:t>理解用户行为与需求</a:t>
            </a:r>
            <a:r>
              <a:rPr lang="en-US" sz="2700" b="1" dirty="0">
                <a:solidFill>
                  <a:schemeClr val="accent1"/>
                </a:solidFill>
              </a:rPr>
              <a:t>   </a:t>
            </a:r>
            <a:endParaRPr lang="en-US" sz="2700" b="1" dirty="0">
              <a:solidFill>
                <a:schemeClr val="accent1"/>
              </a:solidFill>
            </a:endParaRPr>
          </a:p>
        </p:txBody>
      </p:sp>
      <p:sp>
        <p:nvSpPr>
          <p:cNvPr id="3" name="Text Placeholder 2"/>
          <p:cNvSpPr>
            <a:spLocks noGrp="1"/>
          </p:cNvSpPr>
          <p:nvPr>
            <p:ph type="body" idx="11"/>
          </p:nvPr>
        </p:nvSpPr>
        <p:spPr>
          <a:xfrm>
            <a:off x="457200" y="1987304"/>
            <a:ext cx="4024538" cy="1895475"/>
          </a:xfrm>
          <a:prstGeom prst="rect">
            <a:avLst/>
          </a:prstGeom>
        </p:spPr>
        <p:txBody>
          <a:bodyPr>
            <a:noAutofit/>
          </a:bodyPr>
          <a:lstStyle/>
          <a:p>
            <a:pPr>
              <a:lnSpc>
                <a:spcPct val="150000"/>
              </a:lnSpc>
            </a:pPr>
            <a:r>
              <a:rPr lang="zh-CN" altLang="en-US" sz="1800" b="1" dirty="0"/>
              <a:t>基于用户行为</a:t>
            </a:r>
            <a:r>
              <a:rPr lang="en-US" altLang="zh-CN" sz="1800" b="1" dirty="0"/>
              <a:t>*</a:t>
            </a:r>
            <a:r>
              <a:rPr lang="zh-CN" altLang="en-US" sz="1800" b="1" dirty="0"/>
              <a:t>，我们发现研究人员的工作流程变了：</a:t>
            </a:r>
            <a:endParaRPr lang="en-US" altLang="zh-CN" sz="1800" b="1" dirty="0"/>
          </a:p>
          <a:p>
            <a:pPr>
              <a:lnSpc>
                <a:spcPct val="150000"/>
              </a:lnSpc>
            </a:pPr>
            <a:endParaRPr lang="zh-CN" altLang="en-US" sz="1800" b="1" dirty="0"/>
          </a:p>
          <a:p>
            <a:pPr marL="285750" indent="-285750">
              <a:lnSpc>
                <a:spcPct val="220000"/>
              </a:lnSpc>
              <a:buFont typeface="Arial" panose="020B0604020202020204"/>
              <a:buChar char="•"/>
            </a:pPr>
            <a:r>
              <a:rPr lang="zh-CN" altLang="en-US" sz="1600" b="0" dirty="0">
                <a:solidFill>
                  <a:schemeClr val="tx1"/>
                </a:solidFill>
              </a:rPr>
              <a:t>变得比以往更加复杂</a:t>
            </a:r>
            <a:endParaRPr lang="zh-CN" altLang="en-US" sz="1600" b="0" dirty="0">
              <a:solidFill>
                <a:schemeClr val="tx1"/>
              </a:solidFill>
            </a:endParaRPr>
          </a:p>
          <a:p>
            <a:pPr marL="285750" indent="-285750">
              <a:lnSpc>
                <a:spcPct val="220000"/>
              </a:lnSpc>
              <a:buFont typeface="Arial" panose="020B0604020202020204"/>
              <a:buChar char="•"/>
            </a:pPr>
            <a:r>
              <a:rPr lang="zh-CN" altLang="en-US" sz="1600" b="0" dirty="0">
                <a:solidFill>
                  <a:schemeClr val="tx1"/>
                </a:solidFill>
              </a:rPr>
              <a:t>跨学科</a:t>
            </a:r>
            <a:endParaRPr lang="en-US" sz="1600" b="0" dirty="0">
              <a:solidFill>
                <a:schemeClr val="tx1"/>
              </a:solidFill>
            </a:endParaRPr>
          </a:p>
          <a:p>
            <a:pPr marL="285750" indent="-285750">
              <a:lnSpc>
                <a:spcPct val="220000"/>
              </a:lnSpc>
              <a:buFont typeface="Arial" panose="020B0604020202020204"/>
              <a:buChar char="•"/>
            </a:pPr>
            <a:r>
              <a:rPr lang="zh-CN" altLang="en-US" sz="1600" b="0" dirty="0">
                <a:solidFill>
                  <a:schemeClr val="tx1"/>
                </a:solidFill>
              </a:rPr>
              <a:t>一次登录就广泛使用不同类型的内容</a:t>
            </a:r>
            <a:endParaRPr lang="zh-CN" altLang="en-US" sz="1600" b="0" dirty="0">
              <a:solidFill>
                <a:schemeClr val="tx1"/>
              </a:solidFill>
            </a:endParaRPr>
          </a:p>
          <a:p>
            <a:pPr>
              <a:lnSpc>
                <a:spcPct val="220000"/>
              </a:lnSpc>
            </a:pPr>
            <a:endParaRPr lang="en-US" sz="1500" dirty="0"/>
          </a:p>
        </p:txBody>
      </p:sp>
      <p:pic>
        <p:nvPicPr>
          <p:cNvPr id="5" name="Picture 4"/>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5395064" y="1753228"/>
            <a:ext cx="2642449" cy="4259102"/>
          </a:xfrm>
          <a:prstGeom prst="rect">
            <a:avLst/>
          </a:prstGeom>
        </p:spPr>
      </p:pic>
      <p:sp>
        <p:nvSpPr>
          <p:cNvPr id="6" name="TextBox 5"/>
          <p:cNvSpPr txBox="1"/>
          <p:nvPr/>
        </p:nvSpPr>
        <p:spPr>
          <a:xfrm>
            <a:off x="8974" y="6632231"/>
            <a:ext cx="4376874" cy="215444"/>
          </a:xfrm>
          <a:prstGeom prst="rect">
            <a:avLst/>
          </a:prstGeom>
          <a:noFill/>
        </p:spPr>
        <p:txBody>
          <a:bodyPr wrap="square" rtlCol="0">
            <a:spAutoFit/>
          </a:bodyPr>
          <a:lstStyle/>
          <a:p>
            <a:r>
              <a:rPr lang="en-US" sz="800" dirty="0">
                <a:solidFill>
                  <a:schemeClr val="accent2"/>
                </a:solidFill>
              </a:rPr>
              <a:t>*Based on research carried out by White Rhino in August of 2015</a:t>
            </a:r>
            <a:endParaRPr lang="en-US" sz="800" dirty="0">
              <a:solidFill>
                <a:schemeClr val="accent2"/>
              </a:solidFill>
            </a:endParaRPr>
          </a:p>
        </p:txBody>
      </p:sp>
      <p:sp>
        <p:nvSpPr>
          <p:cNvPr id="8" name="Title 2"/>
          <p:cNvSpPr txBox="1"/>
          <p:nvPr/>
        </p:nvSpPr>
        <p:spPr>
          <a:xfrm>
            <a:off x="553156" y="1063101"/>
            <a:ext cx="8974666" cy="41864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en-GB" sz="1600" dirty="0"/>
              <a:t>We look at how users use content today and will want to use it in the future</a:t>
            </a:r>
            <a:endParaRPr lang="en-GB" sz="1600" dirty="0"/>
          </a:p>
          <a:p>
            <a:r>
              <a:rPr lang="zh-CN" altLang="en-GB" sz="1600" dirty="0"/>
              <a:t>我们不仅关注用户现在怎样使用内容，也关注他们将来会怎样使用</a:t>
            </a:r>
            <a:r>
              <a:rPr lang="en-GB" sz="1600" dirty="0"/>
              <a:t> </a:t>
            </a:r>
            <a:endParaRPr lang="en-GB" sz="1600" dirty="0"/>
          </a:p>
        </p:txBody>
      </p:sp>
      <p:cxnSp>
        <p:nvCxnSpPr>
          <p:cNvPr id="9" name="Straight Connector 8"/>
          <p:cNvCxnSpPr/>
          <p:nvPr/>
        </p:nvCxnSpPr>
        <p:spPr>
          <a:xfrm>
            <a:off x="553156" y="884188"/>
            <a:ext cx="7609038" cy="0"/>
          </a:xfrm>
          <a:prstGeom prst="line">
            <a:avLst/>
          </a:prstGeom>
          <a:ln w="25400" cmpd="sng">
            <a:solidFill>
              <a:schemeClr val="tx2"/>
            </a:solidFill>
          </a:ln>
        </p:spPr>
        <p:style>
          <a:lnRef idx="2">
            <a:schemeClr val="accent1"/>
          </a:lnRef>
          <a:fillRef idx="0">
            <a:schemeClr val="accent1"/>
          </a:fillRef>
          <a:effectRef idx="1">
            <a:schemeClr val="accent1"/>
          </a:effectRef>
          <a:fontRef idx="minor">
            <a:schemeClr val="tx1"/>
          </a:fontRef>
        </p:style>
      </p:cxn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4"/>
          <p:cNvGraphicFramePr/>
          <p:nvPr/>
        </p:nvGraphicFramePr>
        <p:xfrm>
          <a:off x="4886699" y="1714908"/>
          <a:ext cx="3501765" cy="4557983"/>
        </p:xfrm>
        <a:graphic>
          <a:graphicData uri="http://schemas.openxmlformats.org/drawingml/2006/chart">
            <c:chart xmlns:c="http://schemas.openxmlformats.org/drawingml/2006/chart" xmlns:r="http://schemas.openxmlformats.org/officeDocument/2006/relationships" r:id="rId1"/>
          </a:graphicData>
        </a:graphic>
      </p:graphicFrame>
      <p:sp>
        <p:nvSpPr>
          <p:cNvPr id="3" name="Text Placeholder 2"/>
          <p:cNvSpPr>
            <a:spLocks noGrp="1"/>
          </p:cNvSpPr>
          <p:nvPr>
            <p:ph type="body" idx="11"/>
          </p:nvPr>
        </p:nvSpPr>
        <p:spPr>
          <a:xfrm>
            <a:off x="191911" y="1962391"/>
            <a:ext cx="4283836" cy="1895475"/>
          </a:xfrm>
          <a:prstGeom prst="rect">
            <a:avLst/>
          </a:prstGeom>
        </p:spPr>
        <p:txBody>
          <a:bodyPr>
            <a:noAutofit/>
          </a:bodyPr>
          <a:lstStyle/>
          <a:p>
            <a:pPr>
              <a:lnSpc>
                <a:spcPct val="150000"/>
              </a:lnSpc>
            </a:pPr>
            <a:r>
              <a:rPr lang="zh-CN" altLang="en-US" sz="1800" b="0" dirty="0"/>
              <a:t>为了创新，科研人员必须建立跨学科的联系</a:t>
            </a:r>
            <a:endParaRPr lang="zh-CN" altLang="en-US" sz="1800" b="0" dirty="0"/>
          </a:p>
          <a:p>
            <a:pPr marL="342900" indent="-342900">
              <a:lnSpc>
                <a:spcPct val="150000"/>
              </a:lnSpc>
              <a:buFont typeface="Arial" panose="020B0604020202020204"/>
              <a:buChar char="•"/>
            </a:pPr>
            <a:r>
              <a:rPr lang="zh-CN" altLang="en-US" sz="1800" b="0" dirty="0">
                <a:solidFill>
                  <a:schemeClr val="tx1"/>
                </a:solidFill>
              </a:rPr>
              <a:t>全球有</a:t>
            </a:r>
            <a:r>
              <a:rPr lang="en-US" altLang="zh-CN" sz="1800" b="0" dirty="0">
                <a:solidFill>
                  <a:schemeClr val="tx1"/>
                </a:solidFill>
              </a:rPr>
              <a:t>44%</a:t>
            </a:r>
            <a:r>
              <a:rPr lang="zh-CN" altLang="en-US" sz="1800" b="0" dirty="0">
                <a:solidFill>
                  <a:schemeClr val="tx1"/>
                </a:solidFill>
              </a:rPr>
              <a:t>的科研人员每周至少有一次是在 ：</a:t>
            </a:r>
            <a:endParaRPr lang="zh-CN" altLang="en-US" sz="1800" b="0" dirty="0">
              <a:solidFill>
                <a:schemeClr val="tx1"/>
              </a:solidFill>
            </a:endParaRPr>
          </a:p>
          <a:p>
            <a:pPr>
              <a:lnSpc>
                <a:spcPct val="150000"/>
              </a:lnSpc>
              <a:buFont typeface="Arial" panose="020B0604020202020204"/>
            </a:pPr>
            <a:r>
              <a:rPr lang="zh-CN" altLang="en-US" sz="1800" b="0" dirty="0">
                <a:solidFill>
                  <a:schemeClr val="tx1"/>
                </a:solidFill>
              </a:rPr>
              <a:t>搜寻非直接研究领域的内容</a:t>
            </a:r>
            <a:endParaRPr lang="zh-CN" altLang="en-US" sz="1800" b="0" dirty="0">
              <a:solidFill>
                <a:schemeClr val="tx1"/>
              </a:solidFill>
            </a:endParaRPr>
          </a:p>
          <a:p>
            <a:pPr marL="342900" indent="-342900">
              <a:lnSpc>
                <a:spcPct val="150000"/>
              </a:lnSpc>
              <a:buFont typeface="Arial" panose="020B0604020202020204"/>
              <a:buChar char="•"/>
            </a:pPr>
            <a:r>
              <a:rPr lang="zh-CN" altLang="en-US" sz="1800" b="0" dirty="0">
                <a:solidFill>
                  <a:schemeClr val="tx1"/>
                </a:solidFill>
              </a:rPr>
              <a:t>科研人员通过查看期刊文章、参考资料、文献选集、图书以及在线资源，快速进入不熟悉领域进行研究</a:t>
            </a:r>
            <a:endParaRPr lang="zh-CN" altLang="en-US" sz="1800" b="0" dirty="0">
              <a:solidFill>
                <a:schemeClr val="tx1"/>
              </a:solidFill>
            </a:endParaRPr>
          </a:p>
        </p:txBody>
      </p:sp>
      <p:sp>
        <p:nvSpPr>
          <p:cNvPr id="4" name="Text Placeholder 3"/>
          <p:cNvSpPr>
            <a:spLocks noGrp="1"/>
          </p:cNvSpPr>
          <p:nvPr>
            <p:ph type="body" idx="4294967295"/>
          </p:nvPr>
        </p:nvSpPr>
        <p:spPr>
          <a:xfrm>
            <a:off x="5259467" y="4153345"/>
            <a:ext cx="2744787" cy="609600"/>
          </a:xfrm>
          <a:prstGeom prst="rect">
            <a:avLst/>
          </a:prstGeom>
        </p:spPr>
        <p:txBody>
          <a:bodyPr>
            <a:normAutofit fontScale="92500" lnSpcReduction="10000"/>
          </a:bodyPr>
          <a:lstStyle/>
          <a:p>
            <a:r>
              <a:rPr lang="en-US" sz="1200" b="0" dirty="0">
                <a:solidFill>
                  <a:schemeClr val="tx2"/>
                </a:solidFill>
              </a:rPr>
              <a:t>Frequency of searching for content outside field of immediate study*</a:t>
            </a:r>
            <a:endParaRPr lang="en-US" sz="1200" b="0" dirty="0">
              <a:solidFill>
                <a:schemeClr val="tx2"/>
              </a:solidFill>
            </a:endParaRPr>
          </a:p>
          <a:p>
            <a:r>
              <a:rPr lang="zh-CN" altLang="en-US" sz="1200" b="0" dirty="0">
                <a:solidFill>
                  <a:schemeClr val="tx2"/>
                </a:solidFill>
              </a:rPr>
              <a:t>检索非直接研究领域文献的频率</a:t>
            </a:r>
            <a:r>
              <a:rPr lang="en-US" altLang="zh-CN" sz="1200" b="0" dirty="0">
                <a:solidFill>
                  <a:schemeClr val="tx2"/>
                </a:solidFill>
              </a:rPr>
              <a:t>*</a:t>
            </a:r>
            <a:endParaRPr lang="en-US" altLang="zh-CN" sz="1200" b="0" dirty="0">
              <a:solidFill>
                <a:schemeClr val="tx2"/>
              </a:solidFill>
            </a:endParaRPr>
          </a:p>
        </p:txBody>
      </p:sp>
      <p:sp>
        <p:nvSpPr>
          <p:cNvPr id="7" name="TextBox 6"/>
          <p:cNvSpPr txBox="1"/>
          <p:nvPr/>
        </p:nvSpPr>
        <p:spPr>
          <a:xfrm>
            <a:off x="8974" y="6643520"/>
            <a:ext cx="4376874" cy="215444"/>
          </a:xfrm>
          <a:prstGeom prst="rect">
            <a:avLst/>
          </a:prstGeom>
          <a:noFill/>
        </p:spPr>
        <p:txBody>
          <a:bodyPr wrap="square" rtlCol="0">
            <a:spAutoFit/>
          </a:bodyPr>
          <a:lstStyle/>
          <a:p>
            <a:r>
              <a:rPr lang="en-US" sz="800" dirty="0">
                <a:solidFill>
                  <a:schemeClr val="accent2"/>
                </a:solidFill>
              </a:rPr>
              <a:t>*Research carried out by RAP for Research and Academic Relations, Feb / March 2015</a:t>
            </a:r>
            <a:endParaRPr lang="en-US" sz="800" dirty="0">
              <a:solidFill>
                <a:schemeClr val="accent2"/>
              </a:solidFill>
            </a:endParaRPr>
          </a:p>
        </p:txBody>
      </p:sp>
      <p:sp>
        <p:nvSpPr>
          <p:cNvPr id="9" name="Title 2"/>
          <p:cNvSpPr txBox="1"/>
          <p:nvPr/>
        </p:nvSpPr>
        <p:spPr>
          <a:xfrm>
            <a:off x="553156" y="1084475"/>
            <a:ext cx="8974666" cy="41864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en-GB" sz="1600" dirty="0"/>
              <a:t>Researchers have a pressing need to get up-to-speed in new fields and disciplines</a:t>
            </a:r>
            <a:endParaRPr lang="en-GB" sz="1600" dirty="0"/>
          </a:p>
          <a:p>
            <a:r>
              <a:rPr lang="zh-CN" altLang="en-GB" sz="1600" dirty="0"/>
              <a:t>科研人员对了解新学科和新领域的最新发展有迫切需求</a:t>
            </a:r>
            <a:endParaRPr lang="en-GB" sz="1600" dirty="0"/>
          </a:p>
        </p:txBody>
      </p:sp>
      <p:cxnSp>
        <p:nvCxnSpPr>
          <p:cNvPr id="10" name="Straight Connector 9"/>
          <p:cNvCxnSpPr/>
          <p:nvPr/>
        </p:nvCxnSpPr>
        <p:spPr>
          <a:xfrm>
            <a:off x="553156" y="884188"/>
            <a:ext cx="7609038" cy="0"/>
          </a:xfrm>
          <a:prstGeom prst="line">
            <a:avLst/>
          </a:prstGeom>
          <a:ln w="25400" cmpd="sng">
            <a:solidFill>
              <a:schemeClr val="tx2"/>
            </a:solidFill>
          </a:ln>
        </p:spPr>
        <p:style>
          <a:lnRef idx="2">
            <a:schemeClr val="accent1"/>
          </a:lnRef>
          <a:fillRef idx="0">
            <a:schemeClr val="accent1"/>
          </a:fillRef>
          <a:effectRef idx="1">
            <a:schemeClr val="accent1"/>
          </a:effectRef>
          <a:fontRef idx="minor">
            <a:schemeClr val="tx1"/>
          </a:fontRef>
        </p:style>
      </p:cxnSp>
      <p:sp>
        <p:nvSpPr>
          <p:cNvPr id="11" name="TextBox 1"/>
          <p:cNvSpPr txBox="1"/>
          <p:nvPr/>
        </p:nvSpPr>
        <p:spPr>
          <a:xfrm>
            <a:off x="7852698" y="4773699"/>
            <a:ext cx="827541" cy="24468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每周几次</a:t>
            </a:r>
            <a:endParaRPr lang="en-US" sz="800" dirty="0"/>
          </a:p>
        </p:txBody>
      </p:sp>
      <p:sp>
        <p:nvSpPr>
          <p:cNvPr id="12" name="TextBox 1"/>
          <p:cNvSpPr txBox="1"/>
          <p:nvPr/>
        </p:nvSpPr>
        <p:spPr>
          <a:xfrm>
            <a:off x="7860621" y="4951706"/>
            <a:ext cx="827500" cy="24468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每周一次</a:t>
            </a:r>
            <a:endParaRPr lang="en-US" sz="800" dirty="0"/>
          </a:p>
        </p:txBody>
      </p:sp>
      <p:sp>
        <p:nvSpPr>
          <p:cNvPr id="13" name="TextBox 1"/>
          <p:cNvSpPr txBox="1"/>
          <p:nvPr/>
        </p:nvSpPr>
        <p:spPr>
          <a:xfrm>
            <a:off x="7859882" y="5155469"/>
            <a:ext cx="827541" cy="24468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每月一两次</a:t>
            </a:r>
            <a:endParaRPr lang="en-US" sz="800" dirty="0"/>
          </a:p>
        </p:txBody>
      </p:sp>
      <p:sp>
        <p:nvSpPr>
          <p:cNvPr id="14" name="TextBox 1"/>
          <p:cNvSpPr txBox="1"/>
          <p:nvPr/>
        </p:nvSpPr>
        <p:spPr>
          <a:xfrm>
            <a:off x="7859184" y="5341420"/>
            <a:ext cx="827541" cy="24468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每</a:t>
            </a:r>
            <a:r>
              <a:rPr lang="en-US" altLang="zh-CN" sz="800" dirty="0"/>
              <a:t>2-3</a:t>
            </a:r>
            <a:r>
              <a:rPr lang="zh-CN" altLang="en-US" sz="800" dirty="0"/>
              <a:t>月</a:t>
            </a:r>
            <a:r>
              <a:rPr lang="en-US" altLang="zh-CN" sz="800" dirty="0"/>
              <a:t>1</a:t>
            </a:r>
            <a:r>
              <a:rPr lang="zh-CN" altLang="en-US" sz="800" dirty="0"/>
              <a:t>次</a:t>
            </a:r>
            <a:endParaRPr lang="en-US" sz="800" dirty="0"/>
          </a:p>
        </p:txBody>
      </p:sp>
      <p:sp>
        <p:nvSpPr>
          <p:cNvPr id="15" name="TextBox 1"/>
          <p:cNvSpPr txBox="1"/>
          <p:nvPr/>
        </p:nvSpPr>
        <p:spPr>
          <a:xfrm>
            <a:off x="7858445" y="5524194"/>
            <a:ext cx="827541" cy="24468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每</a:t>
            </a:r>
            <a:r>
              <a:rPr lang="en-US" altLang="zh-CN" sz="800" dirty="0"/>
              <a:t>6</a:t>
            </a:r>
            <a:r>
              <a:rPr lang="zh-CN" altLang="en-US" sz="800" dirty="0"/>
              <a:t>个月</a:t>
            </a:r>
            <a:r>
              <a:rPr lang="en-US" altLang="zh-CN" sz="800" dirty="0"/>
              <a:t>1</a:t>
            </a:r>
            <a:r>
              <a:rPr lang="zh-CN" altLang="en-US" sz="800" dirty="0"/>
              <a:t>次</a:t>
            </a:r>
            <a:endParaRPr lang="en-US" sz="800" dirty="0"/>
          </a:p>
        </p:txBody>
      </p:sp>
      <p:sp>
        <p:nvSpPr>
          <p:cNvPr id="16" name="TextBox 1"/>
          <p:cNvSpPr txBox="1"/>
          <p:nvPr/>
        </p:nvSpPr>
        <p:spPr>
          <a:xfrm>
            <a:off x="7851712" y="5737839"/>
            <a:ext cx="859316" cy="26690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几乎从不</a:t>
            </a:r>
            <a:endParaRPr lang="en-US" sz="800" dirty="0"/>
          </a:p>
        </p:txBody>
      </p:sp>
      <p:sp>
        <p:nvSpPr>
          <p:cNvPr id="17" name="TextBox 1"/>
          <p:cNvSpPr txBox="1"/>
          <p:nvPr/>
        </p:nvSpPr>
        <p:spPr>
          <a:xfrm>
            <a:off x="7838863" y="5900205"/>
            <a:ext cx="1503967" cy="2481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zh-CN" altLang="en-US" sz="800" dirty="0"/>
              <a:t>取决于当时研究的课题</a:t>
            </a:r>
            <a:endParaRPr lang="en-US" sz="800" dirty="0"/>
          </a:p>
        </p:txBody>
      </p:sp>
      <p:sp>
        <p:nvSpPr>
          <p:cNvPr id="5" name="Title 1"/>
          <p:cNvSpPr txBox="1"/>
          <p:nvPr/>
        </p:nvSpPr>
        <p:spPr>
          <a:xfrm>
            <a:off x="399471" y="329362"/>
            <a:ext cx="8974455" cy="570230"/>
          </a:xfrm>
          <a:prstGeom prst="rect">
            <a:avLst/>
          </a:prstGeom>
        </p:spPr>
        <p:txBody>
          <a:bodyPr/>
          <a:lstStyle>
            <a:lvl1pPr algn="l" defTabSz="457200" rtl="0" eaLnBrk="1" latinLnBrk="0" hangingPunct="1">
              <a:spcBef>
                <a:spcPct val="0"/>
              </a:spcBef>
              <a:buNone/>
              <a:defRPr sz="2000" kern="1200">
                <a:solidFill>
                  <a:schemeClr val="tx2"/>
                </a:solidFill>
                <a:latin typeface="+mj-lt"/>
                <a:ea typeface="+mj-ea"/>
                <a:cs typeface="+mj-cs"/>
              </a:defRPr>
            </a:lvl1pPr>
          </a:lstStyle>
          <a:p>
            <a:r>
              <a:rPr lang="zh-CN" altLang="en-US" sz="2200" b="1" dirty="0">
                <a:solidFill>
                  <a:schemeClr val="accent1"/>
                </a:solidFill>
              </a:rPr>
              <a:t>理解用户行为与需求</a:t>
            </a:r>
            <a:r>
              <a:rPr lang="en-US" sz="2700" b="1" dirty="0">
                <a:solidFill>
                  <a:schemeClr val="accent1"/>
                </a:solidFill>
              </a:rPr>
              <a:t>   </a:t>
            </a:r>
            <a:endParaRPr lang="en-US" sz="2700" b="1" dirty="0">
              <a:solidFill>
                <a:schemeClr val="accent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418976"/>
            <a:ext cx="8238319" cy="762441"/>
          </a:xfrm>
        </p:spPr>
        <p:txBody>
          <a:bodyPr vert="horz" lIns="91440" tIns="45720" rIns="91440" bIns="45720" rtlCol="0" anchor="ctr">
            <a:noAutofit/>
          </a:bodyPr>
          <a:lstStyle/>
          <a:p>
            <a:r>
              <a:rPr lang="zh-CN" altLang="en-US" b="1" dirty="0"/>
              <a:t>现代研究人员对科研工具的依赖性不断增加</a:t>
            </a:r>
            <a:endParaRPr lang="en-US" b="1" dirty="0">
              <a:solidFill>
                <a:srgbClr val="007398"/>
              </a:solidFill>
            </a:endParaRPr>
          </a:p>
        </p:txBody>
      </p:sp>
      <p:sp>
        <p:nvSpPr>
          <p:cNvPr id="12" name="Text Placeholder 1"/>
          <p:cNvSpPr>
            <a:spLocks noGrp="1"/>
          </p:cNvSpPr>
          <p:nvPr>
            <p:ph sz="half" idx="1"/>
          </p:nvPr>
        </p:nvSpPr>
        <p:spPr>
          <a:xfrm>
            <a:off x="371479" y="1016877"/>
            <a:ext cx="9032032" cy="341610"/>
          </a:xfrm>
          <a:prstGeom prst="rect">
            <a:avLst/>
          </a:prstGeom>
        </p:spPr>
        <p:txBody>
          <a:bodyPr>
            <a:normAutofit/>
          </a:bodyPr>
          <a:lstStyle/>
          <a:p>
            <a:pPr marL="86995" indent="0">
              <a:buNone/>
            </a:pPr>
            <a:r>
              <a:rPr lang="en-GB" sz="1600" dirty="0">
                <a:solidFill>
                  <a:schemeClr val="tx1"/>
                </a:solidFill>
                <a:latin typeface="+mn-lt"/>
              </a:rPr>
              <a:t>In order to feel confident in their work, researchers need a tool that…</a:t>
            </a:r>
            <a:endParaRPr lang="en-GB" sz="1600" dirty="0">
              <a:solidFill>
                <a:schemeClr val="tx1"/>
              </a:solidFill>
              <a:latin typeface="+mn-lt"/>
            </a:endParaRPr>
          </a:p>
        </p:txBody>
      </p:sp>
      <p:grpSp>
        <p:nvGrpSpPr>
          <p:cNvPr id="5" name="Group 4"/>
          <p:cNvGrpSpPr/>
          <p:nvPr/>
        </p:nvGrpSpPr>
        <p:grpSpPr>
          <a:xfrm>
            <a:off x="5148949" y="1900465"/>
            <a:ext cx="2650767" cy="1763362"/>
            <a:chOff x="5340538" y="1900465"/>
            <a:chExt cx="2650767" cy="1763362"/>
          </a:xfrm>
        </p:grpSpPr>
        <p:pic>
          <p:nvPicPr>
            <p:cNvPr id="17" name="Picture 3"/>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6244499" y="1900465"/>
              <a:ext cx="976365" cy="914341"/>
            </a:xfrm>
            <a:prstGeom prst="rect">
              <a:avLst/>
            </a:prstGeom>
            <a:noFill/>
            <a:ln>
              <a:noFill/>
            </a:ln>
            <a:effectLst/>
          </p:spPr>
        </p:pic>
        <p:sp>
          <p:nvSpPr>
            <p:cNvPr id="18" name="Rectangle 17"/>
            <p:cNvSpPr/>
            <p:nvPr/>
          </p:nvSpPr>
          <p:spPr>
            <a:xfrm>
              <a:off x="5340538" y="2702129"/>
              <a:ext cx="2650767" cy="9616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solidFill>
                    <a:schemeClr val="accent1"/>
                  </a:solidFill>
                </a:rPr>
                <a:t>对最新发展和动向了如指掌</a:t>
              </a:r>
              <a:endParaRPr lang="en-US" sz="1400" dirty="0">
                <a:solidFill>
                  <a:schemeClr val="accent1"/>
                </a:solidFill>
              </a:endParaRPr>
            </a:p>
          </p:txBody>
        </p:sp>
      </p:grpSp>
      <p:sp>
        <p:nvSpPr>
          <p:cNvPr id="23" name="TextBox 22"/>
          <p:cNvSpPr txBox="1"/>
          <p:nvPr/>
        </p:nvSpPr>
        <p:spPr>
          <a:xfrm>
            <a:off x="521665" y="6476878"/>
            <a:ext cx="4387974" cy="200055"/>
          </a:xfrm>
          <a:prstGeom prst="rect">
            <a:avLst/>
          </a:prstGeom>
          <a:noFill/>
        </p:spPr>
        <p:txBody>
          <a:bodyPr wrap="square" rtlCol="0">
            <a:spAutoFit/>
          </a:bodyPr>
          <a:lstStyle/>
          <a:p>
            <a:r>
              <a:rPr lang="en-GB" sz="700" b="0" dirty="0"/>
              <a:t>Source:  ScienceDirect positioning &amp; messaging research (June 2014)</a:t>
            </a:r>
            <a:endParaRPr lang="en-GB" sz="700" b="0" dirty="0">
              <a:solidFill>
                <a:srgbClr val="0000FF"/>
              </a:solidFill>
            </a:endParaRPr>
          </a:p>
        </p:txBody>
      </p:sp>
      <p:grpSp>
        <p:nvGrpSpPr>
          <p:cNvPr id="9" name="Group 8"/>
          <p:cNvGrpSpPr/>
          <p:nvPr/>
        </p:nvGrpSpPr>
        <p:grpSpPr>
          <a:xfrm>
            <a:off x="5601240" y="4237704"/>
            <a:ext cx="1746184" cy="1627117"/>
            <a:chOff x="5792829" y="4237704"/>
            <a:chExt cx="1746184" cy="1627117"/>
          </a:xfrm>
        </p:grpSpPr>
        <p:sp>
          <p:nvSpPr>
            <p:cNvPr id="22" name="Rectangle 21"/>
            <p:cNvSpPr/>
            <p:nvPr/>
          </p:nvSpPr>
          <p:spPr>
            <a:xfrm>
              <a:off x="5792829" y="4903123"/>
              <a:ext cx="1746184" cy="9616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solidFill>
                    <a:schemeClr val="accent1"/>
                  </a:solidFill>
                </a:rPr>
                <a:t>让过程变得快捷且方便</a:t>
              </a:r>
              <a:endParaRPr lang="en-US" sz="1400" dirty="0">
                <a:solidFill>
                  <a:schemeClr val="accent1"/>
                </a:solidFill>
              </a:endParaRPr>
            </a:p>
          </p:txBody>
        </p:sp>
        <p:pic>
          <p:nvPicPr>
            <p:cNvPr id="4" name="Picture 3"/>
            <p:cNvPicPr>
              <a:picLocks noChangeAspect="1"/>
            </p:cNvPicPr>
            <p:nvPr/>
          </p:nvPicPr>
          <p:blipFill>
            <a:blip r:embed="rId2"/>
            <a:stretch>
              <a:fillRect/>
            </a:stretch>
          </p:blipFill>
          <p:spPr>
            <a:xfrm>
              <a:off x="6289573" y="4237704"/>
              <a:ext cx="802343" cy="768200"/>
            </a:xfrm>
            <a:prstGeom prst="rect">
              <a:avLst/>
            </a:prstGeom>
          </p:spPr>
        </p:pic>
      </p:grpSp>
      <p:grpSp>
        <p:nvGrpSpPr>
          <p:cNvPr id="3" name="Group 2"/>
          <p:cNvGrpSpPr/>
          <p:nvPr/>
        </p:nvGrpSpPr>
        <p:grpSpPr>
          <a:xfrm>
            <a:off x="1405974" y="1999387"/>
            <a:ext cx="2220607" cy="1684201"/>
            <a:chOff x="1405974" y="1999387"/>
            <a:chExt cx="2220607" cy="1684201"/>
          </a:xfrm>
        </p:grpSpPr>
        <p:sp>
          <p:nvSpPr>
            <p:cNvPr id="15" name="Rectangle 14"/>
            <p:cNvSpPr/>
            <p:nvPr/>
          </p:nvSpPr>
          <p:spPr>
            <a:xfrm>
              <a:off x="1405974" y="2721890"/>
              <a:ext cx="2220607" cy="9616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solidFill>
                    <a:schemeClr val="accent1"/>
                  </a:solidFill>
                </a:rPr>
                <a:t>帮助他们发现相关信息</a:t>
              </a:r>
              <a:endParaRPr lang="en-US" sz="1400" dirty="0">
                <a:solidFill>
                  <a:schemeClr val="accent1"/>
                </a:solidFill>
              </a:endParaRPr>
            </a:p>
          </p:txBody>
        </p:sp>
        <p:pic>
          <p:nvPicPr>
            <p:cNvPr id="6" name="Picture 5"/>
            <p:cNvPicPr>
              <a:picLocks noChangeAspect="1"/>
            </p:cNvPicPr>
            <p:nvPr/>
          </p:nvPicPr>
          <p:blipFill>
            <a:blip r:embed="rId3"/>
            <a:stretch>
              <a:fillRect/>
            </a:stretch>
          </p:blipFill>
          <p:spPr>
            <a:xfrm>
              <a:off x="2118240" y="1999387"/>
              <a:ext cx="604380" cy="787699"/>
            </a:xfrm>
            <a:prstGeom prst="rect">
              <a:avLst/>
            </a:prstGeom>
          </p:spPr>
        </p:pic>
      </p:grpSp>
      <p:grpSp>
        <p:nvGrpSpPr>
          <p:cNvPr id="7" name="Group 6"/>
          <p:cNvGrpSpPr/>
          <p:nvPr/>
        </p:nvGrpSpPr>
        <p:grpSpPr>
          <a:xfrm>
            <a:off x="1851376" y="4230736"/>
            <a:ext cx="1329803" cy="1653934"/>
            <a:chOff x="1851376" y="4230736"/>
            <a:chExt cx="1329803" cy="1653934"/>
          </a:xfrm>
        </p:grpSpPr>
        <p:sp>
          <p:nvSpPr>
            <p:cNvPr id="21" name="Rectangle 20"/>
            <p:cNvSpPr/>
            <p:nvPr/>
          </p:nvSpPr>
          <p:spPr>
            <a:xfrm>
              <a:off x="1851376" y="4922972"/>
              <a:ext cx="1329803" cy="96169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zh-CN" altLang="en-US" sz="1400" dirty="0">
                  <a:solidFill>
                    <a:schemeClr val="accent1"/>
                  </a:solidFill>
                </a:rPr>
                <a:t>直击最细节</a:t>
              </a:r>
              <a:endParaRPr lang="en-US" sz="1400" dirty="0">
                <a:solidFill>
                  <a:schemeClr val="accent1"/>
                </a:solidFill>
              </a:endParaRPr>
            </a:p>
          </p:txBody>
        </p:sp>
        <p:pic>
          <p:nvPicPr>
            <p:cNvPr id="8" name="Picture 7"/>
            <p:cNvPicPr>
              <a:picLocks noChangeAspect="1"/>
            </p:cNvPicPr>
            <p:nvPr/>
          </p:nvPicPr>
          <p:blipFill>
            <a:blip r:embed="rId4"/>
            <a:stretch>
              <a:fillRect/>
            </a:stretch>
          </p:blipFill>
          <p:spPr>
            <a:xfrm>
              <a:off x="2203300" y="4230736"/>
              <a:ext cx="633511" cy="816255"/>
            </a:xfrm>
            <a:prstGeom prst="rect">
              <a:avLst/>
            </a:prstGeom>
          </p:spPr>
        </p:pic>
      </p:gr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1000"/>
                                        <p:tgtEl>
                                          <p:spTgt spid="5"/>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1000"/>
                                        <p:tgtEl>
                                          <p:spTgt spid="7"/>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59887" y="533007"/>
            <a:ext cx="7300087" cy="794904"/>
          </a:xfrm>
        </p:spPr>
        <p:txBody>
          <a:bodyPr/>
          <a:lstStyle/>
          <a:p>
            <a:r>
              <a:rPr lang="zh-CN" altLang="en-US" b="1" dirty="0"/>
              <a:t>动态增长的高质量期刊内容</a:t>
            </a:r>
            <a:endParaRPr lang="en-US" b="1" dirty="0"/>
          </a:p>
        </p:txBody>
      </p:sp>
      <p:graphicFrame>
        <p:nvGraphicFramePr>
          <p:cNvPr id="148" name="Object 76"/>
          <p:cNvGraphicFramePr/>
          <p:nvPr>
            <p:custDataLst>
              <p:tags r:id="rId2"/>
            </p:custDataLst>
          </p:nvPr>
        </p:nvGraphicFramePr>
        <p:xfrm>
          <a:off x="1410085" y="1701837"/>
          <a:ext cx="6552429" cy="4577371"/>
        </p:xfrm>
        <a:graphic>
          <a:graphicData uri="http://schemas.openxmlformats.org/drawingml/2006/chart">
            <c:chart xmlns:c="http://schemas.openxmlformats.org/drawingml/2006/chart" xmlns:r="http://schemas.openxmlformats.org/officeDocument/2006/relationships" r:id="rId1"/>
          </a:graphicData>
        </a:graphic>
      </p:graphicFrame>
      <p:cxnSp>
        <p:nvCxnSpPr>
          <p:cNvPr id="79" name="Straight Connector 78"/>
          <p:cNvCxnSpPr/>
          <p:nvPr>
            <p:custDataLst>
              <p:tags r:id="rId3"/>
            </p:custDataLst>
          </p:nvPr>
        </p:nvCxnSpPr>
        <p:spPr bwMode="auto">
          <a:xfrm flipH="1" flipV="1">
            <a:off x="2616878" y="3753618"/>
            <a:ext cx="77814" cy="523363"/>
          </a:xfrm>
          <a:prstGeom prst="line">
            <a:avLst/>
          </a:prstGeom>
          <a:ln w="6350">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81" name="Straight Connector 80"/>
          <p:cNvCxnSpPr/>
          <p:nvPr>
            <p:custDataLst>
              <p:tags r:id="rId4"/>
            </p:custDataLst>
          </p:nvPr>
        </p:nvCxnSpPr>
        <p:spPr bwMode="auto">
          <a:xfrm flipH="1">
            <a:off x="4520858" y="2827741"/>
            <a:ext cx="410805" cy="65403"/>
          </a:xfrm>
          <a:prstGeom prst="line">
            <a:avLst/>
          </a:prstGeom>
          <a:ln w="6350">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82" name="Straight Connector 81"/>
          <p:cNvCxnSpPr/>
          <p:nvPr>
            <p:custDataLst>
              <p:tags r:id="rId5"/>
            </p:custDataLst>
          </p:nvPr>
        </p:nvCxnSpPr>
        <p:spPr bwMode="auto">
          <a:xfrm flipH="1">
            <a:off x="2581836" y="3137820"/>
            <a:ext cx="88701" cy="348721"/>
          </a:xfrm>
          <a:prstGeom prst="line">
            <a:avLst/>
          </a:prstGeom>
          <a:ln w="6350">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p:custDataLst>
              <p:tags r:id="rId6"/>
            </p:custDataLst>
          </p:nvPr>
        </p:nvCxnSpPr>
        <p:spPr bwMode="auto">
          <a:xfrm flipV="1">
            <a:off x="2329259" y="3783485"/>
            <a:ext cx="109943" cy="182641"/>
          </a:xfrm>
          <a:prstGeom prst="line">
            <a:avLst/>
          </a:prstGeom>
          <a:ln w="6350">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84" name="Straight Connector 83"/>
          <p:cNvCxnSpPr/>
          <p:nvPr>
            <p:custDataLst>
              <p:tags r:id="rId7"/>
            </p:custDataLst>
          </p:nvPr>
        </p:nvCxnSpPr>
        <p:spPr bwMode="auto">
          <a:xfrm>
            <a:off x="3287960" y="3202017"/>
            <a:ext cx="136718" cy="116297"/>
          </a:xfrm>
          <a:prstGeom prst="line">
            <a:avLst/>
          </a:prstGeom>
          <a:ln w="6350">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85" name="Straight Connector 84"/>
          <p:cNvCxnSpPr/>
          <p:nvPr>
            <p:custDataLst>
              <p:tags r:id="rId8"/>
            </p:custDataLst>
          </p:nvPr>
        </p:nvCxnSpPr>
        <p:spPr bwMode="auto">
          <a:xfrm flipH="1" flipV="1">
            <a:off x="3841392" y="3726928"/>
            <a:ext cx="377248" cy="281276"/>
          </a:xfrm>
          <a:prstGeom prst="line">
            <a:avLst/>
          </a:prstGeom>
          <a:ln w="6350">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86" name="Straight Connector 85"/>
          <p:cNvCxnSpPr/>
          <p:nvPr>
            <p:custDataLst>
              <p:tags r:id="rId9"/>
            </p:custDataLst>
          </p:nvPr>
        </p:nvCxnSpPr>
        <p:spPr bwMode="auto">
          <a:xfrm flipH="1">
            <a:off x="4453403" y="2515934"/>
            <a:ext cx="330884" cy="201024"/>
          </a:xfrm>
          <a:prstGeom prst="line">
            <a:avLst/>
          </a:prstGeom>
          <a:ln w="6350">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87" name="Straight Connector 86"/>
          <p:cNvCxnSpPr/>
          <p:nvPr>
            <p:custDataLst>
              <p:tags r:id="rId10"/>
            </p:custDataLst>
          </p:nvPr>
        </p:nvCxnSpPr>
        <p:spPr bwMode="auto">
          <a:xfrm flipH="1" flipV="1">
            <a:off x="4342615" y="3116759"/>
            <a:ext cx="120902" cy="419257"/>
          </a:xfrm>
          <a:prstGeom prst="line">
            <a:avLst/>
          </a:prstGeom>
          <a:ln w="6350">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88" name="Straight Connector 87"/>
          <p:cNvCxnSpPr/>
          <p:nvPr>
            <p:custDataLst>
              <p:tags r:id="rId11"/>
            </p:custDataLst>
          </p:nvPr>
        </p:nvCxnSpPr>
        <p:spPr bwMode="auto">
          <a:xfrm flipH="1" flipV="1">
            <a:off x="4108874" y="3455088"/>
            <a:ext cx="140280" cy="294058"/>
          </a:xfrm>
          <a:prstGeom prst="line">
            <a:avLst/>
          </a:prstGeom>
          <a:ln w="6350">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89" name="Straight Connector 88"/>
          <p:cNvCxnSpPr/>
          <p:nvPr>
            <p:custDataLst>
              <p:tags r:id="rId12"/>
            </p:custDataLst>
          </p:nvPr>
        </p:nvCxnSpPr>
        <p:spPr bwMode="auto">
          <a:xfrm>
            <a:off x="2077643" y="3026107"/>
            <a:ext cx="17272" cy="266700"/>
          </a:xfrm>
          <a:prstGeom prst="line">
            <a:avLst/>
          </a:prstGeom>
          <a:ln w="6350">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p:nvPr>
            <p:custDataLst>
              <p:tags r:id="rId13"/>
            </p:custDataLst>
          </p:nvPr>
        </p:nvCxnSpPr>
        <p:spPr bwMode="auto">
          <a:xfrm>
            <a:off x="3971398" y="2709463"/>
            <a:ext cx="169049" cy="183315"/>
          </a:xfrm>
          <a:prstGeom prst="line">
            <a:avLst/>
          </a:prstGeom>
          <a:ln w="6350">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cxnSp>
        <p:nvCxnSpPr>
          <p:cNvPr id="91" name="Straight Connector 90"/>
          <p:cNvCxnSpPr/>
          <p:nvPr>
            <p:custDataLst>
              <p:tags r:id="rId14"/>
            </p:custDataLst>
          </p:nvPr>
        </p:nvCxnSpPr>
        <p:spPr bwMode="auto">
          <a:xfrm flipH="1">
            <a:off x="2169120" y="3233810"/>
            <a:ext cx="208360" cy="105937"/>
          </a:xfrm>
          <a:prstGeom prst="line">
            <a:avLst/>
          </a:prstGeom>
          <a:ln w="6350">
            <a:solidFill>
              <a:schemeClr val="tx1"/>
            </a:solidFill>
            <a:headEnd type="none"/>
            <a:tailEnd type="none"/>
          </a:ln>
          <a:effectLst/>
        </p:spPr>
        <p:style>
          <a:lnRef idx="2">
            <a:schemeClr val="accent1"/>
          </a:lnRef>
          <a:fillRef idx="0">
            <a:schemeClr val="accent1"/>
          </a:fillRef>
          <a:effectRef idx="1">
            <a:schemeClr val="accent1"/>
          </a:effectRef>
          <a:fontRef idx="minor">
            <a:schemeClr val="tx1"/>
          </a:fontRef>
        </p:style>
      </p:cxnSp>
      <p:sp>
        <p:nvSpPr>
          <p:cNvPr id="92" name="Text Placeholder 8"/>
          <p:cNvSpPr>
            <a:spLocks noGrp="1"/>
          </p:cNvSpPr>
          <p:nvPr>
            <p:custDataLst>
              <p:tags r:id="rId15"/>
            </p:custDataLst>
          </p:nvPr>
        </p:nvSpPr>
        <p:spPr bwMode="gray">
          <a:xfrm>
            <a:off x="4881801" y="2666772"/>
            <a:ext cx="879067" cy="144462"/>
          </a:xfrm>
          <a:prstGeom prst="rect">
            <a:avLst/>
          </a:prstGeom>
          <a:noFill/>
        </p:spPr>
        <p:txBody>
          <a:bodyPr vert="horz" wrap="none" lIns="14288" tIns="0" rIns="14288" bIns="0" numCol="1" spcCol="0" rtlCol="0" anchor="ctr"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FDD04503-7BA2-4203-AF9E-9ECA74AE5953}" type="datetime'''''C''o''''''''mp''u''''t''e''r ''S''''c''''ie''''nc''e'''">
              <a:rPr lang="en-US" altLang="en-US" sz="700">
                <a:latin typeface="+mn-lt"/>
                <a:cs typeface="+mn-cs"/>
                <a:sym typeface="+mn-lt"/>
              </a:rPr>
            </a:fld>
            <a:endParaRPr lang="en-US" sz="700" dirty="0">
              <a:latin typeface="+mn-lt"/>
              <a:cs typeface="+mn-cs"/>
              <a:sym typeface="+mn-lt"/>
            </a:endParaRPr>
          </a:p>
        </p:txBody>
      </p:sp>
      <p:sp>
        <p:nvSpPr>
          <p:cNvPr id="93" name="Text Placeholder 8"/>
          <p:cNvSpPr>
            <a:spLocks noGrp="1"/>
          </p:cNvSpPr>
          <p:nvPr>
            <p:custDataLst>
              <p:tags r:id="rId16"/>
            </p:custDataLst>
          </p:nvPr>
        </p:nvSpPr>
        <p:spPr bwMode="gray">
          <a:xfrm>
            <a:off x="2886942" y="3094626"/>
            <a:ext cx="1084456" cy="132916"/>
          </a:xfrm>
          <a:prstGeom prst="rect">
            <a:avLst/>
          </a:prstGeom>
          <a:noFill/>
        </p:spPr>
        <p:txBody>
          <a:bodyPr vert="horz" wrap="none" lIns="14288" tIns="0" rIns="14288" bIns="0" numCol="1" spcCol="0" rtlCol="0" anchor="ctr"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67DFB510-3707-45ED-A180-8C47EDEF6BFC}" type="datetime'''''A''r''''t''''s'' ''a''nd H''''uma''''n''''it''i''e''''''s'">
              <a:rPr lang="en-US" altLang="en-US" sz="700">
                <a:latin typeface="+mn-lt"/>
                <a:cs typeface="+mn-cs"/>
                <a:sym typeface="+mn-lt"/>
              </a:rPr>
            </a:fld>
            <a:endParaRPr lang="en-US" sz="700" dirty="0">
              <a:latin typeface="+mn-lt"/>
              <a:cs typeface="+mn-cs"/>
              <a:sym typeface="+mn-lt"/>
            </a:endParaRPr>
          </a:p>
        </p:txBody>
      </p:sp>
      <p:sp>
        <p:nvSpPr>
          <p:cNvPr id="94" name="Text Placeholder 8"/>
          <p:cNvSpPr>
            <a:spLocks noGrp="1"/>
          </p:cNvSpPr>
          <p:nvPr>
            <p:custDataLst>
              <p:tags r:id="rId17"/>
            </p:custDataLst>
          </p:nvPr>
        </p:nvSpPr>
        <p:spPr bwMode="gray">
          <a:xfrm>
            <a:off x="4544340" y="2352358"/>
            <a:ext cx="774646" cy="187055"/>
          </a:xfrm>
          <a:prstGeom prst="rect">
            <a:avLst/>
          </a:prstGeom>
          <a:noFill/>
        </p:spPr>
        <p:txBody>
          <a:bodyPr vert="horz" wrap="none" lIns="14288" tIns="0" rIns="14288" bIns="0" numCol="1" spcCol="0" rtlCol="0" anchor="ctr"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8A81F7FB-DBB6-4003-A10E-1E552D75B53C}" type="datetime'''S''o''c''i''a''l ''''''S''''''''ci''''e''n''''ce''s'">
              <a:rPr lang="en-US" altLang="en-US" sz="700">
                <a:latin typeface="+mn-lt"/>
                <a:cs typeface="+mn-cs"/>
                <a:sym typeface="+mn-lt"/>
              </a:rPr>
            </a:fld>
            <a:endParaRPr lang="en-US" sz="700" dirty="0">
              <a:latin typeface="+mn-lt"/>
              <a:cs typeface="+mn-cs"/>
              <a:sym typeface="+mn-lt"/>
            </a:endParaRPr>
          </a:p>
        </p:txBody>
      </p:sp>
      <p:sp>
        <p:nvSpPr>
          <p:cNvPr id="95" name="Text Placeholder 8"/>
          <p:cNvSpPr>
            <a:spLocks noGrp="1"/>
          </p:cNvSpPr>
          <p:nvPr>
            <p:custDataLst>
              <p:tags r:id="rId18"/>
            </p:custDataLst>
          </p:nvPr>
        </p:nvSpPr>
        <p:spPr bwMode="gray">
          <a:xfrm>
            <a:off x="2385290" y="2733233"/>
            <a:ext cx="1841500" cy="112284"/>
          </a:xfrm>
          <a:prstGeom prst="rect">
            <a:avLst/>
          </a:prstGeom>
          <a:noFill/>
        </p:spPr>
        <p:txBody>
          <a:bodyPr vert="horz" wrap="none" lIns="14288" tIns="0" rIns="14288" bIns="0" numCol="1" spcCol="0" rtlCol="0" anchor="ctr"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59E33F2E-EFB2-44C4-AED4-1CA7CEE8101C}" type="datetime'E''''''''con''omics, Econometri''''c''s a''n''''d'' Fin''ance'">
              <a:rPr lang="en-US" altLang="en-US" sz="700">
                <a:latin typeface="+mn-lt"/>
                <a:cs typeface="+mn-cs"/>
                <a:sym typeface="+mn-lt"/>
              </a:rPr>
            </a:fld>
            <a:endParaRPr lang="en-US" sz="700" dirty="0">
              <a:latin typeface="+mn-lt"/>
              <a:cs typeface="+mn-cs"/>
              <a:sym typeface="+mn-lt"/>
            </a:endParaRPr>
          </a:p>
        </p:txBody>
      </p:sp>
      <p:sp>
        <p:nvSpPr>
          <p:cNvPr id="96" name="Text Placeholder 8"/>
          <p:cNvSpPr>
            <a:spLocks noGrp="1"/>
          </p:cNvSpPr>
          <p:nvPr>
            <p:custDataLst>
              <p:tags r:id="rId19"/>
            </p:custDataLst>
          </p:nvPr>
        </p:nvSpPr>
        <p:spPr bwMode="gray">
          <a:xfrm>
            <a:off x="2082831" y="3102778"/>
            <a:ext cx="536575" cy="130953"/>
          </a:xfrm>
          <a:prstGeom prst="rect">
            <a:avLst/>
          </a:prstGeom>
          <a:noFill/>
        </p:spPr>
        <p:txBody>
          <a:bodyPr vert="horz" wrap="none" lIns="14288" tIns="0" rIns="14288" bIns="0" numCol="1" spcCol="0" rtlCol="0" anchor="t"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F4A6EFA5-C7E6-4D62-A6B3-D9428B6BA7CD}" type="datetime'''Vet''''''e''''''''ri''n''''a''''r''''''''''''''y'">
              <a:rPr lang="en-US" altLang="en-US" sz="700">
                <a:latin typeface="+mn-lt"/>
                <a:cs typeface="+mn-cs"/>
                <a:sym typeface="+mn-lt"/>
              </a:rPr>
            </a:fld>
            <a:endParaRPr lang="en-US" sz="700" dirty="0">
              <a:latin typeface="+mn-lt"/>
              <a:cs typeface="+mn-cs"/>
              <a:sym typeface="+mn-lt"/>
            </a:endParaRPr>
          </a:p>
        </p:txBody>
      </p:sp>
      <p:sp>
        <p:nvSpPr>
          <p:cNvPr id="97" name="Text Placeholder 8"/>
          <p:cNvSpPr>
            <a:spLocks noGrp="1"/>
          </p:cNvSpPr>
          <p:nvPr>
            <p:custDataLst>
              <p:tags r:id="rId20"/>
            </p:custDataLst>
          </p:nvPr>
        </p:nvSpPr>
        <p:spPr bwMode="gray">
          <a:xfrm>
            <a:off x="3509459" y="3884642"/>
            <a:ext cx="163281" cy="45719"/>
          </a:xfrm>
          <a:prstGeom prst="rect">
            <a:avLst/>
          </a:prstGeom>
          <a:noFill/>
        </p:spPr>
        <p:txBody>
          <a:bodyPr vert="horz" wrap="none" lIns="14288" tIns="0" rIns="14288" bIns="0" numCol="1" spcCol="0" rtlCol="0" anchor="ctr"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93A01C7A-C275-4E04-AAC2-FF95FB6446D6}" type="datetime'''''''''M''''''''e''''''''''''''di''''''''ci''''''''n''e'''''">
              <a:rPr lang="en-US" altLang="en-US" sz="700">
                <a:latin typeface="+mn-lt"/>
                <a:cs typeface="+mn-cs"/>
                <a:sym typeface="+mn-lt"/>
              </a:rPr>
            </a:fld>
            <a:endParaRPr lang="en-US" sz="700" dirty="0">
              <a:latin typeface="+mn-lt"/>
              <a:cs typeface="+mn-cs"/>
              <a:sym typeface="+mn-lt"/>
            </a:endParaRPr>
          </a:p>
        </p:txBody>
      </p:sp>
      <p:sp>
        <p:nvSpPr>
          <p:cNvPr id="98" name="Text Placeholder 8"/>
          <p:cNvSpPr>
            <a:spLocks noGrp="1"/>
          </p:cNvSpPr>
          <p:nvPr>
            <p:custDataLst>
              <p:tags r:id="rId21"/>
            </p:custDataLst>
          </p:nvPr>
        </p:nvSpPr>
        <p:spPr bwMode="gray">
          <a:xfrm>
            <a:off x="2710946" y="4065617"/>
            <a:ext cx="409687" cy="45719"/>
          </a:xfrm>
          <a:prstGeom prst="rect">
            <a:avLst/>
          </a:prstGeom>
          <a:noFill/>
        </p:spPr>
        <p:txBody>
          <a:bodyPr vert="horz" wrap="none" lIns="14288" tIns="0" rIns="14288" bIns="0" numCol="1" spcCol="0" rtlCol="0" anchor="ctr"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16C45FE2-1083-4710-B61A-DAE7635C7D14}" type="datetime'''Ph''''y''s''ic''s'' and ''''A''''''''s''tr''o''''''no''my'">
              <a:rPr lang="en-US" altLang="en-US" sz="700">
                <a:latin typeface="+mn-lt"/>
                <a:cs typeface="+mn-cs"/>
                <a:sym typeface="+mn-lt"/>
              </a:rPr>
            </a:fld>
            <a:endParaRPr lang="en-US" sz="700" dirty="0">
              <a:latin typeface="+mn-lt"/>
              <a:cs typeface="+mn-cs"/>
              <a:sym typeface="+mn-lt"/>
            </a:endParaRPr>
          </a:p>
        </p:txBody>
      </p:sp>
      <p:sp>
        <p:nvSpPr>
          <p:cNvPr id="99" name="Text Placeholder 8"/>
          <p:cNvSpPr>
            <a:spLocks noGrp="1"/>
          </p:cNvSpPr>
          <p:nvPr>
            <p:custDataLst>
              <p:tags r:id="rId22"/>
            </p:custDataLst>
          </p:nvPr>
        </p:nvSpPr>
        <p:spPr bwMode="auto">
          <a:xfrm flipV="1">
            <a:off x="1089856" y="3273937"/>
            <a:ext cx="212725" cy="896938"/>
          </a:xfrm>
          <a:prstGeom prst="rect">
            <a:avLst/>
          </a:prstGeom>
          <a:noFill/>
        </p:spPr>
        <p:txBody>
          <a:bodyPr vert="eaVert" wrap="none" lIns="0" tIns="0" rIns="0" bIns="0" numCol="1" spcCol="0" rtlCol="0" anchor="b"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fld id="{F857D95A-D224-4E44-B634-A700C4F79AB0}" type="datetime'''F''''W''''C''''''''''''I ''''''20''''''''1''''4'''''''">
              <a:rPr lang="en-US" altLang="en-US" sz="1200"/>
            </a:fld>
            <a:endParaRPr lang="en-US" sz="1200" dirty="0">
              <a:sym typeface="+mn-lt"/>
            </a:endParaRPr>
          </a:p>
        </p:txBody>
      </p:sp>
      <p:sp>
        <p:nvSpPr>
          <p:cNvPr id="100" name="Text Placeholder 8"/>
          <p:cNvSpPr>
            <a:spLocks noGrp="1"/>
          </p:cNvSpPr>
          <p:nvPr>
            <p:custDataLst>
              <p:tags r:id="rId23"/>
            </p:custDataLst>
          </p:nvPr>
        </p:nvSpPr>
        <p:spPr bwMode="gray">
          <a:xfrm>
            <a:off x="3115625" y="2539469"/>
            <a:ext cx="1031487" cy="177115"/>
          </a:xfrm>
          <a:prstGeom prst="rect">
            <a:avLst/>
          </a:prstGeom>
          <a:noFill/>
        </p:spPr>
        <p:txBody>
          <a:bodyPr vert="horz" wrap="none" lIns="14288" tIns="0" rIns="14288" bIns="0" numCol="1" spcCol="0" rtlCol="0" anchor="ctr"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7A9BCA74-9AD0-4125-8437-81BC29C1A7CF}" type="datetime'En''''''''''v''''''iron''''m''''ental S''''ci''en''''''''ce'''">
              <a:rPr lang="en-US" altLang="en-US" sz="700">
                <a:latin typeface="+mn-lt"/>
                <a:cs typeface="+mn-cs"/>
                <a:sym typeface="+mn-lt"/>
              </a:rPr>
            </a:fld>
            <a:endParaRPr lang="en-US" sz="700" dirty="0">
              <a:latin typeface="+mn-lt"/>
              <a:cs typeface="+mn-cs"/>
              <a:sym typeface="+mn-lt"/>
            </a:endParaRPr>
          </a:p>
        </p:txBody>
      </p:sp>
      <p:sp>
        <p:nvSpPr>
          <p:cNvPr id="101" name="Text Placeholder 8"/>
          <p:cNvSpPr>
            <a:spLocks noGrp="1"/>
          </p:cNvSpPr>
          <p:nvPr>
            <p:custDataLst>
              <p:tags r:id="rId24"/>
            </p:custDataLst>
          </p:nvPr>
        </p:nvSpPr>
        <p:spPr bwMode="gray">
          <a:xfrm>
            <a:off x="4970444" y="2813023"/>
            <a:ext cx="597338" cy="150813"/>
          </a:xfrm>
          <a:prstGeom prst="rect">
            <a:avLst/>
          </a:prstGeom>
          <a:noFill/>
        </p:spPr>
        <p:txBody>
          <a:bodyPr vert="horz" wrap="none" lIns="14288" tIns="0" rIns="14288" bIns="0" numCol="1" spcCol="0" rtlCol="0" anchor="ctr"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03550DC5-6E8D-499D-8752-DBAF5011162E}" type="datetime'''En''''gi''''''''''n''e''''''''e''''ri''n''g'''''''''''''''">
              <a:rPr lang="en-US" altLang="en-US" sz="700">
                <a:latin typeface="+mn-lt"/>
                <a:cs typeface="+mn-cs"/>
                <a:sym typeface="+mn-lt"/>
              </a:rPr>
            </a:fld>
            <a:endParaRPr lang="en-US" sz="700" dirty="0">
              <a:latin typeface="+mn-lt"/>
              <a:cs typeface="+mn-cs"/>
              <a:sym typeface="+mn-lt"/>
            </a:endParaRPr>
          </a:p>
        </p:txBody>
      </p:sp>
      <p:sp>
        <p:nvSpPr>
          <p:cNvPr id="102" name="Text Placeholder 8"/>
          <p:cNvSpPr>
            <a:spLocks noGrp="1"/>
          </p:cNvSpPr>
          <p:nvPr>
            <p:custDataLst>
              <p:tags r:id="rId25"/>
            </p:custDataLst>
          </p:nvPr>
        </p:nvSpPr>
        <p:spPr bwMode="gray">
          <a:xfrm>
            <a:off x="5043789" y="3432205"/>
            <a:ext cx="582110" cy="146624"/>
          </a:xfrm>
          <a:prstGeom prst="rect">
            <a:avLst/>
          </a:prstGeom>
          <a:noFill/>
        </p:spPr>
        <p:txBody>
          <a:bodyPr vert="horz" wrap="none" lIns="14288" tIns="0" rIns="14288" bIns="0" numCol="1" spcCol="0" rtlCol="0" anchor="ctr"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EC9EDC1D-633F-446E-882E-E15C136151CF}" type="datetime'''''''''''''''''''''N''u''r''''s''i''''n''''''''''''''g'''''">
              <a:rPr lang="en-US" altLang="en-US" sz="700">
                <a:latin typeface="+mn-lt"/>
                <a:cs typeface="+mn-cs"/>
                <a:sym typeface="+mn-lt"/>
              </a:rPr>
            </a:fld>
            <a:endParaRPr lang="en-US" sz="700" dirty="0">
              <a:latin typeface="+mn-lt"/>
              <a:cs typeface="+mn-cs"/>
              <a:sym typeface="+mn-lt"/>
            </a:endParaRPr>
          </a:p>
        </p:txBody>
      </p:sp>
      <p:sp>
        <p:nvSpPr>
          <p:cNvPr id="103" name="Text Placeholder 8"/>
          <p:cNvSpPr>
            <a:spLocks noGrp="1"/>
          </p:cNvSpPr>
          <p:nvPr>
            <p:custDataLst>
              <p:tags r:id="rId26"/>
            </p:custDataLst>
          </p:nvPr>
        </p:nvSpPr>
        <p:spPr bwMode="gray">
          <a:xfrm>
            <a:off x="4208921" y="3536995"/>
            <a:ext cx="600795" cy="165100"/>
          </a:xfrm>
          <a:prstGeom prst="rect">
            <a:avLst/>
          </a:prstGeom>
          <a:noFill/>
        </p:spPr>
        <p:txBody>
          <a:bodyPr vert="horz" wrap="none" lIns="14288" tIns="0" rIns="14288" bIns="0" numCol="1" spcCol="0" rtlCol="0" anchor="ctr"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1F5DAC2F-4197-48BE-95DB-F08AFAE19633}" type="datetime'P''''''sy''''c''''''''''h''''''''''''o''''''''''lo''''gy'">
              <a:rPr lang="en-US" altLang="en-US" sz="700">
                <a:latin typeface="+mn-lt"/>
                <a:cs typeface="+mn-cs"/>
                <a:sym typeface="+mn-lt"/>
              </a:rPr>
            </a:fld>
            <a:endParaRPr lang="en-US" sz="700" dirty="0">
              <a:latin typeface="+mn-lt"/>
              <a:cs typeface="+mn-cs"/>
              <a:sym typeface="+mn-lt"/>
            </a:endParaRPr>
          </a:p>
        </p:txBody>
      </p:sp>
      <p:sp>
        <p:nvSpPr>
          <p:cNvPr id="104" name="Text Placeholder 8"/>
          <p:cNvSpPr>
            <a:spLocks noGrp="1"/>
          </p:cNvSpPr>
          <p:nvPr>
            <p:custDataLst>
              <p:tags r:id="rId27"/>
            </p:custDataLst>
          </p:nvPr>
        </p:nvSpPr>
        <p:spPr bwMode="gray">
          <a:xfrm>
            <a:off x="4795717" y="3230397"/>
            <a:ext cx="1046537" cy="75998"/>
          </a:xfrm>
          <a:prstGeom prst="rect">
            <a:avLst/>
          </a:prstGeom>
          <a:noFill/>
        </p:spPr>
        <p:txBody>
          <a:bodyPr vert="horz" wrap="none" lIns="14288" tIns="0" rIns="14288" bIns="0" numCol="1" spcCol="0" rtlCol="0" anchor="ctr"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B9B3EB1F-2569-4A4F-B02C-09150D9134FD}" type="datetime'C''h''em''i''ca''''''''''''l ''En''''gi''nee''''ri''''''ng'''">
              <a:rPr lang="en-US" altLang="en-US" sz="700">
                <a:latin typeface="+mn-lt"/>
                <a:cs typeface="+mn-cs"/>
                <a:sym typeface="+mn-lt"/>
              </a:rPr>
            </a:fld>
            <a:endParaRPr lang="en-US" sz="700" dirty="0">
              <a:latin typeface="+mn-lt"/>
              <a:cs typeface="+mn-cs"/>
              <a:sym typeface="+mn-lt"/>
            </a:endParaRPr>
          </a:p>
        </p:txBody>
      </p:sp>
      <p:sp>
        <p:nvSpPr>
          <p:cNvPr id="105" name="Text Placeholder 8"/>
          <p:cNvSpPr>
            <a:spLocks noGrp="1"/>
          </p:cNvSpPr>
          <p:nvPr>
            <p:custDataLst>
              <p:tags r:id="rId28"/>
            </p:custDataLst>
          </p:nvPr>
        </p:nvSpPr>
        <p:spPr bwMode="gray">
          <a:xfrm>
            <a:off x="4189143" y="3757891"/>
            <a:ext cx="1432974" cy="143703"/>
          </a:xfrm>
          <a:prstGeom prst="rect">
            <a:avLst/>
          </a:prstGeom>
          <a:noFill/>
        </p:spPr>
        <p:txBody>
          <a:bodyPr vert="horz" wrap="none" lIns="14288" tIns="0" rIns="14288" bIns="0" numCol="1" spcCol="0" rtlCol="0" anchor="ctr"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A2739492-42E4-42FC-8BE2-43CDEE058F49}" type="datetime'E''''ar''th an''''d ''P''''lane''t''''''''''ary S''cienc''es'">
              <a:rPr lang="en-US" altLang="en-US" sz="700">
                <a:latin typeface="+mn-lt"/>
                <a:cs typeface="+mn-cs"/>
                <a:sym typeface="+mn-lt"/>
              </a:rPr>
            </a:fld>
            <a:endParaRPr lang="en-US" sz="700" dirty="0">
              <a:latin typeface="+mn-lt"/>
              <a:cs typeface="+mn-cs"/>
              <a:sym typeface="+mn-lt"/>
            </a:endParaRPr>
          </a:p>
        </p:txBody>
      </p:sp>
      <p:sp>
        <p:nvSpPr>
          <p:cNvPr id="106" name="Text Placeholder 8"/>
          <p:cNvSpPr>
            <a:spLocks noGrp="1"/>
          </p:cNvSpPr>
          <p:nvPr>
            <p:custDataLst>
              <p:tags r:id="rId29"/>
            </p:custDataLst>
          </p:nvPr>
        </p:nvSpPr>
        <p:spPr bwMode="gray">
          <a:xfrm>
            <a:off x="1815776" y="3990523"/>
            <a:ext cx="789348" cy="122812"/>
          </a:xfrm>
          <a:prstGeom prst="rect">
            <a:avLst/>
          </a:prstGeom>
          <a:noFill/>
        </p:spPr>
        <p:txBody>
          <a:bodyPr vert="horz" wrap="none" lIns="14288" tIns="0" rIns="14288" bIns="0" numCol="1" spcCol="0" rtlCol="0" anchor="ctr"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E697955F-8701-4452-96C4-1749CBD323C1}" type="datetime'''Neur''''''''''o''''s''''''''c''ien''''''''''ce'''">
              <a:rPr lang="en-US" altLang="en-US" sz="700">
                <a:latin typeface="+mn-lt"/>
                <a:cs typeface="+mn-cs"/>
                <a:sym typeface="+mn-lt"/>
              </a:rPr>
            </a:fld>
            <a:endParaRPr lang="en-US" sz="700" dirty="0">
              <a:latin typeface="+mn-lt"/>
              <a:cs typeface="+mn-cs"/>
              <a:sym typeface="+mn-lt"/>
            </a:endParaRPr>
          </a:p>
        </p:txBody>
      </p:sp>
      <p:sp>
        <p:nvSpPr>
          <p:cNvPr id="107" name="Text Placeholder 8"/>
          <p:cNvSpPr>
            <a:spLocks noGrp="1"/>
          </p:cNvSpPr>
          <p:nvPr>
            <p:custDataLst>
              <p:tags r:id="rId30"/>
            </p:custDataLst>
          </p:nvPr>
        </p:nvSpPr>
        <p:spPr bwMode="gray">
          <a:xfrm>
            <a:off x="1882382" y="2899540"/>
            <a:ext cx="534842" cy="176035"/>
          </a:xfrm>
          <a:prstGeom prst="rect">
            <a:avLst/>
          </a:prstGeom>
          <a:noFill/>
        </p:spPr>
        <p:txBody>
          <a:bodyPr vert="horz" wrap="none" lIns="14288" tIns="0" rIns="14288" bIns="0" numCol="1" spcCol="0" rtlCol="0" anchor="t"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75C91982-F40F-4A27-9C0B-4B707D9092CD}" type="datetime'''''''''P''h''a''''''r''''''''''''''''''''''''ma'">
              <a:rPr lang="en-US" altLang="en-US" sz="700">
                <a:cs typeface="+mn-cs"/>
              </a:rPr>
            </a:fld>
            <a:endParaRPr lang="en-US" sz="700" dirty="0">
              <a:latin typeface="+mn-lt"/>
              <a:cs typeface="+mn-cs"/>
              <a:sym typeface="+mn-lt"/>
            </a:endParaRPr>
          </a:p>
        </p:txBody>
      </p:sp>
      <p:sp>
        <p:nvSpPr>
          <p:cNvPr id="108" name="Text Placeholder 8"/>
          <p:cNvSpPr>
            <a:spLocks noGrp="1"/>
          </p:cNvSpPr>
          <p:nvPr>
            <p:custDataLst>
              <p:tags r:id="rId31"/>
            </p:custDataLst>
          </p:nvPr>
        </p:nvSpPr>
        <p:spPr bwMode="gray">
          <a:xfrm>
            <a:off x="5703767" y="3401654"/>
            <a:ext cx="609664" cy="120523"/>
          </a:xfrm>
          <a:prstGeom prst="rect">
            <a:avLst/>
          </a:prstGeom>
          <a:noFill/>
        </p:spPr>
        <p:txBody>
          <a:bodyPr vert="horz" wrap="none" lIns="14288" tIns="0" rIns="14288" bIns="0" numCol="1" spcCol="0" rtlCol="0" anchor="ctr"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8B90EA4B-94F7-437E-8F1C-5AD63A4795BE}" type="datetime'''''''D''''''''e''''n''''ti''''''''''''s''''try'''''''''''''''">
              <a:rPr lang="en-US" altLang="en-US" sz="700">
                <a:latin typeface="+mn-lt"/>
                <a:cs typeface="+mn-cs"/>
                <a:sym typeface="+mn-lt"/>
              </a:rPr>
            </a:fld>
            <a:endParaRPr lang="en-US" sz="700" dirty="0">
              <a:latin typeface="+mn-lt"/>
              <a:cs typeface="+mn-cs"/>
              <a:sym typeface="+mn-lt"/>
            </a:endParaRPr>
          </a:p>
        </p:txBody>
      </p:sp>
      <p:sp>
        <p:nvSpPr>
          <p:cNvPr id="109" name="Text Placeholder 8"/>
          <p:cNvSpPr>
            <a:spLocks noGrp="1"/>
          </p:cNvSpPr>
          <p:nvPr>
            <p:custDataLst>
              <p:tags r:id="rId32"/>
            </p:custDataLst>
          </p:nvPr>
        </p:nvSpPr>
        <p:spPr bwMode="auto">
          <a:xfrm>
            <a:off x="3931793" y="6163797"/>
            <a:ext cx="1509013" cy="243912"/>
          </a:xfrm>
          <a:prstGeom prst="rect">
            <a:avLst/>
          </a:prstGeom>
          <a:noFill/>
        </p:spPr>
        <p:txBody>
          <a:bodyPr vert="horz" wrap="none" lIns="0" tIns="0" rIns="0" bIns="0" numCol="1" spcCol="0" rtlCol="0" anchor="t"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lgn="ctr">
              <a:spcBef>
                <a:spcPct val="0"/>
              </a:spcBef>
              <a:spcAft>
                <a:spcPct val="0"/>
              </a:spcAft>
              <a:buNone/>
            </a:pPr>
            <a:r>
              <a:rPr lang="en-US" sz="1200" dirty="0">
                <a:latin typeface="+mn-lt"/>
                <a:cs typeface="+mn-cs"/>
                <a:sym typeface="+mn-lt"/>
              </a:rPr>
              <a:t>5 Year CAGR</a:t>
            </a:r>
            <a:endParaRPr lang="en-US" sz="1200" dirty="0">
              <a:latin typeface="+mn-lt"/>
              <a:cs typeface="+mn-cs"/>
              <a:sym typeface="+mn-lt"/>
            </a:endParaRPr>
          </a:p>
        </p:txBody>
      </p:sp>
      <p:sp>
        <p:nvSpPr>
          <p:cNvPr id="110" name="Text Placeholder 8"/>
          <p:cNvSpPr>
            <a:spLocks noGrp="1"/>
          </p:cNvSpPr>
          <p:nvPr>
            <p:custDataLst>
              <p:tags r:id="rId33"/>
            </p:custDataLst>
          </p:nvPr>
        </p:nvSpPr>
        <p:spPr bwMode="gray">
          <a:xfrm>
            <a:off x="1749480" y="3453538"/>
            <a:ext cx="658812" cy="166883"/>
          </a:xfrm>
          <a:prstGeom prst="rect">
            <a:avLst/>
          </a:prstGeom>
          <a:noFill/>
        </p:spPr>
        <p:txBody>
          <a:bodyPr vert="horz" wrap="none" lIns="14288" tIns="0" rIns="14288" bIns="0" numCol="1" spcCol="0" rtlCol="0" anchor="ctr"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226EFEFB-4784-4733-B40D-59810C0B0533}" type="datetime'M''a''''''''''t''''h''''e''''ma''''ti''''c''''''s'''''''''''''">
              <a:rPr lang="en-US" altLang="en-US" sz="700">
                <a:latin typeface="+mn-lt"/>
                <a:cs typeface="+mn-cs"/>
                <a:sym typeface="+mn-lt"/>
              </a:rPr>
            </a:fld>
            <a:endParaRPr lang="en-US" sz="700" dirty="0">
              <a:latin typeface="+mn-lt"/>
              <a:cs typeface="+mn-cs"/>
              <a:sym typeface="+mn-lt"/>
            </a:endParaRPr>
          </a:p>
        </p:txBody>
      </p:sp>
      <p:sp>
        <p:nvSpPr>
          <p:cNvPr id="111" name="Text Placeholder 8"/>
          <p:cNvSpPr>
            <a:spLocks noGrp="1"/>
          </p:cNvSpPr>
          <p:nvPr>
            <p:custDataLst>
              <p:tags r:id="rId34"/>
            </p:custDataLst>
          </p:nvPr>
        </p:nvSpPr>
        <p:spPr bwMode="gray">
          <a:xfrm>
            <a:off x="2723679" y="3273229"/>
            <a:ext cx="584769" cy="171760"/>
          </a:xfrm>
          <a:prstGeom prst="rect">
            <a:avLst/>
          </a:prstGeom>
          <a:noFill/>
        </p:spPr>
        <p:txBody>
          <a:bodyPr vert="horz" wrap="none" lIns="14288" tIns="0" rIns="14288" bIns="0" numCol="1" spcCol="0" rtlCol="0" anchor="ctr"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030CD660-4A09-468B-8A76-A6B2B2BD23ED}" type="datetime'C''''''''h''''''''''''''''em''i''''''s''''''try'''''">
              <a:rPr lang="en-US" altLang="en-US" sz="700">
                <a:latin typeface="+mn-lt"/>
                <a:cs typeface="+mn-cs"/>
                <a:sym typeface="+mn-lt"/>
              </a:rPr>
            </a:fld>
            <a:endParaRPr lang="en-US" sz="700" dirty="0">
              <a:latin typeface="+mn-lt"/>
              <a:cs typeface="+mn-cs"/>
              <a:sym typeface="+mn-lt"/>
            </a:endParaRPr>
          </a:p>
        </p:txBody>
      </p:sp>
      <p:sp>
        <p:nvSpPr>
          <p:cNvPr id="112" name="Text Placeholder 8"/>
          <p:cNvSpPr>
            <a:spLocks noGrp="1"/>
          </p:cNvSpPr>
          <p:nvPr>
            <p:custDataLst>
              <p:tags r:id="rId35"/>
            </p:custDataLst>
          </p:nvPr>
        </p:nvSpPr>
        <p:spPr bwMode="gray">
          <a:xfrm>
            <a:off x="4074165" y="3971070"/>
            <a:ext cx="954913" cy="231037"/>
          </a:xfrm>
          <a:prstGeom prst="rect">
            <a:avLst/>
          </a:prstGeom>
          <a:noFill/>
        </p:spPr>
        <p:txBody>
          <a:bodyPr vert="horz" wrap="none" lIns="14288" tIns="0" rIns="14288" bIns="0" numCol="1" spcCol="0" rtlCol="0" anchor="ctr"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FBC571F0-FFC4-479A-8BFD-D78BE6C29BDE}" type="datetime'Ma''''''t''''e''''''r''''''''i''a''''ls S''''cie''''''n''ce'">
              <a:rPr lang="en-US" altLang="en-US" sz="700">
                <a:latin typeface="+mn-lt"/>
                <a:cs typeface="+mn-cs"/>
                <a:sym typeface="+mn-lt"/>
              </a:rPr>
            </a:fld>
            <a:endParaRPr lang="en-US" sz="700" dirty="0">
              <a:latin typeface="+mn-lt"/>
              <a:cs typeface="+mn-cs"/>
              <a:sym typeface="+mn-lt"/>
            </a:endParaRPr>
          </a:p>
        </p:txBody>
      </p:sp>
      <p:sp>
        <p:nvSpPr>
          <p:cNvPr id="113" name="Text Placeholder 8"/>
          <p:cNvSpPr>
            <a:spLocks noGrp="1"/>
          </p:cNvSpPr>
          <p:nvPr>
            <p:custDataLst>
              <p:tags r:id="rId36"/>
            </p:custDataLst>
          </p:nvPr>
        </p:nvSpPr>
        <p:spPr bwMode="gray">
          <a:xfrm>
            <a:off x="2415823" y="2858690"/>
            <a:ext cx="1713089" cy="122582"/>
          </a:xfrm>
          <a:prstGeom prst="rect">
            <a:avLst/>
          </a:prstGeom>
          <a:noFill/>
        </p:spPr>
        <p:txBody>
          <a:bodyPr vert="horz" wrap="none" lIns="14288" tIns="0" rIns="14288" bIns="0" numCol="1" spcCol="0" rtlCol="0" anchor="ctr"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C98251E5-9D63-4BC1-8D95-E83845EECB55}" type="datetime'''''A''gricultu''''ra''l ''and Biolog''ical Science''s'">
              <a:rPr lang="en-US" altLang="en-US" sz="700">
                <a:latin typeface="+mn-lt"/>
                <a:cs typeface="+mn-cs"/>
                <a:sym typeface="+mn-lt"/>
              </a:rPr>
            </a:fld>
            <a:endParaRPr lang="en-US" sz="700" dirty="0">
              <a:latin typeface="+mn-lt"/>
              <a:cs typeface="+mn-cs"/>
              <a:sym typeface="+mn-lt"/>
            </a:endParaRPr>
          </a:p>
        </p:txBody>
      </p:sp>
      <p:sp>
        <p:nvSpPr>
          <p:cNvPr id="114" name="Text Placeholder 8"/>
          <p:cNvSpPr>
            <a:spLocks noGrp="1"/>
          </p:cNvSpPr>
          <p:nvPr>
            <p:custDataLst>
              <p:tags r:id="rId37"/>
            </p:custDataLst>
          </p:nvPr>
        </p:nvSpPr>
        <p:spPr bwMode="gray">
          <a:xfrm>
            <a:off x="2238025" y="2970152"/>
            <a:ext cx="1422515" cy="153082"/>
          </a:xfrm>
          <a:prstGeom prst="rect">
            <a:avLst/>
          </a:prstGeom>
          <a:noFill/>
        </p:spPr>
        <p:txBody>
          <a:bodyPr vert="horz" wrap="none" lIns="14288" tIns="0" rIns="14288" bIns="0" numCol="1" spcCol="0" rtlCol="0" anchor="ctr"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3C45AF37-F2B8-49AF-B11C-6B8E8001F885}" type="datetime'''I''mm''un''o''logy ''''a''nd ''''M''icr''ob''iolog''''''y'">
              <a:rPr lang="en-US" altLang="en-US" sz="700">
                <a:latin typeface="+mn-lt"/>
                <a:cs typeface="+mn-cs"/>
                <a:sym typeface="+mn-lt"/>
              </a:rPr>
            </a:fld>
            <a:endParaRPr lang="en-US" sz="700" dirty="0">
              <a:latin typeface="+mn-lt"/>
              <a:cs typeface="+mn-cs"/>
              <a:sym typeface="+mn-lt"/>
            </a:endParaRPr>
          </a:p>
        </p:txBody>
      </p:sp>
      <p:sp>
        <p:nvSpPr>
          <p:cNvPr id="115" name="Text Placeholder 8"/>
          <p:cNvSpPr>
            <a:spLocks noGrp="1"/>
          </p:cNvSpPr>
          <p:nvPr>
            <p:custDataLst>
              <p:tags r:id="rId38"/>
            </p:custDataLst>
          </p:nvPr>
        </p:nvSpPr>
        <p:spPr bwMode="gray">
          <a:xfrm>
            <a:off x="6042606" y="3672681"/>
            <a:ext cx="955859" cy="179901"/>
          </a:xfrm>
          <a:prstGeom prst="rect">
            <a:avLst/>
          </a:prstGeom>
          <a:noFill/>
        </p:spPr>
        <p:txBody>
          <a:bodyPr vert="horz" wrap="none" lIns="14288" tIns="0" rIns="14288" bIns="0" numCol="1" spcCol="0" rtlCol="0" anchor="ctr"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023915FB-0210-42D8-A2EC-156C8DAD67B1}" type="datetime'He''alth'''''''''''' P''''''r''o''''f''es''''''''s''''io''ns'">
              <a:rPr lang="en-US" altLang="en-US" sz="700">
                <a:latin typeface="+mn-lt"/>
                <a:cs typeface="+mn-cs"/>
                <a:sym typeface="+mn-lt"/>
              </a:rPr>
            </a:fld>
            <a:endParaRPr lang="en-US" sz="700" dirty="0">
              <a:latin typeface="+mn-lt"/>
              <a:cs typeface="+mn-cs"/>
              <a:sym typeface="+mn-lt"/>
            </a:endParaRPr>
          </a:p>
        </p:txBody>
      </p:sp>
      <p:sp>
        <p:nvSpPr>
          <p:cNvPr id="116" name="Text Placeholder 8"/>
          <p:cNvSpPr>
            <a:spLocks noGrp="1"/>
          </p:cNvSpPr>
          <p:nvPr>
            <p:custDataLst>
              <p:tags r:id="rId39"/>
            </p:custDataLst>
          </p:nvPr>
        </p:nvSpPr>
        <p:spPr bwMode="gray">
          <a:xfrm>
            <a:off x="2010057" y="4180504"/>
            <a:ext cx="2290532" cy="276789"/>
          </a:xfrm>
          <a:prstGeom prst="rect">
            <a:avLst/>
          </a:prstGeom>
          <a:noFill/>
        </p:spPr>
        <p:txBody>
          <a:bodyPr vert="horz" wrap="none" lIns="14288" tIns="0" rIns="14288" bIns="0" numCol="1" spcCol="0" rtlCol="0" anchor="ctr"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BF5870D1-D63B-4C75-99D7-01FCF9CBE826}" type="datetime'Bi''oc''''hem''''istry, Genetics ''and Molecul''ar Biol''ogy'">
              <a:rPr lang="en-US" altLang="en-US" sz="700">
                <a:latin typeface="+mn-lt"/>
                <a:cs typeface="+mn-cs"/>
                <a:sym typeface="+mn-lt"/>
              </a:rPr>
            </a:fld>
            <a:endParaRPr lang="en-US" sz="700" dirty="0">
              <a:latin typeface="+mn-lt"/>
              <a:cs typeface="+mn-cs"/>
              <a:sym typeface="+mn-lt"/>
            </a:endParaRPr>
          </a:p>
        </p:txBody>
      </p:sp>
      <p:sp>
        <p:nvSpPr>
          <p:cNvPr id="117" name="Text Placeholder 8"/>
          <p:cNvSpPr>
            <a:spLocks noGrp="1"/>
          </p:cNvSpPr>
          <p:nvPr>
            <p:custDataLst>
              <p:tags r:id="rId40"/>
            </p:custDataLst>
          </p:nvPr>
        </p:nvSpPr>
        <p:spPr bwMode="gray">
          <a:xfrm>
            <a:off x="5513652" y="2023730"/>
            <a:ext cx="1894262" cy="261668"/>
          </a:xfrm>
          <a:prstGeom prst="rect">
            <a:avLst/>
          </a:prstGeom>
          <a:noFill/>
        </p:spPr>
        <p:txBody>
          <a:bodyPr vert="horz" wrap="none" lIns="14288" tIns="0" rIns="14288" bIns="0" numCol="1" spcCol="0" rtlCol="0" anchor="ctr"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3BF022B3-4D8B-454B-AF87-0F9306A65134}" type="datetime'Bus''ine''s''s,'''' Ma''''nag''ement and'' Ac''c''ou''nting'">
              <a:rPr lang="en-US" altLang="en-US" sz="700">
                <a:latin typeface="+mn-lt"/>
                <a:cs typeface="+mn-cs"/>
                <a:sym typeface="+mn-lt"/>
              </a:rPr>
            </a:fld>
            <a:endParaRPr lang="en-US" sz="700" dirty="0">
              <a:latin typeface="+mn-lt"/>
              <a:cs typeface="+mn-cs"/>
              <a:sym typeface="+mn-lt"/>
            </a:endParaRPr>
          </a:p>
        </p:txBody>
      </p:sp>
      <p:sp>
        <p:nvSpPr>
          <p:cNvPr id="118" name="Text Placeholder 8"/>
          <p:cNvSpPr>
            <a:spLocks noGrp="1"/>
          </p:cNvSpPr>
          <p:nvPr>
            <p:custDataLst>
              <p:tags r:id="rId41"/>
            </p:custDataLst>
          </p:nvPr>
        </p:nvSpPr>
        <p:spPr bwMode="gray">
          <a:xfrm>
            <a:off x="6690225" y="2709731"/>
            <a:ext cx="469841" cy="149225"/>
          </a:xfrm>
          <a:prstGeom prst="rect">
            <a:avLst/>
          </a:prstGeom>
          <a:noFill/>
        </p:spPr>
        <p:txBody>
          <a:bodyPr vert="horz" wrap="none" lIns="14288" tIns="0" rIns="14288" bIns="0" numCol="1" spcCol="0" rtlCol="0" anchor="ctr"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AB0B421A-CF8A-4012-9A77-F9F8F5749DA7}" type="datetime'''E''''''n''e''''''''''r''''''''''''g''''''''''''''''y'''''''">
              <a:rPr lang="en-US" altLang="en-US" sz="700">
                <a:latin typeface="+mn-lt"/>
                <a:cs typeface="+mn-cs"/>
                <a:sym typeface="+mn-lt"/>
              </a:rPr>
            </a:fld>
            <a:endParaRPr lang="en-US" sz="700" dirty="0">
              <a:latin typeface="+mn-lt"/>
              <a:cs typeface="+mn-cs"/>
              <a:sym typeface="+mn-lt"/>
            </a:endParaRPr>
          </a:p>
        </p:txBody>
      </p:sp>
      <p:sp>
        <p:nvSpPr>
          <p:cNvPr id="119" name="Text Placeholder 8"/>
          <p:cNvSpPr>
            <a:spLocks noGrp="1"/>
          </p:cNvSpPr>
          <p:nvPr>
            <p:custDataLst>
              <p:tags r:id="rId42"/>
            </p:custDataLst>
          </p:nvPr>
        </p:nvSpPr>
        <p:spPr bwMode="gray">
          <a:xfrm>
            <a:off x="3724998" y="2441624"/>
            <a:ext cx="893173" cy="132651"/>
          </a:xfrm>
          <a:prstGeom prst="rect">
            <a:avLst/>
          </a:prstGeom>
          <a:noFill/>
        </p:spPr>
        <p:txBody>
          <a:bodyPr vert="horz" wrap="none" lIns="14288" tIns="0" rIns="14288" bIns="0" numCol="1" spcCol="0" rtlCol="0" anchor="ctr" anchorCtr="0">
            <a:noAutofit/>
          </a:bodyPr>
          <a:lstStyle>
            <a:lvl1pPr marL="342900" indent="-255905" algn="l" defTabSz="457200" rtl="0" eaLnBrk="1" latinLnBrk="0" hangingPunct="1">
              <a:spcBef>
                <a:spcPct val="20000"/>
              </a:spcBef>
              <a:buFont typeface="Arial" panose="020B0604020202020204"/>
              <a:buChar char="•"/>
              <a:defRPr sz="2000" kern="1200">
                <a:solidFill>
                  <a:schemeClr val="tx1"/>
                </a:solidFill>
                <a:latin typeface="Arial" panose="020B0604020202020204"/>
                <a:ea typeface="+mn-ea"/>
                <a:cs typeface="Arial" panose="020B0604020202020204"/>
              </a:defRPr>
            </a:lvl1pPr>
            <a:lvl2pPr marL="742950" indent="-285750" algn="l" defTabSz="457200" rtl="0" eaLnBrk="1" latinLnBrk="0" hangingPunct="1">
              <a:spcBef>
                <a:spcPct val="20000"/>
              </a:spcBef>
              <a:buSzPct val="80000"/>
              <a:buFont typeface="Wingdings" panose="05000000000000000000" pitchFamily="2"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spcBef>
                <a:spcPct val="0"/>
              </a:spcBef>
              <a:spcAft>
                <a:spcPct val="0"/>
              </a:spcAft>
              <a:buNone/>
            </a:pPr>
            <a:fld id="{78BE7B05-8661-4800-B1B8-BC8342D72C34}" type="datetime'D''''''e''ci''''sio''''n ''S''''c''i''''e''nc''''e''''''s'">
              <a:rPr lang="en-US" altLang="en-US" sz="700">
                <a:latin typeface="+mn-lt"/>
                <a:cs typeface="+mn-cs"/>
                <a:sym typeface="+mn-lt"/>
              </a:rPr>
            </a:fld>
            <a:endParaRPr lang="en-US" sz="700" dirty="0">
              <a:latin typeface="+mn-lt"/>
              <a:cs typeface="+mn-cs"/>
              <a:sym typeface="+mn-lt"/>
            </a:endParaRPr>
          </a:p>
        </p:txBody>
      </p:sp>
      <p:sp>
        <p:nvSpPr>
          <p:cNvPr id="120" name="TextBox 119"/>
          <p:cNvSpPr txBox="1"/>
          <p:nvPr/>
        </p:nvSpPr>
        <p:spPr>
          <a:xfrm>
            <a:off x="177245" y="6452790"/>
            <a:ext cx="4374376" cy="307777"/>
          </a:xfrm>
          <a:prstGeom prst="rect">
            <a:avLst/>
          </a:prstGeom>
          <a:noFill/>
        </p:spPr>
        <p:txBody>
          <a:bodyPr wrap="square" rtlCol="0">
            <a:spAutoFit/>
          </a:bodyPr>
          <a:lstStyle/>
          <a:p>
            <a:r>
              <a:rPr lang="en-US" sz="700" b="1" dirty="0"/>
              <a:t>FC historic growth per subject area: </a:t>
            </a:r>
            <a:r>
              <a:rPr lang="en-US" sz="700" dirty="0"/>
              <a:t>FC study 2016 (Steffi Oeben)</a:t>
            </a:r>
            <a:endParaRPr lang="en-US" sz="700" dirty="0"/>
          </a:p>
          <a:p>
            <a:r>
              <a:rPr lang="en-US" sz="700" b="1" dirty="0"/>
              <a:t>FWCI is for current FC2016 collection: </a:t>
            </a:r>
            <a:r>
              <a:rPr lang="en-US" sz="700" dirty="0"/>
              <a:t>STMJ Quality tiers analysis Andrew Plume 18 Dec 2015 cut</a:t>
            </a:r>
            <a:endParaRPr lang="en-US" sz="700" dirty="0"/>
          </a:p>
        </p:txBody>
      </p:sp>
      <p:sp>
        <p:nvSpPr>
          <p:cNvPr id="121" name="TextBox 120"/>
          <p:cNvSpPr txBox="1"/>
          <p:nvPr/>
        </p:nvSpPr>
        <p:spPr>
          <a:xfrm>
            <a:off x="2268761" y="1529913"/>
            <a:ext cx="4835077" cy="307777"/>
          </a:xfrm>
          <a:prstGeom prst="rect">
            <a:avLst/>
          </a:prstGeom>
          <a:noFill/>
        </p:spPr>
        <p:txBody>
          <a:bodyPr wrap="none" rtlCol="0">
            <a:spAutoFit/>
          </a:bodyPr>
          <a:lstStyle/>
          <a:p>
            <a:pPr algn="ctr"/>
            <a:r>
              <a:rPr lang="en-US" sz="1400" dirty="0">
                <a:solidFill>
                  <a:schemeClr val="accent2"/>
                </a:solidFill>
              </a:rPr>
              <a:t>Content Growth and Content Quality of FC by subject area</a:t>
            </a:r>
            <a:endParaRPr lang="en-US" sz="1400" dirty="0">
              <a:solidFill>
                <a:schemeClr val="accent2"/>
              </a:solidFill>
            </a:endParaRPr>
          </a:p>
        </p:txBody>
      </p:sp>
      <p:sp>
        <p:nvSpPr>
          <p:cNvPr id="122" name="TextBox 121"/>
          <p:cNvSpPr txBox="1"/>
          <p:nvPr/>
        </p:nvSpPr>
        <p:spPr>
          <a:xfrm>
            <a:off x="66702" y="1627344"/>
            <a:ext cx="184731" cy="261610"/>
          </a:xfrm>
          <a:prstGeom prst="rect">
            <a:avLst/>
          </a:prstGeom>
          <a:noFill/>
        </p:spPr>
        <p:txBody>
          <a:bodyPr wrap="none" rtlCol="0">
            <a:spAutoFit/>
          </a:bodyPr>
          <a:lstStyle/>
          <a:p>
            <a:endParaRPr lang="en-US" sz="1100" dirty="0" err="1">
              <a:solidFill>
                <a:schemeClr val="tx2"/>
              </a:solidFill>
              <a:latin typeface="Arial" panose="020B0604020202020204" pitchFamily="34" charset="0"/>
              <a:cs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1"/>
          <a:srcRect l="22093" t="22690" r="31361" b="7383"/>
          <a:stretch>
            <a:fillRect/>
          </a:stretch>
        </p:blipFill>
        <p:spPr>
          <a:xfrm>
            <a:off x="413886" y="1516585"/>
            <a:ext cx="5736753" cy="4845483"/>
          </a:xfrm>
          <a:prstGeom prst="rect">
            <a:avLst/>
          </a:prstGeom>
        </p:spPr>
      </p:pic>
      <p:sp>
        <p:nvSpPr>
          <p:cNvPr id="6" name="Rectangle 5"/>
          <p:cNvSpPr/>
          <p:nvPr/>
        </p:nvSpPr>
        <p:spPr>
          <a:xfrm>
            <a:off x="3311091" y="5308350"/>
            <a:ext cx="687699" cy="181183"/>
          </a:xfrm>
          <a:prstGeom prst="rect">
            <a:avLst/>
          </a:prstGeom>
          <a:noFill/>
          <a:ln w="254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rgbClr val="C00000"/>
              </a:solidFill>
            </a:endParaRPr>
          </a:p>
        </p:txBody>
      </p:sp>
      <p:sp>
        <p:nvSpPr>
          <p:cNvPr id="7" name="Rectangle 6"/>
          <p:cNvSpPr/>
          <p:nvPr/>
        </p:nvSpPr>
        <p:spPr>
          <a:xfrm>
            <a:off x="6510045" y="4586123"/>
            <a:ext cx="1882642" cy="408586"/>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prstClr val="black"/>
                </a:solidFill>
                <a:latin typeface="Nexus"/>
              </a:rPr>
              <a:t>Fundamentals</a:t>
            </a:r>
            <a:endParaRPr lang="en-US" b="1" dirty="0">
              <a:solidFill>
                <a:prstClr val="black"/>
              </a:solidFill>
              <a:latin typeface="Nexus"/>
            </a:endParaRPr>
          </a:p>
        </p:txBody>
      </p:sp>
      <p:sp>
        <p:nvSpPr>
          <p:cNvPr id="8" name="Rectangle 7"/>
          <p:cNvSpPr/>
          <p:nvPr/>
        </p:nvSpPr>
        <p:spPr>
          <a:xfrm>
            <a:off x="6449012" y="2689198"/>
            <a:ext cx="2001966" cy="418268"/>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prstClr val="black"/>
                </a:solidFill>
                <a:latin typeface="Nexus"/>
              </a:rPr>
              <a:t>Latest Research </a:t>
            </a:r>
            <a:endParaRPr lang="en-US" b="1" dirty="0">
              <a:solidFill>
                <a:prstClr val="black"/>
              </a:solidFill>
              <a:latin typeface="Nexus"/>
            </a:endParaRPr>
          </a:p>
        </p:txBody>
      </p:sp>
      <p:sp>
        <p:nvSpPr>
          <p:cNvPr id="9" name="Rectangle 8"/>
          <p:cNvSpPr/>
          <p:nvPr/>
        </p:nvSpPr>
        <p:spPr>
          <a:xfrm>
            <a:off x="6480629" y="3609607"/>
            <a:ext cx="1960258" cy="388285"/>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prstClr val="black"/>
                </a:solidFill>
                <a:latin typeface="Nexus"/>
              </a:rPr>
              <a:t>Methods</a:t>
            </a:r>
            <a:endParaRPr lang="en-US" b="1" dirty="0">
              <a:solidFill>
                <a:prstClr val="black"/>
              </a:solidFill>
              <a:latin typeface="Nexus"/>
            </a:endParaRPr>
          </a:p>
        </p:txBody>
      </p:sp>
      <p:sp>
        <p:nvSpPr>
          <p:cNvPr id="10" name="Rectangle 9"/>
          <p:cNvSpPr/>
          <p:nvPr/>
        </p:nvSpPr>
        <p:spPr>
          <a:xfrm>
            <a:off x="6516328" y="5521719"/>
            <a:ext cx="1913160" cy="413409"/>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a:solidFill>
                  <a:prstClr val="black"/>
                </a:solidFill>
                <a:latin typeface="Nexus"/>
              </a:rPr>
              <a:t>Definitions</a:t>
            </a:r>
            <a:endParaRPr lang="en-US" b="1" dirty="0">
              <a:solidFill>
                <a:prstClr val="black"/>
              </a:solidFill>
              <a:latin typeface="Nexus"/>
            </a:endParaRPr>
          </a:p>
        </p:txBody>
      </p:sp>
      <p:cxnSp>
        <p:nvCxnSpPr>
          <p:cNvPr id="11" name="Straight Arrow Connector 10"/>
          <p:cNvCxnSpPr>
            <a:endCxn id="7" idx="1"/>
          </p:cNvCxnSpPr>
          <p:nvPr/>
        </p:nvCxnSpPr>
        <p:spPr>
          <a:xfrm flipV="1">
            <a:off x="4015410" y="4777081"/>
            <a:ext cx="2494635" cy="619811"/>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a:stCxn id="6" idx="3"/>
            <a:endCxn id="10" idx="1"/>
          </p:cNvCxnSpPr>
          <p:nvPr/>
        </p:nvCxnSpPr>
        <p:spPr>
          <a:xfrm>
            <a:off x="3998790" y="5386242"/>
            <a:ext cx="2517775" cy="329565"/>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15" name="Straight Arrow Connector 14"/>
          <p:cNvCxnSpPr/>
          <p:nvPr/>
        </p:nvCxnSpPr>
        <p:spPr>
          <a:xfrm flipV="1">
            <a:off x="3998790" y="3810161"/>
            <a:ext cx="2482215" cy="1595755"/>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a:endCxn id="8" idx="1"/>
          </p:cNvCxnSpPr>
          <p:nvPr/>
        </p:nvCxnSpPr>
        <p:spPr>
          <a:xfrm flipV="1">
            <a:off x="4015410" y="2885632"/>
            <a:ext cx="2433602" cy="2457497"/>
          </a:xfrm>
          <a:prstGeom prst="straightConnector1">
            <a:avLst/>
          </a:prstGeom>
          <a:ln>
            <a:solidFill>
              <a:srgbClr val="FF0000"/>
            </a:solidFill>
            <a:tailEnd type="arrow"/>
          </a:ln>
        </p:spPr>
        <p:style>
          <a:lnRef idx="2">
            <a:schemeClr val="accent1"/>
          </a:lnRef>
          <a:fillRef idx="0">
            <a:schemeClr val="accent1"/>
          </a:fillRef>
          <a:effectRef idx="1">
            <a:schemeClr val="accent1"/>
          </a:effectRef>
          <a:fontRef idx="minor">
            <a:schemeClr val="tx1"/>
          </a:fontRef>
        </p:style>
      </p:cxnSp>
      <p:sp>
        <p:nvSpPr>
          <p:cNvPr id="19" name="Title 2"/>
          <p:cNvSpPr txBox="1"/>
          <p:nvPr/>
        </p:nvSpPr>
        <p:spPr>
          <a:xfrm>
            <a:off x="185703" y="927298"/>
            <a:ext cx="8974666" cy="41864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en-GB" sz="1600" dirty="0"/>
              <a:t>Example: think about how we understand a new or unfamiliar concepts we find in a journal article </a:t>
            </a:r>
            <a:endParaRPr lang="en-GB" sz="1600" dirty="0"/>
          </a:p>
          <a:p>
            <a:r>
              <a:rPr lang="zh-CN" altLang="en-GB" sz="1600" dirty="0"/>
              <a:t>举例：想想我们如何理解一篇期刊文章中的一个新概念或不熟悉概念</a:t>
            </a:r>
            <a:endParaRPr lang="zh-CN" altLang="en-GB" sz="1600" dirty="0"/>
          </a:p>
        </p:txBody>
      </p:sp>
      <p:cxnSp>
        <p:nvCxnSpPr>
          <p:cNvPr id="21" name="Straight Connector 20"/>
          <p:cNvCxnSpPr/>
          <p:nvPr/>
        </p:nvCxnSpPr>
        <p:spPr>
          <a:xfrm>
            <a:off x="553156" y="884188"/>
            <a:ext cx="7609038" cy="0"/>
          </a:xfrm>
          <a:prstGeom prst="line">
            <a:avLst/>
          </a:prstGeom>
          <a:ln w="25400" cmpd="sng">
            <a:solidFill>
              <a:schemeClr val="tx2"/>
            </a:solidFill>
          </a:ln>
        </p:spPr>
        <p:style>
          <a:lnRef idx="2">
            <a:schemeClr val="accent1"/>
          </a:lnRef>
          <a:fillRef idx="0">
            <a:schemeClr val="accent1"/>
          </a:fillRef>
          <a:effectRef idx="1">
            <a:schemeClr val="accent1"/>
          </a:effectRef>
          <a:fontRef idx="minor">
            <a:schemeClr val="tx1"/>
          </a:fontRef>
        </p:style>
      </p:cxnSp>
      <p:sp>
        <p:nvSpPr>
          <p:cNvPr id="2" name="文本框 1"/>
          <p:cNvSpPr txBox="1"/>
          <p:nvPr/>
        </p:nvSpPr>
        <p:spPr>
          <a:xfrm>
            <a:off x="6551930" y="3151505"/>
            <a:ext cx="1840865" cy="368300"/>
          </a:xfrm>
          <a:prstGeom prst="rect">
            <a:avLst/>
          </a:prstGeom>
          <a:noFill/>
        </p:spPr>
        <p:txBody>
          <a:bodyPr wrap="square" rtlCol="0">
            <a:spAutoFit/>
          </a:bodyPr>
          <a:lstStyle/>
          <a:p>
            <a:pPr algn="ctr"/>
            <a:r>
              <a:rPr lang="zh-CN" altLang="en-US" dirty="0"/>
              <a:t>最新研究</a:t>
            </a:r>
            <a:endParaRPr lang="zh-CN" altLang="en-US" dirty="0"/>
          </a:p>
        </p:txBody>
      </p:sp>
      <p:sp>
        <p:nvSpPr>
          <p:cNvPr id="3" name="文本框 2"/>
          <p:cNvSpPr txBox="1"/>
          <p:nvPr/>
        </p:nvSpPr>
        <p:spPr>
          <a:xfrm>
            <a:off x="6510020" y="3997325"/>
            <a:ext cx="1840865" cy="368300"/>
          </a:xfrm>
          <a:prstGeom prst="rect">
            <a:avLst/>
          </a:prstGeom>
          <a:noFill/>
        </p:spPr>
        <p:txBody>
          <a:bodyPr wrap="square" rtlCol="0">
            <a:spAutoFit/>
          </a:bodyPr>
          <a:lstStyle/>
          <a:p>
            <a:pPr algn="ctr"/>
            <a:r>
              <a:rPr lang="zh-CN" altLang="en-US" dirty="0"/>
              <a:t>方法</a:t>
            </a:r>
            <a:endParaRPr lang="zh-CN" altLang="en-US" dirty="0"/>
          </a:p>
        </p:txBody>
      </p:sp>
      <p:sp>
        <p:nvSpPr>
          <p:cNvPr id="5" name="文本框 4"/>
          <p:cNvSpPr txBox="1"/>
          <p:nvPr/>
        </p:nvSpPr>
        <p:spPr>
          <a:xfrm>
            <a:off x="6540500" y="5028565"/>
            <a:ext cx="1840865" cy="368300"/>
          </a:xfrm>
          <a:prstGeom prst="rect">
            <a:avLst/>
          </a:prstGeom>
          <a:noFill/>
        </p:spPr>
        <p:txBody>
          <a:bodyPr wrap="square" rtlCol="0">
            <a:spAutoFit/>
          </a:bodyPr>
          <a:lstStyle/>
          <a:p>
            <a:pPr algn="ctr"/>
            <a:r>
              <a:rPr lang="zh-CN" altLang="en-US"/>
              <a:t>基础</a:t>
            </a:r>
            <a:endParaRPr lang="zh-CN" altLang="en-US"/>
          </a:p>
        </p:txBody>
      </p:sp>
      <p:sp>
        <p:nvSpPr>
          <p:cNvPr id="13" name="文本框 12"/>
          <p:cNvSpPr txBox="1"/>
          <p:nvPr/>
        </p:nvSpPr>
        <p:spPr>
          <a:xfrm>
            <a:off x="6570345" y="5993765"/>
            <a:ext cx="1840865" cy="368300"/>
          </a:xfrm>
          <a:prstGeom prst="rect">
            <a:avLst/>
          </a:prstGeom>
          <a:noFill/>
        </p:spPr>
        <p:txBody>
          <a:bodyPr wrap="square" rtlCol="0">
            <a:spAutoFit/>
          </a:bodyPr>
          <a:lstStyle/>
          <a:p>
            <a:pPr algn="ctr"/>
            <a:r>
              <a:rPr lang="zh-CN" altLang="en-US" dirty="0"/>
              <a:t>定义</a:t>
            </a:r>
            <a:endParaRPr lang="zh-CN" altLang="en-US" dirty="0"/>
          </a:p>
        </p:txBody>
      </p:sp>
      <p:sp>
        <p:nvSpPr>
          <p:cNvPr id="14" name="Title 1"/>
          <p:cNvSpPr txBox="1"/>
          <p:nvPr/>
        </p:nvSpPr>
        <p:spPr>
          <a:xfrm>
            <a:off x="413886" y="433593"/>
            <a:ext cx="8974455" cy="570230"/>
          </a:xfrm>
          <a:prstGeom prst="rect">
            <a:avLst/>
          </a:prstGeom>
        </p:spPr>
        <p:txBody>
          <a:bodyPr/>
          <a:lstStyle>
            <a:lvl1pPr algn="l" defTabSz="457200" rtl="0" eaLnBrk="1" latinLnBrk="0" hangingPunct="1">
              <a:spcBef>
                <a:spcPct val="0"/>
              </a:spcBef>
              <a:buNone/>
              <a:defRPr sz="2000" kern="1200">
                <a:solidFill>
                  <a:schemeClr val="tx2"/>
                </a:solidFill>
                <a:latin typeface="+mj-lt"/>
                <a:ea typeface="+mj-ea"/>
                <a:cs typeface="+mj-cs"/>
              </a:defRPr>
            </a:lvl1pPr>
          </a:lstStyle>
          <a:p>
            <a:r>
              <a:rPr lang="zh-CN" altLang="en-US" sz="2200" b="1" dirty="0">
                <a:solidFill>
                  <a:schemeClr val="accent1"/>
                </a:solidFill>
              </a:rPr>
              <a:t>怎样转型？改变我们对内容的思考方式</a:t>
            </a:r>
            <a:endParaRPr lang="zh-CN" altLang="en-US" sz="2200" b="1" dirty="0">
              <a:solidFill>
                <a:schemeClr val="accent1"/>
              </a:solidFill>
            </a:endParaRPr>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2"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7"/>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bldLvl="0" animBg="1"/>
      <p:bldP spid="8" grpId="0" bldLvl="0" animBg="1"/>
      <p:bldP spid="9" grpId="0" bldLvl="0" animBg="1"/>
      <p:bldP spid="10" grpId="0" bldLvl="0" animBg="1"/>
      <p:bldP spid="2" grpId="0"/>
      <p:bldP spid="2" grpId="1"/>
      <p:bldP spid="2" grpId="2"/>
      <p:bldP spid="3" grpId="0"/>
      <p:bldP spid="5" grpId="0"/>
      <p:bldP spid="13"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2"/>
          <p:cNvSpPr txBox="1"/>
          <p:nvPr/>
        </p:nvSpPr>
        <p:spPr>
          <a:xfrm>
            <a:off x="469533" y="1065820"/>
            <a:ext cx="7168005" cy="41864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zh-CN" altLang="en-GB" sz="1600" dirty="0"/>
              <a:t>将内容、技术和分析结合起来，提供更快捷、有效的用户体验</a:t>
            </a:r>
            <a:endParaRPr lang="en-US" altLang="en-GB" sz="1600" dirty="0"/>
          </a:p>
        </p:txBody>
      </p:sp>
      <p:cxnSp>
        <p:nvCxnSpPr>
          <p:cNvPr id="6" name="Straight Connector 5"/>
          <p:cNvCxnSpPr/>
          <p:nvPr/>
        </p:nvCxnSpPr>
        <p:spPr>
          <a:xfrm>
            <a:off x="553156" y="884188"/>
            <a:ext cx="7609038" cy="0"/>
          </a:xfrm>
          <a:prstGeom prst="line">
            <a:avLst/>
          </a:prstGeom>
          <a:ln w="25400" cmpd="sng">
            <a:solidFill>
              <a:schemeClr val="tx2"/>
            </a:solidFill>
          </a:ln>
        </p:spPr>
        <p:style>
          <a:lnRef idx="2">
            <a:schemeClr val="accent1"/>
          </a:lnRef>
          <a:fillRef idx="0">
            <a:schemeClr val="accent1"/>
          </a:fillRef>
          <a:effectRef idx="1">
            <a:schemeClr val="accent1"/>
          </a:effectRef>
          <a:fontRef idx="minor">
            <a:schemeClr val="tx1"/>
          </a:fontRef>
        </p:style>
      </p:cxnSp>
      <p:sp>
        <p:nvSpPr>
          <p:cNvPr id="7" name="Text Placeholder 3"/>
          <p:cNvSpPr txBox="1"/>
          <p:nvPr/>
        </p:nvSpPr>
        <p:spPr>
          <a:xfrm>
            <a:off x="469533" y="1577230"/>
            <a:ext cx="3670489" cy="2314120"/>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nSpc>
                <a:spcPct val="150000"/>
              </a:lnSpc>
            </a:pPr>
            <a:r>
              <a:rPr lang="zh-CN" altLang="en-US" b="1" dirty="0"/>
              <a:t>利用技术来：</a:t>
            </a:r>
            <a:endParaRPr lang="en-US" b="1" dirty="0"/>
          </a:p>
          <a:p>
            <a:pPr marL="285750" indent="-285750">
              <a:lnSpc>
                <a:spcPct val="150000"/>
              </a:lnSpc>
              <a:buFont typeface="Arial" panose="020B0604020202020204" pitchFamily="34" charset="0"/>
              <a:buChar char="•"/>
            </a:pPr>
            <a:r>
              <a:rPr lang="zh-CN" altLang="en-US" dirty="0"/>
              <a:t>用分类法整合图书和期刊内容，链接概念和关联</a:t>
            </a:r>
            <a:endParaRPr lang="en-US" dirty="0">
              <a:solidFill>
                <a:srgbClr val="53565A"/>
              </a:solidFill>
            </a:endParaRPr>
          </a:p>
          <a:p>
            <a:pPr marL="285750" indent="-285750">
              <a:lnSpc>
                <a:spcPct val="150000"/>
              </a:lnSpc>
              <a:buFont typeface="Arial" panose="020B0604020202020204" pitchFamily="34" charset="0"/>
              <a:buChar char="•"/>
            </a:pPr>
            <a:r>
              <a:rPr lang="zh-CN" altLang="en-US" dirty="0">
                <a:solidFill>
                  <a:srgbClr val="53565A"/>
                </a:solidFill>
              </a:rPr>
              <a:t>通过机器学习和自然语言处理来理解</a:t>
            </a:r>
            <a:r>
              <a:rPr lang="en-US" altLang="zh-CN" dirty="0">
                <a:solidFill>
                  <a:srgbClr val="53565A"/>
                </a:solidFill>
              </a:rPr>
              <a:t>“</a:t>
            </a:r>
            <a:r>
              <a:rPr lang="zh-CN" altLang="en-US" dirty="0">
                <a:solidFill>
                  <a:srgbClr val="53565A"/>
                </a:solidFill>
              </a:rPr>
              <a:t>上下文</a:t>
            </a:r>
            <a:r>
              <a:rPr lang="en-US" altLang="zh-CN" dirty="0">
                <a:solidFill>
                  <a:srgbClr val="53565A"/>
                </a:solidFill>
              </a:rPr>
              <a:t>”</a:t>
            </a:r>
            <a:r>
              <a:rPr lang="zh-CN" altLang="en-US" dirty="0">
                <a:solidFill>
                  <a:srgbClr val="53565A"/>
                </a:solidFill>
              </a:rPr>
              <a:t>、</a:t>
            </a:r>
            <a:r>
              <a:rPr lang="en-US" altLang="zh-CN" dirty="0">
                <a:solidFill>
                  <a:srgbClr val="53565A"/>
                </a:solidFill>
              </a:rPr>
              <a:t>”</a:t>
            </a:r>
            <a:r>
              <a:rPr lang="zh-CN" altLang="en-US" dirty="0">
                <a:solidFill>
                  <a:srgbClr val="53565A"/>
                </a:solidFill>
              </a:rPr>
              <a:t>含义</a:t>
            </a:r>
            <a:r>
              <a:rPr lang="en-US" altLang="zh-CN" dirty="0">
                <a:solidFill>
                  <a:srgbClr val="53565A"/>
                </a:solidFill>
              </a:rPr>
              <a:t>”</a:t>
            </a:r>
            <a:r>
              <a:rPr lang="zh-CN" altLang="en-US" dirty="0">
                <a:solidFill>
                  <a:srgbClr val="53565A"/>
                </a:solidFill>
              </a:rPr>
              <a:t>以及</a:t>
            </a:r>
            <a:r>
              <a:rPr lang="en-US" altLang="zh-CN" dirty="0">
                <a:solidFill>
                  <a:srgbClr val="53565A"/>
                </a:solidFill>
              </a:rPr>
              <a:t>“</a:t>
            </a:r>
            <a:r>
              <a:rPr lang="zh-CN" altLang="en-US" dirty="0">
                <a:solidFill>
                  <a:srgbClr val="53565A"/>
                </a:solidFill>
              </a:rPr>
              <a:t>相关性</a:t>
            </a:r>
            <a:r>
              <a:rPr lang="en-US" altLang="zh-CN" dirty="0">
                <a:solidFill>
                  <a:srgbClr val="53565A"/>
                </a:solidFill>
              </a:rPr>
              <a:t>”</a:t>
            </a:r>
            <a:endParaRPr lang="en-US" altLang="zh-CN" dirty="0">
              <a:solidFill>
                <a:srgbClr val="53565A"/>
              </a:solidFill>
            </a:endParaRPr>
          </a:p>
          <a:p>
            <a:pPr marL="285750" indent="-285750">
              <a:lnSpc>
                <a:spcPct val="150000"/>
              </a:lnSpc>
              <a:buFont typeface="Arial" panose="020B0604020202020204" pitchFamily="34" charset="0"/>
              <a:buChar char="•"/>
            </a:pPr>
            <a:endParaRPr lang="en-US" dirty="0">
              <a:solidFill>
                <a:srgbClr val="53565A"/>
              </a:solidFill>
            </a:endParaRPr>
          </a:p>
          <a:p>
            <a:pPr marL="285750" indent="-285750">
              <a:lnSpc>
                <a:spcPct val="150000"/>
              </a:lnSpc>
              <a:buFont typeface="Arial" panose="020B0604020202020204" pitchFamily="34" charset="0"/>
              <a:buChar char="•"/>
            </a:pPr>
            <a:endParaRPr lang="en-US" dirty="0">
              <a:solidFill>
                <a:srgbClr val="53565A"/>
              </a:solidFill>
            </a:endParaRPr>
          </a:p>
        </p:txBody>
      </p:sp>
      <p:pic>
        <p:nvPicPr>
          <p:cNvPr id="9" name="Picture 8"/>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4405554" y="1691262"/>
            <a:ext cx="3267629" cy="1740635"/>
          </a:xfrm>
          <a:prstGeom prst="rect">
            <a:avLst/>
          </a:prstGeom>
        </p:spPr>
      </p:pic>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73837" y="3638695"/>
            <a:ext cx="2862633" cy="2172383"/>
          </a:xfrm>
          <a:prstGeom prst="rect">
            <a:avLst/>
          </a:prstGeom>
        </p:spPr>
      </p:pic>
      <p:sp>
        <p:nvSpPr>
          <p:cNvPr id="2" name="Title 1"/>
          <p:cNvSpPr txBox="1"/>
          <p:nvPr/>
        </p:nvSpPr>
        <p:spPr>
          <a:xfrm>
            <a:off x="370239" y="374217"/>
            <a:ext cx="8974455" cy="570230"/>
          </a:xfrm>
          <a:prstGeom prst="rect">
            <a:avLst/>
          </a:prstGeom>
        </p:spPr>
        <p:txBody>
          <a:bodyPr/>
          <a:lstStyle>
            <a:lvl1pPr algn="l" defTabSz="457200" rtl="0" eaLnBrk="1" latinLnBrk="0" hangingPunct="1">
              <a:spcBef>
                <a:spcPct val="0"/>
              </a:spcBef>
              <a:buNone/>
              <a:defRPr sz="2000" kern="1200">
                <a:solidFill>
                  <a:schemeClr val="tx2"/>
                </a:solidFill>
                <a:latin typeface="+mj-lt"/>
                <a:ea typeface="+mj-ea"/>
                <a:cs typeface="+mj-cs"/>
              </a:defRPr>
            </a:lvl1pPr>
          </a:lstStyle>
          <a:p>
            <a:r>
              <a:rPr lang="zh-CN" altLang="en-US" sz="2200" b="1" dirty="0">
                <a:solidFill>
                  <a:schemeClr val="accent1"/>
                </a:solidFill>
              </a:rPr>
              <a:t>怎样转型？改变我们对内容的思考方式</a:t>
            </a:r>
            <a:endParaRPr lang="zh-CN" altLang="en-US" sz="2200" b="1" dirty="0">
              <a:solidFill>
                <a:schemeClr val="accent1"/>
              </a:solidFill>
            </a:endParaRPr>
          </a:p>
        </p:txBody>
      </p:sp>
      <p:sp>
        <p:nvSpPr>
          <p:cNvPr id="3" name="Rectangle 2"/>
          <p:cNvSpPr/>
          <p:nvPr/>
        </p:nvSpPr>
        <p:spPr>
          <a:xfrm>
            <a:off x="469533" y="4159806"/>
            <a:ext cx="5083128" cy="1754326"/>
          </a:xfrm>
          <a:prstGeom prst="rect">
            <a:avLst/>
          </a:prstGeom>
        </p:spPr>
        <p:txBody>
          <a:bodyPr wrap="square">
            <a:spAutoFit/>
          </a:bodyPr>
          <a:lstStyle/>
          <a:p>
            <a:pPr marL="285750" indent="-285750">
              <a:lnSpc>
                <a:spcPct val="150000"/>
              </a:lnSpc>
              <a:buFont typeface="Arial" panose="020B0604020202020204" pitchFamily="34" charset="0"/>
              <a:buChar char="•"/>
            </a:pPr>
            <a:r>
              <a:rPr lang="zh-CN" altLang="en-US" dirty="0">
                <a:solidFill>
                  <a:srgbClr val="53565A"/>
                </a:solidFill>
              </a:rPr>
              <a:t>在全文文献中进行模式匹配，确认内容类型和</a:t>
            </a:r>
            <a:r>
              <a:rPr lang="en-US" altLang="zh-CN" dirty="0">
                <a:solidFill>
                  <a:srgbClr val="53565A"/>
                </a:solidFill>
              </a:rPr>
              <a:t>“</a:t>
            </a:r>
            <a:r>
              <a:rPr lang="zh-CN" altLang="en-US" dirty="0">
                <a:solidFill>
                  <a:srgbClr val="53565A"/>
                </a:solidFill>
              </a:rPr>
              <a:t>使用案例</a:t>
            </a:r>
            <a:r>
              <a:rPr lang="en-US" altLang="zh-CN" dirty="0">
                <a:solidFill>
                  <a:srgbClr val="53565A"/>
                </a:solidFill>
              </a:rPr>
              <a:t>”</a:t>
            </a:r>
            <a:endParaRPr lang="en-US" altLang="zh-CN" dirty="0">
              <a:solidFill>
                <a:srgbClr val="53565A"/>
              </a:solidFill>
            </a:endParaRPr>
          </a:p>
          <a:p>
            <a:pPr marL="285750" indent="-285750">
              <a:lnSpc>
                <a:spcPct val="150000"/>
              </a:lnSpc>
              <a:buFont typeface="Arial" panose="020B0604020202020204" pitchFamily="34" charset="0"/>
              <a:buChar char="•"/>
            </a:pPr>
            <a:r>
              <a:rPr lang="zh-CN" altLang="en-US" dirty="0">
                <a:solidFill>
                  <a:srgbClr val="53565A"/>
                </a:solidFill>
              </a:rPr>
              <a:t>创建全文</a:t>
            </a:r>
            <a:r>
              <a:rPr lang="en-US" altLang="zh-CN" dirty="0">
                <a:solidFill>
                  <a:srgbClr val="53565A"/>
                </a:solidFill>
              </a:rPr>
              <a:t>“</a:t>
            </a:r>
            <a:r>
              <a:rPr lang="zh-CN" altLang="en-US" dirty="0">
                <a:solidFill>
                  <a:srgbClr val="53565A"/>
                </a:solidFill>
              </a:rPr>
              <a:t>片段</a:t>
            </a:r>
            <a:r>
              <a:rPr lang="en-US" altLang="zh-CN" dirty="0">
                <a:solidFill>
                  <a:srgbClr val="53565A"/>
                </a:solidFill>
              </a:rPr>
              <a:t>”</a:t>
            </a:r>
            <a:r>
              <a:rPr lang="zh-CN" altLang="en-US" dirty="0">
                <a:solidFill>
                  <a:srgbClr val="53565A"/>
                </a:solidFill>
              </a:rPr>
              <a:t>的动态自由层，使文献更易被搜索引擎发现</a:t>
            </a:r>
            <a:endParaRPr lang="zh-CN" altLang="en-US" dirty="0">
              <a:solidFill>
                <a:srgbClr val="53565A"/>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6948397" y="1233771"/>
            <a:ext cx="2195603" cy="5262245"/>
          </a:xfrm>
          <a:prstGeom prst="rect">
            <a:avLst/>
          </a:prstGeom>
          <a:noFill/>
        </p:spPr>
        <p:txBody>
          <a:bodyPr wrap="square" rtlCol="0">
            <a:spAutoFit/>
          </a:bodyPr>
          <a:lstStyle/>
          <a:p>
            <a:endParaRPr lang="en-GB" sz="1200" b="1" dirty="0">
              <a:latin typeface="Arial" panose="020B0604020202020204" pitchFamily="34" charset="0"/>
              <a:cs typeface="Arial" panose="020B0604020202020204" pitchFamily="34" charset="0"/>
            </a:endParaRPr>
          </a:p>
          <a:p>
            <a:pPr marL="228600" indent="-228600">
              <a:buFont typeface="+mj-lt"/>
              <a:buAutoNum type="arabicPeriod"/>
            </a:pPr>
            <a:r>
              <a:rPr lang="en-GB" sz="1200" b="1" dirty="0">
                <a:latin typeface="Arial" panose="020B0604020202020204" pitchFamily="34" charset="0"/>
                <a:cs typeface="Arial" panose="020B0604020202020204" pitchFamily="34" charset="0"/>
              </a:rPr>
              <a:t>Definitions extracted from Elsevier books.</a:t>
            </a:r>
            <a:endParaRPr lang="en-GB" sz="1200" b="1" dirty="0">
              <a:latin typeface="Arial" panose="020B0604020202020204" pitchFamily="34" charset="0"/>
              <a:cs typeface="Arial" panose="020B0604020202020204" pitchFamily="34" charset="0"/>
            </a:endParaRPr>
          </a:p>
          <a:p>
            <a:pPr indent="0">
              <a:buFont typeface="+mj-lt"/>
              <a:buNone/>
            </a:pPr>
            <a:r>
              <a:rPr lang="en-GB" sz="1200" b="1" dirty="0">
                <a:latin typeface="Arial" panose="020B0604020202020204" pitchFamily="34" charset="0"/>
                <a:cs typeface="Arial" panose="020B0604020202020204" pitchFamily="34" charset="0"/>
                <a:sym typeface="+mn-ea"/>
              </a:rPr>
              <a:t>     </a:t>
            </a:r>
            <a:r>
              <a:rPr lang="en-GB" sz="1200" b="1" dirty="0" err="1">
                <a:latin typeface="Arial" panose="020B0604020202020204" pitchFamily="34" charset="0"/>
                <a:cs typeface="Arial" panose="020B0604020202020204" pitchFamily="34" charset="0"/>
                <a:sym typeface="+mn-ea"/>
              </a:rPr>
              <a:t>从爱思唯尔图书中提取的</a:t>
            </a:r>
            <a:endParaRPr lang="en-GB" sz="1200" b="1" dirty="0">
              <a:latin typeface="Arial" panose="020B0604020202020204" pitchFamily="34" charset="0"/>
              <a:cs typeface="Arial" panose="020B0604020202020204" pitchFamily="34" charset="0"/>
              <a:sym typeface="+mn-ea"/>
            </a:endParaRPr>
          </a:p>
          <a:p>
            <a:pPr indent="0">
              <a:buFont typeface="+mj-lt"/>
              <a:buNone/>
            </a:pPr>
            <a:r>
              <a:rPr lang="en-GB" sz="1200" b="1" dirty="0">
                <a:latin typeface="Arial" panose="020B0604020202020204" pitchFamily="34" charset="0"/>
                <a:cs typeface="Arial" panose="020B0604020202020204" pitchFamily="34" charset="0"/>
                <a:sym typeface="+mn-ea"/>
              </a:rPr>
              <a:t>     定义</a:t>
            </a:r>
            <a:endParaRPr lang="en-US" sz="1200" b="1" dirty="0">
              <a:latin typeface="Arial" panose="020B0604020202020204" pitchFamily="34" charset="0"/>
              <a:cs typeface="Arial" panose="020B0604020202020204" pitchFamily="34" charset="0"/>
            </a:endParaRPr>
          </a:p>
          <a:p>
            <a:pPr marL="228600" indent="-228600">
              <a:buFont typeface="+mj-lt"/>
              <a:buAutoNum type="arabicPeriod"/>
            </a:pPr>
            <a:endParaRPr lang="en-GB" sz="1200" b="1" dirty="0">
              <a:latin typeface="Arial" panose="020B0604020202020204" pitchFamily="34" charset="0"/>
              <a:cs typeface="Arial" panose="020B0604020202020204" pitchFamily="34" charset="0"/>
            </a:endParaRPr>
          </a:p>
          <a:p>
            <a:pPr marL="228600" indent="-228600">
              <a:buFont typeface="+mj-lt"/>
              <a:buAutoNum type="arabicPeriod"/>
            </a:pPr>
            <a:r>
              <a:rPr lang="en-GB" sz="1200" b="1" dirty="0">
                <a:latin typeface="Arial" panose="020B0604020202020204" pitchFamily="34" charset="0"/>
                <a:cs typeface="Arial" panose="020B0604020202020204" pitchFamily="34" charset="0"/>
              </a:rPr>
              <a:t>Related terms with hyperlinks to explore.</a:t>
            </a:r>
            <a:endParaRPr lang="en-GB" sz="1200" b="1" dirty="0">
              <a:latin typeface="Arial" panose="020B0604020202020204" pitchFamily="34" charset="0"/>
              <a:cs typeface="Arial" panose="020B0604020202020204" pitchFamily="34" charset="0"/>
            </a:endParaRPr>
          </a:p>
          <a:p>
            <a:pPr algn="l">
              <a:buFont typeface="+mj-lt"/>
              <a:buNone/>
            </a:pPr>
            <a:r>
              <a:rPr lang="zh-CN" altLang="en-US" sz="1200" b="1" dirty="0">
                <a:latin typeface="Arial" panose="020B0604020202020204" pitchFamily="34" charset="0"/>
                <a:cs typeface="Arial" panose="020B0604020202020204" pitchFamily="34" charset="0"/>
                <a:sym typeface="+mn-ea"/>
              </a:rPr>
              <a:t>     </a:t>
            </a:r>
            <a:r>
              <a:rPr lang="en-GB" sz="1200" b="1" dirty="0">
                <a:latin typeface="Arial" panose="020B0604020202020204" pitchFamily="34" charset="0"/>
                <a:cs typeface="Arial" panose="020B0604020202020204" pitchFamily="34" charset="0"/>
                <a:sym typeface="+mn-ea"/>
              </a:rPr>
              <a:t>链接到相关术语进行深入</a:t>
            </a:r>
            <a:endParaRPr lang="en-GB" sz="1200" b="1" dirty="0">
              <a:latin typeface="Arial" panose="020B0604020202020204" pitchFamily="34" charset="0"/>
              <a:cs typeface="Arial" panose="020B0604020202020204" pitchFamily="34" charset="0"/>
              <a:sym typeface="+mn-ea"/>
            </a:endParaRPr>
          </a:p>
          <a:p>
            <a:pPr algn="l">
              <a:buFont typeface="+mj-lt"/>
              <a:buNone/>
            </a:pPr>
            <a:r>
              <a:rPr lang="en-GB" sz="1200" b="1" dirty="0">
                <a:latin typeface="Arial" panose="020B0604020202020204" pitchFamily="34" charset="0"/>
                <a:cs typeface="Arial" panose="020B0604020202020204" pitchFamily="34" charset="0"/>
                <a:sym typeface="+mn-ea"/>
              </a:rPr>
              <a:t>     探索</a:t>
            </a:r>
            <a:endParaRPr lang="en-US" sz="1200" b="1" dirty="0">
              <a:latin typeface="Arial" panose="020B0604020202020204" pitchFamily="34" charset="0"/>
              <a:cs typeface="Arial" panose="020B0604020202020204" pitchFamily="34" charset="0"/>
            </a:endParaRPr>
          </a:p>
          <a:p>
            <a:pPr marL="228600" indent="-228600">
              <a:buFont typeface="+mj-lt"/>
              <a:buAutoNum type="arabicPeriod"/>
            </a:pPr>
            <a:endParaRPr lang="en-GB" sz="1200" b="1" dirty="0">
              <a:latin typeface="Arial" panose="020B0604020202020204" pitchFamily="34" charset="0"/>
              <a:cs typeface="Arial" panose="020B0604020202020204" pitchFamily="34" charset="0"/>
            </a:endParaRPr>
          </a:p>
          <a:p>
            <a:pPr marL="228600" indent="-228600">
              <a:buFont typeface="+mj-lt"/>
              <a:buAutoNum type="arabicPeriod"/>
            </a:pPr>
            <a:r>
              <a:rPr lang="en-GB" sz="1200" b="1" dirty="0">
                <a:latin typeface="Arial" panose="020B0604020202020204" pitchFamily="34" charset="0"/>
                <a:cs typeface="Arial" panose="020B0604020202020204" pitchFamily="34" charset="0"/>
              </a:rPr>
              <a:t>Short extracts of the most relevant information that are often found deep within book chapters and links to the source books for further exploration.</a:t>
            </a:r>
            <a:endParaRPr lang="en-GB" sz="1200" b="1" dirty="0">
              <a:latin typeface="Arial" panose="020B0604020202020204" pitchFamily="34" charset="0"/>
              <a:cs typeface="Arial" panose="020B0604020202020204" pitchFamily="34" charset="0"/>
            </a:endParaRPr>
          </a:p>
          <a:p>
            <a:pPr indent="0">
              <a:buFont typeface="+mj-lt"/>
              <a:buNone/>
            </a:pPr>
            <a:r>
              <a:rPr lang="en-GB" sz="1200" b="1" dirty="0">
                <a:latin typeface="Arial" panose="020B0604020202020204" pitchFamily="34" charset="0"/>
                <a:cs typeface="Arial" panose="020B0604020202020204" pitchFamily="34" charset="0"/>
                <a:sym typeface="+mn-ea"/>
              </a:rPr>
              <a:t>    摘录最相关的信息，从图书</a:t>
            </a:r>
            <a:endParaRPr lang="en-GB" sz="1200" b="1" dirty="0">
              <a:latin typeface="Arial" panose="020B0604020202020204" pitchFamily="34" charset="0"/>
              <a:cs typeface="Arial" panose="020B0604020202020204" pitchFamily="34" charset="0"/>
              <a:sym typeface="+mn-ea"/>
            </a:endParaRPr>
          </a:p>
          <a:p>
            <a:pPr indent="0">
              <a:buFont typeface="+mj-lt"/>
              <a:buNone/>
            </a:pPr>
            <a:r>
              <a:rPr lang="en-GB" sz="1200" b="1" dirty="0">
                <a:latin typeface="Arial" panose="020B0604020202020204" pitchFamily="34" charset="0"/>
                <a:cs typeface="Arial" panose="020B0604020202020204" pitchFamily="34" charset="0"/>
                <a:sym typeface="+mn-ea"/>
              </a:rPr>
              <a:t>    章节中深度挖掘，并链接到</a:t>
            </a:r>
            <a:endParaRPr lang="en-GB" sz="1200" b="1" dirty="0">
              <a:latin typeface="Arial" panose="020B0604020202020204" pitchFamily="34" charset="0"/>
              <a:cs typeface="Arial" panose="020B0604020202020204" pitchFamily="34" charset="0"/>
              <a:sym typeface="+mn-ea"/>
            </a:endParaRPr>
          </a:p>
          <a:p>
            <a:pPr indent="0">
              <a:buFont typeface="+mj-lt"/>
              <a:buNone/>
            </a:pPr>
            <a:r>
              <a:rPr lang="en-GB" sz="1200" b="1" dirty="0">
                <a:latin typeface="Arial" panose="020B0604020202020204" pitchFamily="34" charset="0"/>
                <a:cs typeface="Arial" panose="020B0604020202020204" pitchFamily="34" charset="0"/>
                <a:sym typeface="+mn-ea"/>
              </a:rPr>
              <a:t>    来源图书，以便做进一步的</a:t>
            </a:r>
            <a:endParaRPr lang="en-GB" sz="1200" b="1" dirty="0">
              <a:latin typeface="Arial" panose="020B0604020202020204" pitchFamily="34" charset="0"/>
              <a:cs typeface="Arial" panose="020B0604020202020204" pitchFamily="34" charset="0"/>
              <a:sym typeface="+mn-ea"/>
            </a:endParaRPr>
          </a:p>
          <a:p>
            <a:pPr indent="0">
              <a:buFont typeface="+mj-lt"/>
              <a:buNone/>
            </a:pPr>
            <a:r>
              <a:rPr lang="en-GB" sz="1200" b="1" dirty="0">
                <a:latin typeface="Arial" panose="020B0604020202020204" pitchFamily="34" charset="0"/>
                <a:cs typeface="Arial" panose="020B0604020202020204" pitchFamily="34" charset="0"/>
                <a:sym typeface="+mn-ea"/>
              </a:rPr>
              <a:t>    研究</a:t>
            </a:r>
            <a:endParaRPr lang="en-GB" sz="1200" b="1" dirty="0">
              <a:latin typeface="Arial" panose="020B0604020202020204" pitchFamily="34" charset="0"/>
              <a:cs typeface="Arial" panose="020B0604020202020204" pitchFamily="34" charset="0"/>
            </a:endParaRPr>
          </a:p>
          <a:p>
            <a:pPr marL="228600" indent="-228600">
              <a:buFont typeface="+mj-lt"/>
              <a:buAutoNum type="arabicPeriod"/>
            </a:pPr>
            <a:endParaRPr lang="en-GB" sz="1200" b="1" dirty="0">
              <a:latin typeface="Arial" panose="020B0604020202020204" pitchFamily="34" charset="0"/>
              <a:cs typeface="Arial" panose="020B0604020202020204" pitchFamily="34" charset="0"/>
            </a:endParaRPr>
          </a:p>
          <a:p>
            <a:pPr indent="0">
              <a:buFont typeface="+mj-lt"/>
              <a:buNone/>
            </a:pPr>
            <a:r>
              <a:rPr lang="en-US" altLang="en-GB" sz="1200" b="1" dirty="0">
                <a:latin typeface="Arial" panose="020B0604020202020204" pitchFamily="34" charset="0"/>
                <a:cs typeface="Arial" panose="020B0604020202020204" pitchFamily="34" charset="0"/>
              </a:rPr>
              <a:t>4. </a:t>
            </a:r>
            <a:r>
              <a:rPr lang="en-GB" sz="1200" b="1" dirty="0">
                <a:latin typeface="Arial" panose="020B0604020202020204" pitchFamily="34" charset="0"/>
                <a:cs typeface="Arial" panose="020B0604020202020204" pitchFamily="34" charset="0"/>
              </a:rPr>
              <a:t>Discoverable through  </a:t>
            </a:r>
            <a:endParaRPr lang="en-GB" sz="1200" b="1" dirty="0">
              <a:latin typeface="Arial" panose="020B0604020202020204" pitchFamily="34" charset="0"/>
              <a:cs typeface="Arial" panose="020B0604020202020204" pitchFamily="34" charset="0"/>
            </a:endParaRPr>
          </a:p>
          <a:p>
            <a:pPr indent="0">
              <a:buFont typeface="+mj-lt"/>
              <a:buNone/>
            </a:pPr>
            <a:r>
              <a:rPr lang="en-GB" sz="1200" b="1" dirty="0">
                <a:latin typeface="Arial" panose="020B0604020202020204" pitchFamily="34" charset="0"/>
                <a:cs typeface="Arial" panose="020B0604020202020204" pitchFamily="34" charset="0"/>
              </a:rPr>
              <a:t>    search engines and free</a:t>
            </a:r>
            <a:endParaRPr lang="en-GB" sz="1200" b="1" dirty="0">
              <a:latin typeface="Arial" panose="020B0604020202020204" pitchFamily="34" charset="0"/>
              <a:cs typeface="Arial" panose="020B0604020202020204" pitchFamily="34" charset="0"/>
            </a:endParaRPr>
          </a:p>
          <a:p>
            <a:pPr indent="0">
              <a:buFont typeface="+mj-lt"/>
              <a:buNone/>
            </a:pPr>
            <a:r>
              <a:rPr lang="en-GB" sz="1200" b="1" dirty="0">
                <a:latin typeface="Arial" panose="020B0604020202020204" pitchFamily="34" charset="0"/>
                <a:cs typeface="Arial" panose="020B0604020202020204" pitchFamily="34" charset="0"/>
              </a:rPr>
              <a:t>    to access.</a:t>
            </a:r>
            <a:endParaRPr lang="en-GB" sz="1200" b="1" dirty="0">
              <a:latin typeface="Arial" panose="020B0604020202020204" pitchFamily="34" charset="0"/>
              <a:cs typeface="Arial" panose="020B0604020202020204" pitchFamily="34" charset="0"/>
            </a:endParaRPr>
          </a:p>
          <a:p>
            <a:pPr indent="0">
              <a:buFont typeface="+mj-lt"/>
              <a:buNone/>
            </a:pPr>
            <a:r>
              <a:rPr lang="en-US" sz="1200" b="1" dirty="0">
                <a:solidFill>
                  <a:schemeClr val="tx2"/>
                </a:solidFill>
                <a:latin typeface="Arial" panose="020B0604020202020204" pitchFamily="34" charset="0"/>
                <a:cs typeface="Arial" panose="020B0604020202020204" pitchFamily="34" charset="0"/>
              </a:rPr>
              <a:t>    </a:t>
            </a:r>
            <a:r>
              <a:rPr lang="en-GB" sz="1200" b="1" dirty="0">
                <a:latin typeface="Arial" panose="020B0604020202020204" pitchFamily="34" charset="0"/>
                <a:cs typeface="Arial" panose="020B0604020202020204" pitchFamily="34" charset="0"/>
                <a:sym typeface="+mn-ea"/>
              </a:rPr>
              <a:t>可通过搜索引擎发现并免费</a:t>
            </a:r>
            <a:endParaRPr lang="en-GB" sz="1200" b="1" dirty="0">
              <a:latin typeface="Arial" panose="020B0604020202020204" pitchFamily="34" charset="0"/>
              <a:cs typeface="Arial" panose="020B0604020202020204" pitchFamily="34" charset="0"/>
              <a:sym typeface="+mn-ea"/>
            </a:endParaRPr>
          </a:p>
          <a:p>
            <a:pPr indent="0">
              <a:buFont typeface="+mj-lt"/>
              <a:buNone/>
            </a:pPr>
            <a:r>
              <a:rPr lang="en-GB" sz="1200" b="1" dirty="0">
                <a:latin typeface="Arial" panose="020B0604020202020204" pitchFamily="34" charset="0"/>
                <a:cs typeface="Arial" panose="020B0604020202020204" pitchFamily="34" charset="0"/>
                <a:sym typeface="+mn-ea"/>
              </a:rPr>
              <a:t>    访问。</a:t>
            </a:r>
            <a:endParaRPr lang="en-US" sz="1200" b="1" dirty="0">
              <a:solidFill>
                <a:schemeClr val="tx2"/>
              </a:solidFill>
              <a:latin typeface="Arial" panose="020B0604020202020204" pitchFamily="34" charset="0"/>
              <a:cs typeface="Arial" panose="020B0604020202020204" pitchFamily="34" charset="0"/>
            </a:endParaRPr>
          </a:p>
        </p:txBody>
      </p:sp>
      <p:sp>
        <p:nvSpPr>
          <p:cNvPr id="14" name="Title 2"/>
          <p:cNvSpPr txBox="1"/>
          <p:nvPr/>
        </p:nvSpPr>
        <p:spPr>
          <a:xfrm>
            <a:off x="199038" y="913963"/>
            <a:ext cx="8974666" cy="41864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en-GB" sz="1600" dirty="0"/>
              <a:t>Science Direct Topics</a:t>
            </a:r>
            <a:endParaRPr lang="en-GB" sz="1600" dirty="0"/>
          </a:p>
          <a:p>
            <a:r>
              <a:rPr lang="en-US" altLang="en-GB" sz="1600" dirty="0"/>
              <a:t>Science Direct </a:t>
            </a:r>
            <a:r>
              <a:rPr lang="zh-CN" altLang="en-US" sz="1600" dirty="0"/>
              <a:t>主题</a:t>
            </a:r>
            <a:r>
              <a:rPr lang="en-GB" sz="1600" dirty="0"/>
              <a:t> </a:t>
            </a:r>
            <a:endParaRPr lang="en-GB" sz="1600" dirty="0"/>
          </a:p>
        </p:txBody>
      </p:sp>
      <p:cxnSp>
        <p:nvCxnSpPr>
          <p:cNvPr id="15" name="Straight Connector 14"/>
          <p:cNvCxnSpPr/>
          <p:nvPr/>
        </p:nvCxnSpPr>
        <p:spPr>
          <a:xfrm>
            <a:off x="553156" y="884188"/>
            <a:ext cx="7609038" cy="0"/>
          </a:xfrm>
          <a:prstGeom prst="line">
            <a:avLst/>
          </a:prstGeom>
          <a:ln w="25400" cmpd="sng">
            <a:solidFill>
              <a:schemeClr val="tx2"/>
            </a:solidFill>
          </a:ln>
        </p:spPr>
        <p:style>
          <a:lnRef idx="2">
            <a:schemeClr val="accent1"/>
          </a:lnRef>
          <a:fillRef idx="0">
            <a:schemeClr val="accent1"/>
          </a:fillRef>
          <a:effectRef idx="1">
            <a:schemeClr val="accent1"/>
          </a:effectRef>
          <a:fontRef idx="minor">
            <a:schemeClr val="tx1"/>
          </a:fontRef>
        </p:style>
      </p:cxnSp>
      <p:sp>
        <p:nvSpPr>
          <p:cNvPr id="16" name="Oval 15"/>
          <p:cNvSpPr/>
          <p:nvPr/>
        </p:nvSpPr>
        <p:spPr>
          <a:xfrm>
            <a:off x="6912601" y="1482241"/>
            <a:ext cx="275450" cy="258949"/>
          </a:xfrm>
          <a:prstGeom prst="ellipse">
            <a:avLst/>
          </a:prstGeom>
          <a:solidFill>
            <a:schemeClr val="bg2"/>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marL="0" marR="0" algn="ctr">
              <a:spcBef>
                <a:spcPts val="0"/>
              </a:spcBef>
              <a:spcAft>
                <a:spcPts val="0"/>
              </a:spcAft>
            </a:pPr>
            <a:r>
              <a:rPr lang="en-US" sz="1000" b="1" dirty="0">
                <a:solidFill>
                  <a:schemeClr val="tx2"/>
                </a:solidFill>
                <a:effectLst/>
                <a:latin typeface="Arial" panose="020B0604020202020204" pitchFamily="34" charset="0"/>
                <a:ea typeface="Times New Roman" panose="02020603050405020304" pitchFamily="18" charset="0"/>
              </a:rPr>
              <a:t>1 </a:t>
            </a:r>
            <a:endParaRPr lang="en-US" sz="1000" dirty="0">
              <a:solidFill>
                <a:schemeClr val="tx2"/>
              </a:solidFill>
              <a:effectLst/>
              <a:latin typeface="Times New Roman" panose="02020603050405020304" pitchFamily="18" charset="0"/>
              <a:ea typeface="Times New Roman" panose="02020603050405020304" pitchFamily="18" charset="0"/>
            </a:endParaRPr>
          </a:p>
        </p:txBody>
      </p:sp>
      <p:sp>
        <p:nvSpPr>
          <p:cNvPr id="17" name="Oval 16"/>
          <p:cNvSpPr/>
          <p:nvPr/>
        </p:nvSpPr>
        <p:spPr>
          <a:xfrm>
            <a:off x="6920289" y="2370052"/>
            <a:ext cx="275450" cy="258949"/>
          </a:xfrm>
          <a:prstGeom prst="ellipse">
            <a:avLst/>
          </a:prstGeom>
          <a:solidFill>
            <a:schemeClr val="bg2"/>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noAutofit/>
          </a:bodyPr>
          <a:lstStyle/>
          <a:p>
            <a:pPr marL="0" marR="0" algn="ctr">
              <a:spcBef>
                <a:spcPts val="0"/>
              </a:spcBef>
              <a:spcAft>
                <a:spcPts val="0"/>
              </a:spcAft>
            </a:pPr>
            <a:r>
              <a:rPr lang="en-US" sz="1000" b="1" dirty="0">
                <a:solidFill>
                  <a:schemeClr val="tx2"/>
                </a:solidFill>
                <a:effectLst/>
                <a:latin typeface="Arial" panose="020B0604020202020204" pitchFamily="34" charset="0"/>
                <a:ea typeface="Times New Roman" panose="02020603050405020304" pitchFamily="18" charset="0"/>
              </a:rPr>
              <a:t>2 </a:t>
            </a:r>
            <a:endParaRPr lang="en-US" sz="1000" dirty="0">
              <a:solidFill>
                <a:schemeClr val="tx2"/>
              </a:solidFill>
              <a:effectLst/>
              <a:latin typeface="Times New Roman" panose="02020603050405020304" pitchFamily="18" charset="0"/>
              <a:ea typeface="Times New Roman" panose="02020603050405020304" pitchFamily="18" charset="0"/>
            </a:endParaRPr>
          </a:p>
        </p:txBody>
      </p:sp>
      <p:sp>
        <p:nvSpPr>
          <p:cNvPr id="18" name="Oval 17"/>
          <p:cNvSpPr/>
          <p:nvPr/>
        </p:nvSpPr>
        <p:spPr>
          <a:xfrm>
            <a:off x="6933872" y="3306177"/>
            <a:ext cx="275450" cy="258949"/>
          </a:xfrm>
          <a:prstGeom prst="ellipse">
            <a:avLst/>
          </a:prstGeom>
          <a:solidFill>
            <a:schemeClr val="bg2"/>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noAutofit/>
          </a:bodyPr>
          <a:lstStyle/>
          <a:p>
            <a:pPr marL="0" marR="0" algn="ctr">
              <a:spcBef>
                <a:spcPts val="0"/>
              </a:spcBef>
              <a:spcAft>
                <a:spcPts val="0"/>
              </a:spcAft>
            </a:pPr>
            <a:r>
              <a:rPr lang="en-US" sz="1000" b="1" dirty="0">
                <a:solidFill>
                  <a:schemeClr val="tx2"/>
                </a:solidFill>
                <a:effectLst/>
                <a:latin typeface="Arial" panose="020B0604020202020204" pitchFamily="34" charset="0"/>
                <a:ea typeface="Times New Roman" panose="02020603050405020304" pitchFamily="18" charset="0"/>
              </a:rPr>
              <a:t>3 </a:t>
            </a:r>
            <a:endParaRPr lang="en-US" sz="1000" dirty="0">
              <a:solidFill>
                <a:schemeClr val="tx2"/>
              </a:solidFill>
              <a:effectLst/>
              <a:latin typeface="Times New Roman" panose="02020603050405020304" pitchFamily="18" charset="0"/>
              <a:ea typeface="Times New Roman" panose="02020603050405020304" pitchFamily="18" charset="0"/>
            </a:endParaRPr>
          </a:p>
        </p:txBody>
      </p:sp>
      <p:pic>
        <p:nvPicPr>
          <p:cNvPr id="19" name="Picture 18"/>
          <p:cNvPicPr>
            <a:picLocks noChangeAspect="1"/>
          </p:cNvPicPr>
          <p:nvPr/>
        </p:nvPicPr>
        <p:blipFill>
          <a:blip r:embed="rId1"/>
          <a:stretch>
            <a:fillRect/>
          </a:stretch>
        </p:blipFill>
        <p:spPr>
          <a:xfrm>
            <a:off x="79023" y="1498492"/>
            <a:ext cx="6735663" cy="5061426"/>
          </a:xfrm>
          <a:prstGeom prst="rect">
            <a:avLst/>
          </a:prstGeom>
          <a:ln>
            <a:solidFill>
              <a:schemeClr val="tx1"/>
            </a:solidFill>
          </a:ln>
          <a:effectLst>
            <a:glow rad="63500">
              <a:schemeClr val="accent1">
                <a:satMod val="175000"/>
                <a:alpha val="40000"/>
              </a:schemeClr>
            </a:glow>
          </a:effectLst>
        </p:spPr>
      </p:pic>
      <p:sp>
        <p:nvSpPr>
          <p:cNvPr id="20" name="Oval 19"/>
          <p:cNvSpPr/>
          <p:nvPr/>
        </p:nvSpPr>
        <p:spPr>
          <a:xfrm>
            <a:off x="1876985" y="2339759"/>
            <a:ext cx="275450" cy="258949"/>
          </a:xfrm>
          <a:prstGeom prst="ellipse">
            <a:avLst/>
          </a:prstGeom>
          <a:solidFill>
            <a:schemeClr val="bg2"/>
          </a:solidFill>
          <a:ln w="12700"/>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p>
            <a:pPr marL="0" marR="0" algn="ctr">
              <a:spcBef>
                <a:spcPts val="0"/>
              </a:spcBef>
              <a:spcAft>
                <a:spcPts val="0"/>
              </a:spcAft>
            </a:pPr>
            <a:r>
              <a:rPr lang="en-US" sz="1000" b="1" dirty="0">
                <a:solidFill>
                  <a:schemeClr val="tx2"/>
                </a:solidFill>
                <a:effectLst/>
                <a:latin typeface="Arial" panose="020B0604020202020204" pitchFamily="34" charset="0"/>
                <a:ea typeface="Times New Roman" panose="02020603050405020304" pitchFamily="18" charset="0"/>
              </a:rPr>
              <a:t>1</a:t>
            </a:r>
            <a:endParaRPr lang="en-US" sz="1000" dirty="0">
              <a:solidFill>
                <a:schemeClr val="tx2"/>
              </a:solidFill>
              <a:effectLst/>
              <a:latin typeface="Times New Roman" panose="02020603050405020304" pitchFamily="18" charset="0"/>
              <a:ea typeface="Times New Roman" panose="02020603050405020304" pitchFamily="18" charset="0"/>
            </a:endParaRPr>
          </a:p>
        </p:txBody>
      </p:sp>
      <p:sp>
        <p:nvSpPr>
          <p:cNvPr id="21" name="Oval 20"/>
          <p:cNvSpPr/>
          <p:nvPr/>
        </p:nvSpPr>
        <p:spPr>
          <a:xfrm>
            <a:off x="5956158" y="2359957"/>
            <a:ext cx="275450" cy="258949"/>
          </a:xfrm>
          <a:prstGeom prst="ellipse">
            <a:avLst/>
          </a:prstGeom>
          <a:solidFill>
            <a:schemeClr val="bg2"/>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noAutofit/>
          </a:bodyPr>
          <a:lstStyle/>
          <a:p>
            <a:pPr marL="0" marR="0" algn="ctr">
              <a:spcBef>
                <a:spcPts val="0"/>
              </a:spcBef>
              <a:spcAft>
                <a:spcPts val="0"/>
              </a:spcAft>
            </a:pPr>
            <a:r>
              <a:rPr lang="en-US" sz="1000" b="1" dirty="0">
                <a:solidFill>
                  <a:schemeClr val="tx2"/>
                </a:solidFill>
                <a:effectLst/>
                <a:latin typeface="Arial" panose="020B0604020202020204" pitchFamily="34" charset="0"/>
                <a:ea typeface="Times New Roman" panose="02020603050405020304" pitchFamily="18" charset="0"/>
              </a:rPr>
              <a:t>2 </a:t>
            </a:r>
            <a:endParaRPr lang="en-US" sz="1000" dirty="0">
              <a:solidFill>
                <a:schemeClr val="tx2"/>
              </a:solidFill>
              <a:effectLst/>
              <a:latin typeface="Times New Roman" panose="02020603050405020304" pitchFamily="18" charset="0"/>
              <a:ea typeface="Times New Roman" panose="02020603050405020304" pitchFamily="18" charset="0"/>
            </a:endParaRPr>
          </a:p>
        </p:txBody>
      </p:sp>
      <p:sp>
        <p:nvSpPr>
          <p:cNvPr id="22" name="Oval 21"/>
          <p:cNvSpPr/>
          <p:nvPr/>
        </p:nvSpPr>
        <p:spPr>
          <a:xfrm>
            <a:off x="2668276" y="3899730"/>
            <a:ext cx="275450" cy="258949"/>
          </a:xfrm>
          <a:prstGeom prst="ellipse">
            <a:avLst/>
          </a:prstGeom>
          <a:solidFill>
            <a:schemeClr val="bg2"/>
          </a:solidFill>
          <a:ln w="12700" cap="flat" cmpd="sng" algn="ctr">
            <a:solidFill>
              <a:srgbClr val="5B9BD5">
                <a:shade val="50000"/>
              </a:srgbClr>
            </a:solidFill>
            <a:prstDash val="solid"/>
            <a:miter lim="800000"/>
          </a:ln>
          <a:effectLst/>
        </p:spPr>
        <p:txBody>
          <a:bodyPr rot="0" spcFirstLastPara="0" vert="horz" wrap="square" lIns="91440" tIns="45720" rIns="91440" bIns="45720" numCol="1" spcCol="0" rtlCol="0" fromWordArt="0" anchor="ctr" anchorCtr="0" forceAA="0" compatLnSpc="1">
            <a:noAutofit/>
          </a:bodyPr>
          <a:lstStyle/>
          <a:p>
            <a:pPr marL="0" marR="0" algn="ctr">
              <a:spcBef>
                <a:spcPts val="0"/>
              </a:spcBef>
              <a:spcAft>
                <a:spcPts val="0"/>
              </a:spcAft>
            </a:pPr>
            <a:r>
              <a:rPr lang="en-US" sz="1000" b="1" dirty="0">
                <a:solidFill>
                  <a:schemeClr val="tx2"/>
                </a:solidFill>
                <a:effectLst/>
                <a:latin typeface="Arial" panose="020B0604020202020204" pitchFamily="34" charset="0"/>
                <a:ea typeface="Times New Roman" panose="02020603050405020304" pitchFamily="18" charset="0"/>
              </a:rPr>
              <a:t>3 </a:t>
            </a:r>
            <a:endParaRPr lang="en-US" sz="1000" dirty="0">
              <a:solidFill>
                <a:schemeClr val="tx2"/>
              </a:solidFill>
              <a:effectLst/>
              <a:latin typeface="Times New Roman" panose="02020603050405020304" pitchFamily="18" charset="0"/>
              <a:ea typeface="Times New Roman" panose="02020603050405020304" pitchFamily="18" charset="0"/>
            </a:endParaRPr>
          </a:p>
        </p:txBody>
      </p:sp>
      <p:sp>
        <p:nvSpPr>
          <p:cNvPr id="13" name="Title 1"/>
          <p:cNvSpPr txBox="1"/>
          <p:nvPr/>
        </p:nvSpPr>
        <p:spPr>
          <a:xfrm>
            <a:off x="423296" y="438286"/>
            <a:ext cx="8974455" cy="568960"/>
          </a:xfrm>
          <a:prstGeom prst="rect">
            <a:avLst/>
          </a:prstGeom>
        </p:spPr>
        <p:txBody>
          <a:bodyPr/>
          <a:lstStyle>
            <a:lvl1pPr algn="l" defTabSz="457200" rtl="0" eaLnBrk="1" latinLnBrk="0" hangingPunct="1">
              <a:spcBef>
                <a:spcPct val="0"/>
              </a:spcBef>
              <a:buNone/>
              <a:defRPr sz="2000" kern="1200">
                <a:solidFill>
                  <a:schemeClr val="tx2"/>
                </a:solidFill>
                <a:latin typeface="+mj-lt"/>
                <a:ea typeface="+mj-ea"/>
                <a:cs typeface="+mj-cs"/>
              </a:defRPr>
            </a:lvl1pPr>
          </a:lstStyle>
          <a:p>
            <a:r>
              <a:rPr lang="zh-CN" altLang="en-US" sz="2200" b="1" dirty="0">
                <a:solidFill>
                  <a:schemeClr val="accent1"/>
                </a:solidFill>
              </a:rPr>
              <a:t>转型后提供什么</a:t>
            </a:r>
            <a:endParaRPr lang="zh-CN" altLang="en-US" sz="2200" b="1" dirty="0">
              <a:solidFill>
                <a:schemeClr val="accent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p:nvPr/>
        </p:nvSpPr>
        <p:spPr>
          <a:xfrm>
            <a:off x="6248400" y="6944756"/>
            <a:ext cx="2743200" cy="152400"/>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EAAC58B-68AA-467C-8383-E8241D15D49A}" type="slidenum">
              <a:rPr lang="en-GB" smtClean="0">
                <a:solidFill>
                  <a:srgbClr val="FFFFFF"/>
                </a:solidFill>
              </a:rPr>
            </a:fld>
            <a:endParaRPr lang="en-GB" dirty="0">
              <a:solidFill>
                <a:srgbClr val="FFFFFF"/>
              </a:solidFill>
            </a:endParaRPr>
          </a:p>
        </p:txBody>
      </p:sp>
      <p:pic>
        <p:nvPicPr>
          <p:cNvPr id="16" name="Picture 15"/>
          <p:cNvPicPr>
            <a:picLocks noChangeAspect="1"/>
          </p:cNvPicPr>
          <p:nvPr/>
        </p:nvPicPr>
        <p:blipFill rotWithShape="1">
          <a:blip r:embed="rId1"/>
          <a:srcRect l="454" t="1" r="38524" b="39164"/>
          <a:stretch>
            <a:fillRect/>
          </a:stretch>
        </p:blipFill>
        <p:spPr>
          <a:xfrm>
            <a:off x="4225490" y="1184585"/>
            <a:ext cx="2437371" cy="2011002"/>
          </a:xfrm>
          <a:prstGeom prst="rect">
            <a:avLst/>
          </a:prstGeom>
          <a:ln>
            <a:solidFill>
              <a:schemeClr val="tx1"/>
            </a:solidFill>
          </a:ln>
          <a:effectLst>
            <a:outerShdw blurRad="63500" sx="102000" sy="102000" algn="ctr" rotWithShape="0">
              <a:prstClr val="black">
                <a:alpha val="40000"/>
              </a:prstClr>
            </a:outerShdw>
          </a:effectLst>
        </p:spPr>
      </p:pic>
      <p:pic>
        <p:nvPicPr>
          <p:cNvPr id="8" name="Picture 7"/>
          <p:cNvPicPr>
            <a:picLocks noChangeAspect="1"/>
          </p:cNvPicPr>
          <p:nvPr/>
        </p:nvPicPr>
        <p:blipFill>
          <a:blip r:embed="rId2"/>
          <a:stretch>
            <a:fillRect/>
          </a:stretch>
        </p:blipFill>
        <p:spPr>
          <a:xfrm>
            <a:off x="7112335" y="3195587"/>
            <a:ext cx="1970016" cy="2545931"/>
          </a:xfrm>
          <a:prstGeom prst="rect">
            <a:avLst/>
          </a:prstGeom>
          <a:ln>
            <a:solidFill>
              <a:schemeClr val="tx1"/>
            </a:solidFill>
          </a:ln>
          <a:effectLst>
            <a:outerShdw blurRad="63500" sx="102000" sy="102000" algn="ctr" rotWithShape="0">
              <a:prstClr val="black">
                <a:alpha val="40000"/>
              </a:prstClr>
            </a:outerShdw>
          </a:effectLst>
        </p:spPr>
      </p:pic>
      <p:pic>
        <p:nvPicPr>
          <p:cNvPr id="20" name="Picture 19"/>
          <p:cNvPicPr>
            <a:picLocks noChangeAspect="1"/>
          </p:cNvPicPr>
          <p:nvPr/>
        </p:nvPicPr>
        <p:blipFill rotWithShape="1">
          <a:blip r:embed="rId3"/>
          <a:srcRect l="26646" t="28894" r="27511" b="5529"/>
          <a:stretch>
            <a:fillRect/>
          </a:stretch>
        </p:blipFill>
        <p:spPr>
          <a:xfrm>
            <a:off x="133886" y="3195587"/>
            <a:ext cx="2150978" cy="2597388"/>
          </a:xfrm>
          <a:prstGeom prst="rect">
            <a:avLst/>
          </a:prstGeom>
          <a:ln>
            <a:solidFill>
              <a:schemeClr val="tx1"/>
            </a:solidFill>
          </a:ln>
          <a:effectLst>
            <a:outerShdw blurRad="63500" sx="102000" sy="102000" algn="ctr" rotWithShape="0">
              <a:prstClr val="black">
                <a:alpha val="40000"/>
              </a:prstClr>
            </a:outerShdw>
          </a:effectLst>
        </p:spPr>
      </p:pic>
      <p:pic>
        <p:nvPicPr>
          <p:cNvPr id="22" name="Picture 3"/>
          <p:cNvPicPr>
            <a:picLocks noChangeAspect="1" noChangeArrowheads="1"/>
          </p:cNvPicPr>
          <p:nvPr/>
        </p:nvPicPr>
        <p:blipFill>
          <a:blip r:embed="rId4"/>
          <a:srcRect/>
          <a:stretch>
            <a:fillRect/>
          </a:stretch>
        </p:blipFill>
        <p:spPr bwMode="auto">
          <a:xfrm>
            <a:off x="258066" y="4243599"/>
            <a:ext cx="2266184" cy="2153844"/>
          </a:xfrm>
          <a:prstGeom prst="rect">
            <a:avLst/>
          </a:prstGeom>
          <a:noFill/>
          <a:ln>
            <a:noFill/>
          </a:ln>
          <a:effectLst>
            <a:outerShdw blurRad="63500" sx="102000" sy="102000" algn="ctr"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3" name="Picture 22"/>
          <p:cNvPicPr>
            <a:picLocks noChangeAspect="1"/>
          </p:cNvPicPr>
          <p:nvPr/>
        </p:nvPicPr>
        <p:blipFill rotWithShape="1">
          <a:blip r:embed="rId5"/>
          <a:srcRect l="21348" t="21010" r="29565" b="7452"/>
          <a:stretch>
            <a:fillRect/>
          </a:stretch>
        </p:blipFill>
        <p:spPr>
          <a:xfrm>
            <a:off x="6911764" y="4781539"/>
            <a:ext cx="1905821" cy="1561598"/>
          </a:xfrm>
          <a:prstGeom prst="rect">
            <a:avLst/>
          </a:prstGeom>
          <a:ln>
            <a:solidFill>
              <a:schemeClr val="tx1"/>
            </a:solidFill>
          </a:ln>
          <a:effectLst>
            <a:outerShdw blurRad="63500" sx="102000" sy="102000" algn="ctr" rotWithShape="0">
              <a:prstClr val="black">
                <a:alpha val="40000"/>
              </a:prstClr>
            </a:outerShdw>
          </a:effectLst>
        </p:spPr>
      </p:pic>
      <p:pic>
        <p:nvPicPr>
          <p:cNvPr id="18" name="Picture 17"/>
          <p:cNvPicPr>
            <a:picLocks noChangeAspect="1"/>
          </p:cNvPicPr>
          <p:nvPr/>
        </p:nvPicPr>
        <p:blipFill>
          <a:blip r:embed="rId6"/>
          <a:stretch>
            <a:fillRect/>
          </a:stretch>
        </p:blipFill>
        <p:spPr>
          <a:xfrm>
            <a:off x="2929716" y="3357558"/>
            <a:ext cx="3787356" cy="2875951"/>
          </a:xfrm>
          <a:prstGeom prst="rect">
            <a:avLst/>
          </a:prstGeom>
          <a:ln>
            <a:solidFill>
              <a:schemeClr val="tx1">
                <a:lumMod val="50000"/>
              </a:schemeClr>
            </a:solidFill>
          </a:ln>
          <a:effectLst>
            <a:innerShdw blurRad="114300">
              <a:prstClr val="black"/>
            </a:innerShdw>
          </a:effectLst>
        </p:spPr>
      </p:pic>
      <p:sp>
        <p:nvSpPr>
          <p:cNvPr id="24" name="Right Arrow 23"/>
          <p:cNvSpPr/>
          <p:nvPr/>
        </p:nvSpPr>
        <p:spPr>
          <a:xfrm>
            <a:off x="1994294" y="5161584"/>
            <a:ext cx="601755" cy="317874"/>
          </a:xfrm>
          <a:prstGeom prst="rightArrow">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endParaRPr>
          </a:p>
        </p:txBody>
      </p:sp>
      <p:sp>
        <p:nvSpPr>
          <p:cNvPr id="25" name="Right Arrow 24"/>
          <p:cNvSpPr/>
          <p:nvPr/>
        </p:nvSpPr>
        <p:spPr>
          <a:xfrm>
            <a:off x="6777908" y="4456159"/>
            <a:ext cx="601755" cy="31787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endParaRPr>
          </a:p>
        </p:txBody>
      </p:sp>
      <p:sp>
        <p:nvSpPr>
          <p:cNvPr id="31" name="Right Arrow 30"/>
          <p:cNvSpPr/>
          <p:nvPr/>
        </p:nvSpPr>
        <p:spPr>
          <a:xfrm>
            <a:off x="6750621" y="5540684"/>
            <a:ext cx="601755" cy="31787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endParaRPr>
          </a:p>
        </p:txBody>
      </p:sp>
      <p:sp>
        <p:nvSpPr>
          <p:cNvPr id="27" name="Right Arrow 26"/>
          <p:cNvSpPr/>
          <p:nvPr/>
        </p:nvSpPr>
        <p:spPr>
          <a:xfrm>
            <a:off x="2267125" y="4505307"/>
            <a:ext cx="601755" cy="31787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endParaRPr>
          </a:p>
        </p:txBody>
      </p:sp>
      <p:sp>
        <p:nvSpPr>
          <p:cNvPr id="30" name="Right Arrow 29"/>
          <p:cNvSpPr/>
          <p:nvPr/>
        </p:nvSpPr>
        <p:spPr>
          <a:xfrm>
            <a:off x="2239984" y="5615178"/>
            <a:ext cx="601755" cy="31787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endParaRPr>
          </a:p>
        </p:txBody>
      </p:sp>
      <p:pic>
        <p:nvPicPr>
          <p:cNvPr id="28" name="Picture 27"/>
          <p:cNvPicPr>
            <a:picLocks noChangeAspect="1"/>
          </p:cNvPicPr>
          <p:nvPr/>
        </p:nvPicPr>
        <p:blipFill>
          <a:blip r:embed="rId7"/>
          <a:stretch>
            <a:fillRect/>
          </a:stretch>
        </p:blipFill>
        <p:spPr>
          <a:xfrm>
            <a:off x="3388145" y="1025904"/>
            <a:ext cx="2407867" cy="2018879"/>
          </a:xfrm>
          <a:prstGeom prst="rect">
            <a:avLst/>
          </a:prstGeom>
          <a:effectLst>
            <a:outerShdw blurRad="63500" sx="102000" sy="102000" algn="ctr" rotWithShape="0">
              <a:prstClr val="black">
                <a:alpha val="40000"/>
              </a:prstClr>
            </a:outerShdw>
          </a:effectLst>
        </p:spPr>
      </p:pic>
      <p:sp>
        <p:nvSpPr>
          <p:cNvPr id="34" name="Title 2"/>
          <p:cNvSpPr txBox="1"/>
          <p:nvPr/>
        </p:nvSpPr>
        <p:spPr>
          <a:xfrm>
            <a:off x="199038" y="913963"/>
            <a:ext cx="8974666" cy="41864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en-GB" sz="1600" dirty="0"/>
              <a:t>Science Direct Topics</a:t>
            </a:r>
            <a:endParaRPr lang="en-GB" sz="1600" dirty="0"/>
          </a:p>
          <a:p>
            <a:r>
              <a:rPr lang="en-US" altLang="en-GB" sz="1600" dirty="0"/>
              <a:t>Science Direct </a:t>
            </a:r>
            <a:r>
              <a:rPr lang="zh-CN" altLang="en-US" sz="1600" dirty="0"/>
              <a:t>主题</a:t>
            </a:r>
            <a:r>
              <a:rPr lang="en-GB" sz="1600" dirty="0"/>
              <a:t> </a:t>
            </a:r>
            <a:endParaRPr lang="en-GB" sz="1600" dirty="0"/>
          </a:p>
        </p:txBody>
      </p:sp>
      <p:cxnSp>
        <p:nvCxnSpPr>
          <p:cNvPr id="35" name="Straight Connector 34"/>
          <p:cNvCxnSpPr/>
          <p:nvPr/>
        </p:nvCxnSpPr>
        <p:spPr>
          <a:xfrm>
            <a:off x="553156" y="884188"/>
            <a:ext cx="7609038" cy="0"/>
          </a:xfrm>
          <a:prstGeom prst="line">
            <a:avLst/>
          </a:prstGeom>
          <a:ln w="25400" cmpd="sng">
            <a:solidFill>
              <a:schemeClr val="tx2"/>
            </a:solidFill>
          </a:ln>
        </p:spPr>
        <p:style>
          <a:lnRef idx="2">
            <a:schemeClr val="accent1"/>
          </a:lnRef>
          <a:fillRef idx="0">
            <a:schemeClr val="accent1"/>
          </a:fillRef>
          <a:effectRef idx="1">
            <a:schemeClr val="accent1"/>
          </a:effectRef>
          <a:fontRef idx="minor">
            <a:schemeClr val="tx1"/>
          </a:fontRef>
        </p:style>
      </p:cxnSp>
      <p:sp>
        <p:nvSpPr>
          <p:cNvPr id="9" name="Right Arrow 8"/>
          <p:cNvSpPr/>
          <p:nvPr/>
        </p:nvSpPr>
        <p:spPr>
          <a:xfrm rot="5400000">
            <a:off x="5121593" y="2837326"/>
            <a:ext cx="601755" cy="31787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endParaRPr>
          </a:p>
        </p:txBody>
      </p:sp>
      <p:sp>
        <p:nvSpPr>
          <p:cNvPr id="29" name="Right Arrow 28"/>
          <p:cNvSpPr/>
          <p:nvPr/>
        </p:nvSpPr>
        <p:spPr>
          <a:xfrm rot="5400000">
            <a:off x="3852252" y="2838984"/>
            <a:ext cx="601755" cy="31787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endParaRPr>
          </a:p>
        </p:txBody>
      </p:sp>
      <p:sp>
        <p:nvSpPr>
          <p:cNvPr id="21" name="Title 1"/>
          <p:cNvSpPr txBox="1"/>
          <p:nvPr/>
        </p:nvSpPr>
        <p:spPr>
          <a:xfrm>
            <a:off x="423296" y="438286"/>
            <a:ext cx="8974455" cy="568960"/>
          </a:xfrm>
          <a:prstGeom prst="rect">
            <a:avLst/>
          </a:prstGeom>
        </p:spPr>
        <p:txBody>
          <a:bodyPr/>
          <a:lstStyle>
            <a:lvl1pPr algn="l" defTabSz="457200" rtl="0" eaLnBrk="1" latinLnBrk="0" hangingPunct="1">
              <a:spcBef>
                <a:spcPct val="0"/>
              </a:spcBef>
              <a:buNone/>
              <a:defRPr sz="2000" kern="1200">
                <a:solidFill>
                  <a:schemeClr val="tx2"/>
                </a:solidFill>
                <a:latin typeface="+mj-lt"/>
                <a:ea typeface="+mj-ea"/>
                <a:cs typeface="+mj-cs"/>
              </a:defRPr>
            </a:lvl1pPr>
          </a:lstStyle>
          <a:p>
            <a:r>
              <a:rPr lang="zh-CN" altLang="en-US" sz="2200" b="1" dirty="0">
                <a:solidFill>
                  <a:schemeClr val="accent1"/>
                </a:solidFill>
              </a:rPr>
              <a:t>转型后提供什么</a:t>
            </a:r>
            <a:endParaRPr lang="zh-CN" altLang="en-US" sz="2200" b="1" dirty="0">
              <a:solidFill>
                <a:schemeClr val="accent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31" grpId="0" animBg="1"/>
      <p:bldP spid="27" grpId="0" animBg="1"/>
      <p:bldP spid="30" grpId="0" animBg="1"/>
      <p:bldP spid="9" grpId="0" animBg="1"/>
      <p:bldP spid="29"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Chart 1" descr="image005"/>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4943388" y="4061860"/>
            <a:ext cx="4193788" cy="2796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2"/>
          <p:cNvSpPr txBox="1"/>
          <p:nvPr/>
        </p:nvSpPr>
        <p:spPr>
          <a:xfrm>
            <a:off x="79375" y="1501775"/>
            <a:ext cx="5919470" cy="2453640"/>
          </a:xfrm>
          <a:prstGeom prst="rect">
            <a:avLst/>
          </a:prstGeom>
          <a:solidFill>
            <a:schemeClr val="bg1">
              <a:lumMod val="95000"/>
            </a:schemeClr>
          </a:solidFill>
        </p:spPr>
        <p:txBody>
          <a:bodyPr>
            <a:noAutofit/>
          </a:bodyPr>
          <a:lstStyle>
            <a:lvl1pPr marL="342900" indent="-255905" algn="l" defTabSz="457200" rtl="0" eaLnBrk="1" latinLnBrk="0" hangingPunct="1">
              <a:spcBef>
                <a:spcPts val="480"/>
              </a:spcBef>
              <a:buFont typeface="Arial" panose="020B0604020202020204"/>
              <a:buChar char="•"/>
              <a:defRPr sz="2000" kern="1200">
                <a:solidFill>
                  <a:srgbClr val="53565A"/>
                </a:solidFill>
                <a:latin typeface="+mn-lt"/>
                <a:ea typeface="+mn-ea"/>
                <a:cs typeface="+mn-cs"/>
              </a:defRPr>
            </a:lvl1pPr>
            <a:lvl2pPr marL="742950" indent="-285750" algn="l" defTabSz="457200" rtl="0" eaLnBrk="1" latinLnBrk="0" hangingPunct="1">
              <a:spcBef>
                <a:spcPct val="20000"/>
              </a:spcBef>
              <a:buSzPct val="80000"/>
              <a:buFont typeface="Arial" panose="020B0604020202020204"/>
              <a:buChar char="–"/>
              <a:defRPr sz="1800" kern="1200">
                <a:solidFill>
                  <a:srgbClr val="53565A"/>
                </a:solidFill>
                <a:latin typeface="+mn-lt"/>
                <a:ea typeface="+mn-ea"/>
                <a:cs typeface="+mn-cs"/>
              </a:defRPr>
            </a:lvl2pPr>
            <a:lvl3pPr marL="1143000" indent="-228600" algn="l" defTabSz="457200" rtl="0" eaLnBrk="1" latinLnBrk="0" hangingPunct="1">
              <a:spcBef>
                <a:spcPct val="20000"/>
              </a:spcBef>
              <a:buSzPct val="90000"/>
              <a:buFont typeface="Courier New" panose="02070309020205020404"/>
              <a:buChar char="o"/>
              <a:defRPr sz="1600" kern="1200">
                <a:solidFill>
                  <a:srgbClr val="53565A"/>
                </a:solidFill>
                <a:latin typeface="+mn-lt"/>
                <a:ea typeface="+mn-ea"/>
                <a:cs typeface="+mn-cs"/>
              </a:defRPr>
            </a:lvl3pPr>
            <a:lvl4pPr marL="1600200" indent="-228600" algn="l" defTabSz="457200" rtl="0" eaLnBrk="1" latinLnBrk="0" hangingPunct="1">
              <a:spcBef>
                <a:spcPct val="20000"/>
              </a:spcBef>
              <a:buSzPct val="90000"/>
              <a:buFont typeface="Courier New" panose="02070309020205020404"/>
              <a:buChar char="o"/>
              <a:defRPr sz="1600" kern="1200">
                <a:solidFill>
                  <a:srgbClr val="53565A"/>
                </a:solidFill>
                <a:latin typeface="+mn-lt"/>
                <a:ea typeface="+mn-ea"/>
                <a:cs typeface="+mn-cs"/>
              </a:defRPr>
            </a:lvl4pPr>
            <a:lvl5pPr marL="2057400" indent="-228600" algn="l" defTabSz="457200" rtl="0" eaLnBrk="1" latinLnBrk="0" hangingPunct="1">
              <a:spcBef>
                <a:spcPct val="20000"/>
              </a:spcBef>
              <a:buSzPct val="90000"/>
              <a:buFont typeface="Courier New" panose="02070309020205020404"/>
              <a:buChar char="o"/>
              <a:defRPr sz="1600" kern="1200">
                <a:solidFill>
                  <a:srgbClr val="53565A"/>
                </a:solidFill>
                <a:latin typeface="+mn-lt"/>
                <a:ea typeface="+mn-ea"/>
                <a:cs typeface="+mn-cs"/>
              </a:defRPr>
            </a:lvl5pPr>
            <a:lvl6pPr marL="2514600" indent="-228600" algn="l" defTabSz="457200" rtl="0" eaLnBrk="1" latinLnBrk="0" hangingPunct="1">
              <a:spcBef>
                <a:spcPct val="20000"/>
              </a:spcBef>
              <a:buSzPct val="90000"/>
              <a:buFont typeface="Courier New" panose="02070309020205020404"/>
              <a:buChar char="o"/>
              <a:defRPr sz="1600" kern="1200" baseline="0">
                <a:solidFill>
                  <a:srgbClr val="53565A"/>
                </a:solidFill>
                <a:latin typeface="+mn-lt"/>
                <a:ea typeface="+mn-ea"/>
                <a:cs typeface="+mn-cs"/>
              </a:defRPr>
            </a:lvl6pPr>
            <a:lvl7pPr marL="2971800" indent="-228600" algn="l" defTabSz="457200" rtl="0" eaLnBrk="1" latinLnBrk="0" hangingPunct="1">
              <a:spcBef>
                <a:spcPct val="20000"/>
              </a:spcBef>
              <a:buSzPct val="90000"/>
              <a:buFont typeface="Courier New" panose="02070309020205020404"/>
              <a:buChar char="o"/>
              <a:defRPr sz="1600" kern="1200" baseline="0">
                <a:solidFill>
                  <a:srgbClr val="53565A"/>
                </a:solidFill>
                <a:latin typeface="+mn-lt"/>
                <a:ea typeface="+mn-ea"/>
                <a:cs typeface="+mn-cs"/>
              </a:defRPr>
            </a:lvl7pPr>
            <a:lvl8pPr marL="3429000" indent="-228600" algn="l" defTabSz="457200" rtl="0" eaLnBrk="1" latinLnBrk="0" hangingPunct="1">
              <a:spcBef>
                <a:spcPct val="20000"/>
              </a:spcBef>
              <a:buSzPct val="90000"/>
              <a:buFont typeface="Courier New" panose="02070309020205020404"/>
              <a:buChar char="o"/>
              <a:defRPr sz="1600" kern="1200" baseline="0">
                <a:solidFill>
                  <a:srgbClr val="53565A"/>
                </a:solidFill>
                <a:latin typeface="+mn-lt"/>
                <a:ea typeface="+mn-ea"/>
                <a:cs typeface="+mn-cs"/>
              </a:defRPr>
            </a:lvl8pPr>
            <a:lvl9pPr marL="3886200" indent="-228600" algn="l" defTabSz="457200" rtl="0" eaLnBrk="1" latinLnBrk="0" hangingPunct="1">
              <a:spcBef>
                <a:spcPct val="20000"/>
              </a:spcBef>
              <a:buSzPct val="90000"/>
              <a:buFont typeface="Courier New" panose="02070309020205020404"/>
              <a:buChar char="o"/>
              <a:defRPr sz="1600" kern="1200" baseline="0">
                <a:solidFill>
                  <a:srgbClr val="53565A"/>
                </a:solidFill>
                <a:latin typeface="+mn-lt"/>
                <a:ea typeface="+mn-ea"/>
                <a:cs typeface="+mn-cs"/>
              </a:defRPr>
            </a:lvl9pPr>
          </a:lstStyle>
          <a:p>
            <a:pPr marL="0" indent="0">
              <a:buFont typeface="Arial" panose="020B0604020202020204"/>
              <a:buNone/>
            </a:pPr>
            <a:r>
              <a:rPr lang="en-US" sz="1300" b="1" dirty="0"/>
              <a:t>80,000 Topic pages </a:t>
            </a:r>
            <a:r>
              <a:rPr lang="en-US" sz="1300" dirty="0"/>
              <a:t>created in Neuroscience, Life Science and Biomedical</a:t>
            </a:r>
            <a:endParaRPr lang="en-US" sz="1300" dirty="0"/>
          </a:p>
          <a:p>
            <a:pPr marL="0" indent="0">
              <a:buFont typeface="Arial" panose="020B0604020202020204"/>
              <a:buNone/>
            </a:pPr>
            <a:r>
              <a:rPr lang="zh-CN" altLang="en-US" sz="1300" dirty="0"/>
              <a:t>共创建了</a:t>
            </a:r>
            <a:r>
              <a:rPr lang="en-US" altLang="zh-CN" sz="1300" b="1" dirty="0"/>
              <a:t>80,000</a:t>
            </a:r>
            <a:r>
              <a:rPr lang="zh-CN" altLang="en-US" sz="1300" b="1" dirty="0"/>
              <a:t>个主题页面</a:t>
            </a:r>
            <a:r>
              <a:rPr lang="zh-CN" altLang="en-US" sz="1300" dirty="0"/>
              <a:t>，涵盖神经科学、生命科学和生物医学</a:t>
            </a:r>
            <a:endParaRPr lang="zh-CN" altLang="en-US" sz="1300" dirty="0"/>
          </a:p>
          <a:p>
            <a:pPr marL="0" indent="0">
              <a:buFont typeface="Arial" panose="020B0604020202020204"/>
              <a:buNone/>
            </a:pPr>
            <a:r>
              <a:rPr lang="en-US" sz="1300" b="1" dirty="0"/>
              <a:t>Quantitative and Qualitative testing </a:t>
            </a:r>
            <a:r>
              <a:rPr lang="en-US" sz="1300" dirty="0"/>
              <a:t>of topic page design - Exit Survey results – 87% of users getting value from the Topic Pages</a:t>
            </a:r>
            <a:endParaRPr lang="en-US" sz="1300" dirty="0"/>
          </a:p>
          <a:p>
            <a:pPr marL="0" indent="0">
              <a:buFont typeface="Arial" panose="020B0604020202020204"/>
              <a:buNone/>
            </a:pPr>
            <a:r>
              <a:rPr lang="zh-CN" altLang="en-US" sz="1300" dirty="0"/>
              <a:t>主题页面的</a:t>
            </a:r>
            <a:r>
              <a:rPr lang="zh-CN" altLang="en-US" sz="1300" b="1" dirty="0"/>
              <a:t>定量和定性测试</a:t>
            </a:r>
            <a:r>
              <a:rPr lang="en-US" altLang="zh-CN" sz="1300" dirty="0"/>
              <a:t>——</a:t>
            </a:r>
            <a:r>
              <a:rPr lang="zh-CN" altLang="en-US" sz="1300" dirty="0"/>
              <a:t>调查结果显示</a:t>
            </a:r>
            <a:r>
              <a:rPr lang="en-US" altLang="zh-CN" sz="1300" dirty="0"/>
              <a:t>87%</a:t>
            </a:r>
            <a:r>
              <a:rPr lang="zh-CN" altLang="en-US" sz="1300" dirty="0"/>
              <a:t>的用户从中获得价值</a:t>
            </a:r>
            <a:endParaRPr lang="zh-CN" altLang="en-US" sz="1300" dirty="0"/>
          </a:p>
          <a:p>
            <a:pPr marL="0" indent="0">
              <a:buFont typeface="Arial" panose="020B0604020202020204"/>
              <a:buNone/>
            </a:pPr>
            <a:r>
              <a:rPr lang="en-US" sz="1300" b="1" dirty="0"/>
              <a:t>New domains delivered by year end: </a:t>
            </a:r>
            <a:r>
              <a:rPr lang="en-US" sz="1300" dirty="0"/>
              <a:t>Material Sciences, Chemistry, Chemical Engineering, Materials and Engineering, Earth and Environmental Sciences.</a:t>
            </a:r>
            <a:endParaRPr lang="en-US" sz="1300" dirty="0"/>
          </a:p>
          <a:p>
            <a:pPr marL="0" indent="0">
              <a:buFont typeface="Arial" panose="020B0604020202020204"/>
              <a:buNone/>
            </a:pPr>
            <a:r>
              <a:rPr lang="zh-CN" altLang="en-US" sz="1300" b="1" dirty="0"/>
              <a:t>年底发布新的学科主题</a:t>
            </a:r>
            <a:r>
              <a:rPr lang="zh-CN" altLang="en-US" sz="1300" dirty="0"/>
              <a:t>，包括材料科学、化学、化学工程、材料与工程、地球与环境科学</a:t>
            </a:r>
            <a:endParaRPr lang="en-GB" sz="1300" dirty="0"/>
          </a:p>
        </p:txBody>
      </p:sp>
      <p:pic>
        <p:nvPicPr>
          <p:cNvPr id="1027" name="Chart 2" descr="image006"/>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4061860"/>
            <a:ext cx="4943388" cy="2796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3"/>
          <a:stretch>
            <a:fillRect/>
          </a:stretch>
        </p:blipFill>
        <p:spPr>
          <a:xfrm>
            <a:off x="6052559" y="1609171"/>
            <a:ext cx="2900873" cy="2202795"/>
          </a:xfrm>
          <a:prstGeom prst="rect">
            <a:avLst/>
          </a:prstGeom>
          <a:ln>
            <a:solidFill>
              <a:schemeClr val="tx1">
                <a:lumMod val="50000"/>
              </a:schemeClr>
            </a:solidFill>
          </a:ln>
          <a:effectLst>
            <a:innerShdw blurRad="114300">
              <a:prstClr val="black"/>
            </a:innerShdw>
          </a:effectLst>
        </p:spPr>
      </p:pic>
      <p:sp>
        <p:nvSpPr>
          <p:cNvPr id="9" name="Title 2"/>
          <p:cNvSpPr txBox="1"/>
          <p:nvPr/>
        </p:nvSpPr>
        <p:spPr>
          <a:xfrm>
            <a:off x="159033" y="900628"/>
            <a:ext cx="8974666" cy="418645"/>
          </a:xfrm>
          <a:prstGeom prst="rect">
            <a:avLst/>
          </a:prstGeom>
          <a:ln w="44450">
            <a:noFill/>
          </a:ln>
        </p:spPr>
        <p:txBody>
          <a:bodyPr lIns="0" tIns="0"/>
          <a:lstStyle>
            <a:lvl1pPr algn="l" defTabSz="457200" rtl="0" eaLnBrk="1" latinLnBrk="0" hangingPunct="1">
              <a:spcBef>
                <a:spcPct val="0"/>
              </a:spcBef>
              <a:buNone/>
              <a:defRPr sz="2800" kern="1200">
                <a:solidFill>
                  <a:schemeClr val="tx2"/>
                </a:solidFill>
                <a:latin typeface="+mj-lt"/>
                <a:ea typeface="+mj-ea"/>
                <a:cs typeface="+mj-cs"/>
              </a:defRPr>
            </a:lvl1pPr>
          </a:lstStyle>
          <a:p>
            <a:r>
              <a:rPr lang="en-GB" sz="1600" dirty="0"/>
              <a:t>Science Direct Topics – Results so far and next steps</a:t>
            </a:r>
            <a:endParaRPr lang="en-GB" sz="1600" dirty="0"/>
          </a:p>
          <a:p>
            <a:r>
              <a:rPr lang="en-US" altLang="en-GB" sz="1600" dirty="0"/>
              <a:t>Science Direct </a:t>
            </a:r>
            <a:r>
              <a:rPr lang="zh-CN" altLang="en-US" sz="1600" dirty="0"/>
              <a:t>主题 </a:t>
            </a:r>
            <a:r>
              <a:rPr lang="en-US" altLang="zh-CN" sz="1600" dirty="0"/>
              <a:t>—— </a:t>
            </a:r>
            <a:r>
              <a:rPr lang="zh-CN" altLang="en-US" sz="1600" dirty="0"/>
              <a:t>目前进展及后续计划</a:t>
            </a:r>
            <a:r>
              <a:rPr lang="en-GB" sz="1600" dirty="0"/>
              <a:t> </a:t>
            </a:r>
            <a:endParaRPr lang="en-GB" sz="1600" dirty="0"/>
          </a:p>
        </p:txBody>
      </p:sp>
      <p:cxnSp>
        <p:nvCxnSpPr>
          <p:cNvPr id="10" name="Straight Connector 9"/>
          <p:cNvCxnSpPr/>
          <p:nvPr/>
        </p:nvCxnSpPr>
        <p:spPr>
          <a:xfrm>
            <a:off x="553156" y="884188"/>
            <a:ext cx="7609038" cy="0"/>
          </a:xfrm>
          <a:prstGeom prst="line">
            <a:avLst/>
          </a:prstGeom>
          <a:ln w="25400" cmpd="sng">
            <a:solidFill>
              <a:schemeClr val="tx2"/>
            </a:solidFill>
          </a:ln>
        </p:spPr>
        <p:style>
          <a:lnRef idx="2">
            <a:schemeClr val="accent1"/>
          </a:lnRef>
          <a:fillRef idx="0">
            <a:schemeClr val="accent1"/>
          </a:fillRef>
          <a:effectRef idx="1">
            <a:schemeClr val="accent1"/>
          </a:effectRef>
          <a:fontRef idx="minor">
            <a:schemeClr val="tx1"/>
          </a:fontRef>
        </p:style>
      </p:cxnSp>
      <p:sp>
        <p:nvSpPr>
          <p:cNvPr id="11" name="Title 1"/>
          <p:cNvSpPr txBox="1"/>
          <p:nvPr/>
        </p:nvSpPr>
        <p:spPr>
          <a:xfrm>
            <a:off x="423296" y="438286"/>
            <a:ext cx="8974455" cy="568960"/>
          </a:xfrm>
          <a:prstGeom prst="rect">
            <a:avLst/>
          </a:prstGeom>
        </p:spPr>
        <p:txBody>
          <a:bodyPr/>
          <a:lstStyle>
            <a:lvl1pPr algn="l" defTabSz="457200" rtl="0" eaLnBrk="1" latinLnBrk="0" hangingPunct="1">
              <a:spcBef>
                <a:spcPct val="0"/>
              </a:spcBef>
              <a:buNone/>
              <a:defRPr sz="2000" kern="1200">
                <a:solidFill>
                  <a:schemeClr val="tx2"/>
                </a:solidFill>
                <a:latin typeface="+mj-lt"/>
                <a:ea typeface="+mj-ea"/>
                <a:cs typeface="+mj-cs"/>
              </a:defRPr>
            </a:lvl1pPr>
          </a:lstStyle>
          <a:p>
            <a:r>
              <a:rPr lang="zh-CN" altLang="en-US" sz="2200" b="1" dirty="0">
                <a:solidFill>
                  <a:schemeClr val="accent1"/>
                </a:solidFill>
              </a:rPr>
              <a:t>转型后提供什么</a:t>
            </a:r>
            <a:endParaRPr lang="zh-CN" altLang="en-US" sz="2200" b="1" dirty="0">
              <a:solidFill>
                <a:schemeClr val="accent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4"/>
          <p:cNvSpPr txBox="1"/>
          <p:nvPr/>
        </p:nvSpPr>
        <p:spPr>
          <a:xfrm>
            <a:off x="257174" y="27813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endParaRPr lang="en-US" sz="3200" dirty="0">
              <a:solidFill>
                <a:schemeClr val="bg1"/>
              </a:solidFill>
            </a:endParaRPr>
          </a:p>
        </p:txBody>
      </p:sp>
      <p:sp>
        <p:nvSpPr>
          <p:cNvPr id="3" name="Title 4"/>
          <p:cNvSpPr txBox="1"/>
          <p:nvPr/>
        </p:nvSpPr>
        <p:spPr>
          <a:xfrm>
            <a:off x="409574" y="2933700"/>
            <a:ext cx="7032625" cy="1470025"/>
          </a:xfrm>
          <a:prstGeom prst="rect">
            <a:avLst/>
          </a:prstGeom>
        </p:spPr>
        <p:txBody>
          <a:bodyPr/>
          <a:lstStyle>
            <a:lvl1pPr algn="l" defTabSz="457200" rtl="0" eaLnBrk="1" latinLnBrk="0" hangingPunct="1">
              <a:spcBef>
                <a:spcPct val="0"/>
              </a:spcBef>
              <a:buNone/>
              <a:defRPr sz="2400" b="1" i="0" kern="1200">
                <a:solidFill>
                  <a:schemeClr val="accent1"/>
                </a:solidFill>
                <a:latin typeface="Arial Bold"/>
                <a:ea typeface="+mj-ea"/>
                <a:cs typeface="Arial Bold"/>
              </a:defRPr>
            </a:lvl1pPr>
          </a:lstStyle>
          <a:p>
            <a:r>
              <a:rPr lang="en-US" altLang="zh-CN" sz="3200" dirty="0">
                <a:solidFill>
                  <a:schemeClr val="bg1"/>
                </a:solidFill>
              </a:rPr>
              <a:t>ScienceDirect</a:t>
            </a:r>
            <a:r>
              <a:rPr lang="zh-CN" altLang="en-US" sz="3200" dirty="0">
                <a:solidFill>
                  <a:schemeClr val="bg1"/>
                </a:solidFill>
              </a:rPr>
              <a:t>内容创新</a:t>
            </a:r>
            <a:endParaRPr lang="en-US" sz="3200" dirty="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20855" y="663954"/>
            <a:ext cx="8686801" cy="1070713"/>
          </a:xfrm>
        </p:spPr>
        <p:txBody>
          <a:bodyPr/>
          <a:lstStyle/>
          <a:p>
            <a:r>
              <a:rPr lang="en-US" sz="2800" b="1" dirty="0">
                <a:solidFill>
                  <a:srgbClr val="007398"/>
                </a:solidFill>
                <a:latin typeface="Arial" panose="020B0604020202020204" pitchFamily="34" charset="0"/>
                <a:cs typeface="Arial" panose="020B0604020202020204" pitchFamily="34" charset="0"/>
              </a:rPr>
              <a:t>S</a:t>
            </a:r>
            <a:r>
              <a:rPr lang="en-US" altLang="zh-CN" sz="2800" b="1" dirty="0">
                <a:solidFill>
                  <a:srgbClr val="007398"/>
                </a:solidFill>
                <a:latin typeface="Arial" panose="020B0604020202020204" pitchFamily="34" charset="0"/>
                <a:cs typeface="Arial" panose="020B0604020202020204" pitchFamily="34" charset="0"/>
              </a:rPr>
              <a:t>cienceDirect</a:t>
            </a:r>
            <a:r>
              <a:rPr lang="zh-CN" altLang="en-US" sz="2800" b="1" dirty="0">
                <a:solidFill>
                  <a:srgbClr val="007398"/>
                </a:solidFill>
                <a:latin typeface="Arial" panose="020B0604020202020204" pitchFamily="34" charset="0"/>
                <a:cs typeface="Arial" panose="020B0604020202020204" pitchFamily="34" charset="0"/>
              </a:rPr>
              <a:t>创新功能</a:t>
            </a:r>
            <a:br>
              <a:rPr lang="en-US" sz="2800" b="1" dirty="0">
                <a:solidFill>
                  <a:srgbClr val="007398"/>
                </a:solidFill>
                <a:latin typeface="Arial" panose="020B0604020202020204" pitchFamily="34" charset="0"/>
                <a:cs typeface="Arial" panose="020B0604020202020204" pitchFamily="34" charset="0"/>
              </a:rPr>
            </a:br>
            <a:r>
              <a:rPr lang="en-GB" sz="1600" dirty="0">
                <a:solidFill>
                  <a:schemeClr val="tx1"/>
                </a:solidFill>
                <a:latin typeface="+mn-lt"/>
              </a:rPr>
              <a:t>Giving access to the detail</a:t>
            </a:r>
            <a:br>
              <a:rPr lang="en-US" sz="2800" dirty="0">
                <a:solidFill>
                  <a:schemeClr val="tx2"/>
                </a:solidFill>
              </a:rPr>
            </a:br>
            <a:endParaRPr lang="en-US" sz="2800" b="1" dirty="0"/>
          </a:p>
        </p:txBody>
      </p:sp>
      <p:pic>
        <p:nvPicPr>
          <p:cNvPr id="13" name="Picture 12"/>
          <p:cNvPicPr>
            <a:picLocks noChangeAspect="1" noChangeArrowheads="1"/>
          </p:cNvPicPr>
          <p:nvPr/>
        </p:nvPicPr>
        <p:blipFill>
          <a:blip r:embed="rId1"/>
          <a:srcRect/>
          <a:stretch>
            <a:fillRect/>
          </a:stretch>
        </p:blipFill>
        <p:spPr bwMode="auto">
          <a:xfrm>
            <a:off x="4014586" y="1850564"/>
            <a:ext cx="1192006" cy="1188720"/>
          </a:xfrm>
          <a:prstGeom prst="rect">
            <a:avLst/>
          </a:prstGeom>
          <a:ln>
            <a:solidFill>
              <a:schemeClr val="tx2"/>
            </a:solidFill>
          </a:ln>
          <a:effectLst/>
        </p:spPr>
      </p:pic>
      <p:pic>
        <p:nvPicPr>
          <p:cNvPr id="14" name="Picture 5" descr="http://www.webzo.org/tutorials/flash/images/mouse-cursor-recorder-2.png"/>
          <p:cNvPicPr>
            <a:picLocks noChangeAspect="1" noChangeArrowheads="1"/>
          </p:cNvPicPr>
          <p:nvPr/>
        </p:nvPicPr>
        <p:blipFill>
          <a:blip r:embed="rId2"/>
          <a:srcRect/>
          <a:stretch>
            <a:fillRect/>
          </a:stretch>
        </p:blipFill>
        <p:spPr bwMode="auto">
          <a:xfrm>
            <a:off x="4261731" y="2267344"/>
            <a:ext cx="37139" cy="108065"/>
          </a:xfrm>
          <a:prstGeom prst="rect">
            <a:avLst/>
          </a:prstGeom>
          <a:ln>
            <a:solidFill>
              <a:schemeClr val="tx2"/>
            </a:solidFill>
          </a:ln>
          <a:effectLst>
            <a:outerShdw blurRad="63500" sx="102000" sy="102000" algn="ctr" rotWithShape="0">
              <a:prstClr val="black">
                <a:alpha val="40000"/>
              </a:prstClr>
            </a:outerShdw>
          </a:effectLst>
        </p:spPr>
      </p:pic>
      <p:grpSp>
        <p:nvGrpSpPr>
          <p:cNvPr id="15" name="Group 14"/>
          <p:cNvGrpSpPr/>
          <p:nvPr/>
        </p:nvGrpSpPr>
        <p:grpSpPr>
          <a:xfrm>
            <a:off x="4003256" y="4047285"/>
            <a:ext cx="1204119" cy="1188720"/>
            <a:chOff x="3965909" y="4833337"/>
            <a:chExt cx="1204119" cy="1188720"/>
          </a:xfrm>
          <a:effectLst/>
        </p:grpSpPr>
        <p:sp>
          <p:nvSpPr>
            <p:cNvPr id="16" name="Rectangle 15">
              <a:hlinkClick r:id="rId3"/>
            </p:cNvPr>
            <p:cNvSpPr/>
            <p:nvPr/>
          </p:nvSpPr>
          <p:spPr>
            <a:xfrm>
              <a:off x="3981308" y="4833337"/>
              <a:ext cx="1188720" cy="1188720"/>
            </a:xfrm>
            <a:prstGeom prst="rect">
              <a:avLst/>
            </a:prstGeom>
            <a:solidFill>
              <a:schemeClr val="bg1"/>
            </a:solidFill>
            <a:ln w="3175">
              <a:solidFill>
                <a:schemeClr val="tx2"/>
              </a:solidFill>
            </a:ln>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pic>
          <p:nvPicPr>
            <p:cNvPr id="17"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18900000">
              <a:off x="3965909" y="5224304"/>
              <a:ext cx="1065482" cy="397780"/>
            </a:xfrm>
            <a:prstGeom prst="rect">
              <a:avLst/>
            </a:prstGeom>
            <a:noFill/>
            <a:ln>
              <a:noFill/>
            </a:ln>
          </p:spPr>
        </p:pic>
      </p:grpSp>
      <p:pic>
        <p:nvPicPr>
          <p:cNvPr id="18" name="Picture 17">
            <a:hlinkClick r:id="rId5"/>
          </p:cNvPr>
          <p:cNvPicPr preferRelativeResize="0">
            <a:picLocks noChangeAspect="1"/>
          </p:cNvPicPr>
          <p:nvPr/>
        </p:nvPicPr>
        <p:blipFill>
          <a:blip r:embed="rId6"/>
          <a:stretch>
            <a:fillRect/>
          </a:stretch>
        </p:blipFill>
        <p:spPr>
          <a:xfrm>
            <a:off x="1045385" y="4047285"/>
            <a:ext cx="1188720" cy="1188720"/>
          </a:xfrm>
          <a:prstGeom prst="rect">
            <a:avLst/>
          </a:prstGeom>
          <a:ln>
            <a:solidFill>
              <a:srgbClr val="FF8200"/>
            </a:solidFill>
          </a:ln>
          <a:effectLst/>
        </p:spPr>
      </p:pic>
      <p:pic>
        <p:nvPicPr>
          <p:cNvPr id="19" name="Picture 18">
            <a:hlinkClick r:id="rId7"/>
          </p:cNvPr>
          <p:cNvPicPr preferRelativeResize="0">
            <a:picLocks noChangeAspect="1"/>
          </p:cNvPicPr>
          <p:nvPr/>
        </p:nvPicPr>
        <p:blipFill>
          <a:blip r:embed="rId8"/>
          <a:stretch>
            <a:fillRect/>
          </a:stretch>
        </p:blipFill>
        <p:spPr>
          <a:xfrm>
            <a:off x="1091806" y="1850564"/>
            <a:ext cx="1188720" cy="1188720"/>
          </a:xfrm>
          <a:prstGeom prst="rect">
            <a:avLst/>
          </a:prstGeom>
          <a:ln>
            <a:solidFill>
              <a:srgbClr val="FF8200"/>
            </a:solidFill>
          </a:ln>
          <a:effectLst/>
        </p:spPr>
      </p:pic>
      <p:pic>
        <p:nvPicPr>
          <p:cNvPr id="20" name="Picture 19">
            <a:hlinkClick r:id="rId9"/>
          </p:cNvPr>
          <p:cNvPicPr preferRelativeResize="0">
            <a:picLocks noChangeAspect="1"/>
          </p:cNvPicPr>
          <p:nvPr/>
        </p:nvPicPr>
        <p:blipFill>
          <a:blip r:embed="rId10"/>
          <a:stretch>
            <a:fillRect/>
          </a:stretch>
        </p:blipFill>
        <p:spPr>
          <a:xfrm>
            <a:off x="2554839" y="1850564"/>
            <a:ext cx="1188720" cy="1188720"/>
          </a:xfrm>
          <a:prstGeom prst="rect">
            <a:avLst/>
          </a:prstGeom>
          <a:ln>
            <a:solidFill>
              <a:srgbClr val="FF8200"/>
            </a:solidFill>
          </a:ln>
          <a:effectLst/>
        </p:spPr>
      </p:pic>
      <p:pic>
        <p:nvPicPr>
          <p:cNvPr id="21" name="Picture 20">
            <a:hlinkClick r:id="rId11"/>
          </p:cNvPr>
          <p:cNvPicPr preferRelativeResize="0">
            <a:picLocks noChangeAspect="1"/>
          </p:cNvPicPr>
          <p:nvPr/>
        </p:nvPicPr>
        <p:blipFill>
          <a:blip r:embed="rId12"/>
          <a:stretch>
            <a:fillRect/>
          </a:stretch>
        </p:blipFill>
        <p:spPr>
          <a:xfrm>
            <a:off x="5480905" y="1850564"/>
            <a:ext cx="1188720" cy="1188720"/>
          </a:xfrm>
          <a:prstGeom prst="rect">
            <a:avLst/>
          </a:prstGeom>
          <a:ln>
            <a:solidFill>
              <a:srgbClr val="FF8200"/>
            </a:solidFill>
          </a:ln>
          <a:effectLst/>
        </p:spPr>
      </p:pic>
      <p:sp>
        <p:nvSpPr>
          <p:cNvPr id="22" name="TextBox 21"/>
          <p:cNvSpPr txBox="1"/>
          <p:nvPr/>
        </p:nvSpPr>
        <p:spPr>
          <a:xfrm>
            <a:off x="1091806" y="3131654"/>
            <a:ext cx="118872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Pathway Studio</a:t>
            </a:r>
            <a:endParaRPr lang="en-US" sz="1200" b="1" dirty="0">
              <a:solidFill>
                <a:schemeClr val="tx1"/>
              </a:solidFill>
            </a:endParaRPr>
          </a:p>
        </p:txBody>
      </p:sp>
      <p:sp>
        <p:nvSpPr>
          <p:cNvPr id="23" name="TextBox 22"/>
          <p:cNvSpPr txBox="1"/>
          <p:nvPr/>
        </p:nvSpPr>
        <p:spPr>
          <a:xfrm>
            <a:off x="2550559" y="3131654"/>
            <a:ext cx="118872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Virtual Microscope</a:t>
            </a:r>
            <a:endParaRPr lang="en-US" sz="1200" b="1" dirty="0">
              <a:solidFill>
                <a:schemeClr val="tx1"/>
              </a:solidFill>
            </a:endParaRPr>
          </a:p>
        </p:txBody>
      </p:sp>
      <p:sp>
        <p:nvSpPr>
          <p:cNvPr id="24" name="TextBox 23"/>
          <p:cNvSpPr txBox="1"/>
          <p:nvPr/>
        </p:nvSpPr>
        <p:spPr>
          <a:xfrm>
            <a:off x="5420595" y="3131654"/>
            <a:ext cx="1331080"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Radiological images viewer</a:t>
            </a:r>
            <a:endParaRPr lang="en-US" sz="1200" b="1" dirty="0">
              <a:solidFill>
                <a:schemeClr val="tx1"/>
              </a:solidFill>
            </a:endParaRPr>
          </a:p>
        </p:txBody>
      </p:sp>
      <p:sp>
        <p:nvSpPr>
          <p:cNvPr id="25" name="TextBox 24"/>
          <p:cNvSpPr txBox="1"/>
          <p:nvPr/>
        </p:nvSpPr>
        <p:spPr>
          <a:xfrm>
            <a:off x="3886933" y="3131654"/>
            <a:ext cx="1541063"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Graph</a:t>
            </a:r>
            <a:endParaRPr lang="en-US" sz="1200" b="1" dirty="0">
              <a:solidFill>
                <a:schemeClr val="tx1"/>
              </a:solidFill>
            </a:endParaRPr>
          </a:p>
          <a:p>
            <a:pPr algn="ctr"/>
            <a:r>
              <a:rPr lang="en-US" sz="1200" b="1" dirty="0">
                <a:solidFill>
                  <a:schemeClr val="tx1"/>
                </a:solidFill>
              </a:rPr>
              <a:t>Plotter</a:t>
            </a:r>
            <a:endParaRPr lang="en-US" sz="1200" b="1" dirty="0">
              <a:solidFill>
                <a:schemeClr val="tx1"/>
              </a:solidFill>
            </a:endParaRPr>
          </a:p>
        </p:txBody>
      </p:sp>
      <p:pic>
        <p:nvPicPr>
          <p:cNvPr id="26" name="Picture 25">
            <a:hlinkClick r:id="rId13"/>
          </p:cNvPr>
          <p:cNvPicPr preferRelativeResize="0">
            <a:picLocks noChangeAspect="1"/>
          </p:cNvPicPr>
          <p:nvPr/>
        </p:nvPicPr>
        <p:blipFill>
          <a:blip r:embed="rId14"/>
          <a:stretch>
            <a:fillRect/>
          </a:stretch>
        </p:blipFill>
        <p:spPr>
          <a:xfrm>
            <a:off x="2550559" y="4047285"/>
            <a:ext cx="1188720" cy="1188720"/>
          </a:xfrm>
          <a:prstGeom prst="rect">
            <a:avLst/>
          </a:prstGeom>
          <a:ln>
            <a:solidFill>
              <a:srgbClr val="FF8200"/>
            </a:solidFill>
          </a:ln>
          <a:effectLst/>
        </p:spPr>
      </p:pic>
      <p:sp>
        <p:nvSpPr>
          <p:cNvPr id="27" name="TextBox 26"/>
          <p:cNvSpPr txBox="1"/>
          <p:nvPr/>
        </p:nvSpPr>
        <p:spPr>
          <a:xfrm>
            <a:off x="2547178" y="5336561"/>
            <a:ext cx="1195482" cy="6463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3D CIF molecular viewer</a:t>
            </a:r>
            <a:endParaRPr lang="en-US" sz="1200" b="1" dirty="0">
              <a:solidFill>
                <a:schemeClr val="tx1"/>
              </a:solidFill>
            </a:endParaRPr>
          </a:p>
        </p:txBody>
      </p:sp>
      <p:pic>
        <p:nvPicPr>
          <p:cNvPr id="28" name="Picture 5">
            <a:hlinkClick r:id="rId15"/>
          </p:cNvPr>
          <p:cNvPicPr preferRelativeResize="0">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943938" y="1850564"/>
            <a:ext cx="1188720" cy="1188720"/>
          </a:xfrm>
          <a:prstGeom prst="rect">
            <a:avLst/>
          </a:prstGeom>
          <a:noFill/>
          <a:ln w="9525">
            <a:solidFill>
              <a:srgbClr val="FF8200"/>
            </a:solidFill>
            <a:miter lim="800000"/>
            <a:headEnd/>
            <a:tailEnd/>
          </a:ln>
          <a:effectLst/>
        </p:spPr>
      </p:pic>
      <p:sp>
        <p:nvSpPr>
          <p:cNvPr id="29" name="TextBox 28"/>
          <p:cNvSpPr txBox="1"/>
          <p:nvPr/>
        </p:nvSpPr>
        <p:spPr>
          <a:xfrm>
            <a:off x="6939657" y="3131654"/>
            <a:ext cx="1193002"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Arabidopsis gene viewer</a:t>
            </a:r>
            <a:endParaRPr lang="en-US" sz="1200" b="1" dirty="0">
              <a:solidFill>
                <a:schemeClr val="tx1"/>
              </a:solidFill>
            </a:endParaRPr>
          </a:p>
        </p:txBody>
      </p:sp>
      <p:pic>
        <p:nvPicPr>
          <p:cNvPr id="30" name="Picture 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943938" y="4047285"/>
            <a:ext cx="1188720" cy="1188720"/>
          </a:xfrm>
          <a:prstGeom prst="rect">
            <a:avLst/>
          </a:prstGeom>
          <a:noFill/>
          <a:ln w="9525">
            <a:solidFill>
              <a:srgbClr val="FF8200"/>
            </a:solidFill>
            <a:miter lim="800000"/>
            <a:headEnd/>
            <a:tailEnd/>
          </a:ln>
          <a:effectLst/>
        </p:spPr>
      </p:pic>
      <p:pic>
        <p:nvPicPr>
          <p:cNvPr id="31" name="Picture 9">
            <a:hlinkClick r:id="rId18"/>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480905" y="4047285"/>
            <a:ext cx="1188720" cy="1188720"/>
          </a:xfrm>
          <a:prstGeom prst="rect">
            <a:avLst/>
          </a:prstGeom>
          <a:noFill/>
          <a:ln w="9525">
            <a:solidFill>
              <a:srgbClr val="FF8200"/>
            </a:solidFill>
            <a:miter lim="800000"/>
            <a:headEnd/>
            <a:tailEnd/>
          </a:ln>
          <a:effectLst/>
        </p:spPr>
      </p:pic>
      <p:sp>
        <p:nvSpPr>
          <p:cNvPr id="32" name="TextBox 31"/>
          <p:cNvSpPr txBox="1"/>
          <p:nvPr/>
        </p:nvSpPr>
        <p:spPr>
          <a:xfrm>
            <a:off x="5480904" y="5336561"/>
            <a:ext cx="1188721"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Interactive Case Insights</a:t>
            </a:r>
            <a:endParaRPr lang="en-US" sz="1200" b="1" dirty="0">
              <a:solidFill>
                <a:schemeClr val="tx1"/>
              </a:solidFill>
            </a:endParaRPr>
          </a:p>
        </p:txBody>
      </p:sp>
      <p:sp>
        <p:nvSpPr>
          <p:cNvPr id="33" name="TextBox 32"/>
          <p:cNvSpPr txBox="1"/>
          <p:nvPr/>
        </p:nvSpPr>
        <p:spPr>
          <a:xfrm>
            <a:off x="6939657" y="5336561"/>
            <a:ext cx="1193002"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3D virtual environments</a:t>
            </a:r>
            <a:endParaRPr lang="en-US" sz="1200" b="1" dirty="0">
              <a:solidFill>
                <a:schemeClr val="tx1"/>
              </a:solidFill>
            </a:endParaRPr>
          </a:p>
        </p:txBody>
      </p:sp>
      <p:sp>
        <p:nvSpPr>
          <p:cNvPr id="43" name="TextBox 42"/>
          <p:cNvSpPr txBox="1"/>
          <p:nvPr/>
        </p:nvSpPr>
        <p:spPr>
          <a:xfrm>
            <a:off x="1041743" y="5336561"/>
            <a:ext cx="1192362"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NIF</a:t>
            </a:r>
            <a:endParaRPr lang="en-US" sz="1200" b="1" dirty="0">
              <a:solidFill>
                <a:schemeClr val="tx1"/>
              </a:solidFill>
            </a:endParaRPr>
          </a:p>
          <a:p>
            <a:pPr algn="ctr"/>
            <a:r>
              <a:rPr lang="en-US" sz="1200" b="1" dirty="0">
                <a:solidFill>
                  <a:schemeClr val="tx1"/>
                </a:solidFill>
              </a:rPr>
              <a:t>Antibody app</a:t>
            </a:r>
            <a:endParaRPr lang="en-US" sz="1200" b="1" dirty="0">
              <a:solidFill>
                <a:schemeClr val="tx1"/>
              </a:solidFill>
            </a:endParaRPr>
          </a:p>
        </p:txBody>
      </p:sp>
      <p:sp>
        <p:nvSpPr>
          <p:cNvPr id="44" name="Rectangle 43"/>
          <p:cNvSpPr/>
          <p:nvPr/>
        </p:nvSpPr>
        <p:spPr>
          <a:xfrm>
            <a:off x="248647" y="6349066"/>
            <a:ext cx="2301912" cy="307777"/>
          </a:xfrm>
          <a:prstGeom prst="rect">
            <a:avLst/>
          </a:prstGeom>
        </p:spPr>
        <p:txBody>
          <a:bodyPr wrap="none">
            <a:spAutoFit/>
          </a:bodyPr>
          <a:lstStyle/>
          <a:p>
            <a:pPr marL="86995" indent="0">
              <a:buNone/>
            </a:pPr>
            <a:r>
              <a:rPr lang="en-US" sz="1400" dirty="0">
                <a:solidFill>
                  <a:schemeClr val="tx2"/>
                </a:solidFill>
              </a:rPr>
              <a:t>(</a:t>
            </a:r>
            <a:r>
              <a:rPr lang="en-US" sz="1400" u="sng" dirty="0">
                <a:solidFill>
                  <a:schemeClr val="tx2"/>
                </a:solidFill>
              </a:rPr>
              <a:t>Click</a:t>
            </a:r>
            <a:r>
              <a:rPr lang="en-US" sz="1400" dirty="0">
                <a:solidFill>
                  <a:schemeClr val="tx2"/>
                </a:solidFill>
              </a:rPr>
              <a:t> icons for more info)</a:t>
            </a:r>
            <a:endParaRPr lang="en-US" sz="1400" dirty="0">
              <a:solidFill>
                <a:schemeClr val="tx2"/>
              </a:solidFill>
            </a:endParaRPr>
          </a:p>
        </p:txBody>
      </p:sp>
      <p:sp>
        <p:nvSpPr>
          <p:cNvPr id="45" name="TextBox 44"/>
          <p:cNvSpPr txBox="1"/>
          <p:nvPr/>
        </p:nvSpPr>
        <p:spPr>
          <a:xfrm>
            <a:off x="4017087" y="5336561"/>
            <a:ext cx="1189503" cy="4616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n-US" sz="1200" b="1" dirty="0">
                <a:solidFill>
                  <a:schemeClr val="tx1"/>
                </a:solidFill>
              </a:rPr>
              <a:t>Open </a:t>
            </a:r>
            <a:endParaRPr lang="en-US" sz="1200" b="1" dirty="0">
              <a:solidFill>
                <a:schemeClr val="tx1"/>
              </a:solidFill>
            </a:endParaRPr>
          </a:p>
          <a:p>
            <a:pPr algn="ctr"/>
            <a:r>
              <a:rPr lang="en-US" sz="1200" b="1" dirty="0">
                <a:solidFill>
                  <a:schemeClr val="tx1"/>
                </a:solidFill>
              </a:rPr>
              <a:t>Data</a:t>
            </a:r>
            <a:endParaRPr lang="en-US" sz="1200" b="1" dirty="0">
              <a:solidFill>
                <a:schemeClr val="tx1"/>
              </a:solidFill>
            </a:endParaRPr>
          </a:p>
        </p:txBody>
      </p:sp>
      <p:pic>
        <p:nvPicPr>
          <p:cNvPr id="47" name="Picture 46"/>
          <p:cNvPicPr>
            <a:picLocks noChangeAspect="1"/>
          </p:cNvPicPr>
          <p:nvPr/>
        </p:nvPicPr>
        <p:blipFill>
          <a:blip r:embed="rId20"/>
          <a:stretch>
            <a:fillRect/>
          </a:stretch>
        </p:blipFill>
        <p:spPr>
          <a:xfrm>
            <a:off x="398612" y="663974"/>
            <a:ext cx="494300" cy="636886"/>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593679" y="1530405"/>
            <a:ext cx="7676865" cy="4731499"/>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449505" y="445239"/>
            <a:ext cx="8238319" cy="418645"/>
          </a:xfrm>
        </p:spPr>
        <p:txBody>
          <a:bodyPr>
            <a:normAutofit/>
          </a:bodyPr>
          <a:lstStyle/>
          <a:p>
            <a:r>
              <a:rPr lang="zh-CN" altLang="en-US" sz="2000" dirty="0">
                <a:latin typeface="Microsoft YaHei UI" panose="020B0503020204020204" pitchFamily="34" charset="-122"/>
                <a:ea typeface="Microsoft YaHei UI" panose="020B0503020204020204" pitchFamily="34" charset="-122"/>
              </a:rPr>
              <a:t>全文界面：互动</a:t>
            </a:r>
            <a:r>
              <a:rPr lang="en-US" sz="2000" dirty="0">
                <a:latin typeface="Microsoft YaHei UI" panose="020B0503020204020204" pitchFamily="34" charset="-122"/>
                <a:ea typeface="Microsoft YaHei UI" panose="020B0503020204020204" pitchFamily="34" charset="-122"/>
              </a:rPr>
              <a:t>3D</a:t>
            </a:r>
            <a:r>
              <a:rPr lang="zh-CN" altLang="en-US" sz="2000" dirty="0">
                <a:latin typeface="Microsoft YaHei UI" panose="020B0503020204020204" pitchFamily="34" charset="-122"/>
                <a:ea typeface="Microsoft YaHei UI" panose="020B0503020204020204" pitchFamily="34" charset="-122"/>
              </a:rPr>
              <a:t>模型</a:t>
            </a:r>
            <a:endParaRPr lang="en-US" sz="2000" dirty="0">
              <a:latin typeface="Microsoft YaHei UI" panose="020B0503020204020204" pitchFamily="34" charset="-122"/>
              <a:ea typeface="Microsoft YaHei UI" panose="020B0503020204020204" pitchFamily="34" charset="-122"/>
            </a:endParaRPr>
          </a:p>
        </p:txBody>
      </p:sp>
      <p:sp>
        <p:nvSpPr>
          <p:cNvPr id="6" name="Rectangle 5"/>
          <p:cNvSpPr/>
          <p:nvPr/>
        </p:nvSpPr>
        <p:spPr>
          <a:xfrm>
            <a:off x="457199" y="6449548"/>
            <a:ext cx="7349320" cy="276999"/>
          </a:xfrm>
          <a:prstGeom prst="rect">
            <a:avLst/>
          </a:prstGeom>
        </p:spPr>
        <p:txBody>
          <a:bodyPr wrap="square">
            <a:spAutoFit/>
          </a:bodyPr>
          <a:lstStyle/>
          <a:p>
            <a:r>
              <a:rPr lang="en-US" sz="1200" dirty="0"/>
              <a:t>Article: </a:t>
            </a:r>
            <a:r>
              <a:rPr lang="en-US" sz="1200" dirty="0">
                <a:hlinkClick r:id="rId2"/>
              </a:rPr>
              <a:t>http://www.sciencedirect.com/science/article/pii/S2212054813000027</a:t>
            </a:r>
            <a:r>
              <a:rPr lang="en-US" sz="1200" dirty="0"/>
              <a:t> </a:t>
            </a:r>
            <a:endParaRPr lang="en-US" sz="1200" dirty="0"/>
          </a:p>
        </p:txBody>
      </p:sp>
      <p:sp>
        <p:nvSpPr>
          <p:cNvPr id="7" name="Rectangular Callout 6"/>
          <p:cNvSpPr/>
          <p:nvPr/>
        </p:nvSpPr>
        <p:spPr>
          <a:xfrm>
            <a:off x="320721" y="3193294"/>
            <a:ext cx="4414419" cy="1405720"/>
          </a:xfrm>
          <a:prstGeom prst="wedgeRectCallout">
            <a:avLst>
              <a:gd name="adj1" fmla="val 78306"/>
              <a:gd name="adj2" fmla="val 7733"/>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200"/>
            <a:r>
              <a:rPr lang="en-US" dirty="0">
                <a:solidFill>
                  <a:schemeClr val="tx1"/>
                </a:solidFill>
              </a:rPr>
              <a:t>3D models, pre-processed for quick loading and responsive user interaction. Users can zoom, rotate, enable stereo view, and download data</a:t>
            </a:r>
            <a:r>
              <a:rPr lang="en-US" dirty="0">
                <a:solidFill>
                  <a:schemeClr val="bg1"/>
                </a:solidFill>
              </a:rPr>
              <a:t>.</a:t>
            </a:r>
            <a:endParaRPr lang="en-GB" dirty="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970787" y="1265279"/>
            <a:ext cx="7152801" cy="503389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AutoShape 4" descr="data:image/jpeg;base64,/9j/4AAQSkZJRgABAQAAAQABAAD/2wCEAAkGBxMHEBQUERQUFhQXFxgYGRcYGB0eHRwfHSEfGhgdIBocHSkhHB0lHBYcITEhJSkrLy4uFyAzODMvNyguLi0BCgoKDg0OGxAQGjEkHyU2LTU2NDIvMDc0Nzc2LDAvNjQzMjQ0LzQ0NC44LCwsNTY0NTQsNCw0LjI0LCw0NDg0N//AABEIAHIBugMBIgACEQEDEQH/xAAcAAEAAwEBAQEBAAAAAAAAAAAABQYHBAgDAgH/xABOEAABAwIDBAUHBgoIBQUAAAABAAIDBBEFBhIHITFBEyJRYXEIFDKBkaGxNUJScoKyFSMzYnN0ksHC0RY0NqKzw9LwF1NUg5NDRWOU0//EABoBAQADAQEBAAAAAAAAAAAAAAADBAUCBgH/xAA0EQEAAgECAwQJAwMFAAAAAAAAAQIDBBESITETQVGBBRQiYXGRseHwMqHBIzPRFSRCUvH/2gAMAwEAAhEDEQA/ANxREQEXDjGLRYPGZJnWHIc3HsA5lZdmDOE+LktaTHF9Bp3kfnO5+HBTYsNsnToparXYtPytznwaPiWZqXDSRJK3UPmt6x9Ybe3rsoObaPTtPVild3nSP4isxUthWW6nFbGOM6T893Vb7Tx9V1b9Wx1je0sf/VNTlttir8o3XRm0mE8YZB4Fp/eFJUeeqOp3F7oz+e397bge1QdDs2J3zzepjf4nfyUzBkGji9ISP+s8/wANlDeNP3br2GfSM87RHn9lkpqllW3VG9r29rSCPaF9VDUeVqWhdqiY5ju1sjx7etvHcVMqtbbfk1Mc329uI390/aBERcuxERARFzYhXxYZGZJ5GRRiwL3uDWi+4bzu4oOlFy4biUOKs6SnljlZcjVG4ObccRcG11xV+aaHDpHRzVdNHI22pj5WNcLgEXBNxcEH1oJdFAf03w3/AK+j/wDPH/qUrh+JQ4m3VBLHK3tjeHD2goOpF+JZBC0ucQGgEkncABvJJ7Fw4VjtLjBcKaohmLbaujka61+F9JNr2PsQSKIiAiIgIiICIiAiIgIiICIiAiIgIiICIiAiIgIiICIiAiIgIiICIiAiIgLmxGtZh0TpZDZrRc/uA7yd3rXSs02mYwZ5W07T1WWc/vceA9QP97uUmLHx22VdZqIwYpv393xVrHsZkxuYyScODW8mjsHf2nmv7geBTY2+0Tdw9J53Nb4nt7hvUnlPKxxf8bMdFO293cNVuIB5Ac3f7Hdjmb+iHm+Hjo4hu1tG8/V7PHie5aM329jHH2ebrhiY7fUTyn5z9k1RYJQZZ09O8STG1gRqN+WmIXPHnvVxhf0jQdJbfkbXHjZVfJmWPwaOmn61Q7fv36AeX1jzPq8ezH820+CktJL5PoN5fWPBvx7lRvE3ttHOW/gmuHFxXiKR4f58ZTx3qv4vDiEN3U0sUg+g9gB9RvY+5VCq2jVEh/FsiYO+7j7bge5fin2h1UZ67YnDssQfaD+5d10+SOe0K+T0npr+zxTHvjd2DP1VQPLKmBtxxHWYffdWXBc402KkN1GN5+a/dfwdwPxUXDjVFnFoinb0cp9G5F7/AJj/ANx49hVMzLl2TAX2d1oz6LwNx7j2O7lJGOl/ZmOGUFtTqMMdpS3aU/ePi2g71FYbjTamV8Eg0Ts4t5OHEOYeYI324j3qkZNzi6jc2GpdeM7mvPFnYCebfh4KV2k4eWtjqoiQ+MhpcNxsT1Tfudu+0oex4b8Fu/pK569F8PbY+7rH5814RVrJmZRjkel9hMwdYfSHDUB8RyPirKobVms7SvYstctIvSeUiqm0/AJszYbLT0+npHOjI1Gw6rg47/AK1qnbWcZnwHCpZ6Z/RytdGA6wNrvAO5wI4HsXKQ2U5cnythwp6nT0gke7qm4sbW3rFdrlKK7Mj43EgPdTMJHEBzGA29q2TY9jk+YcMbNVSdJIZJG6rNG4WsLNACyLab/akfpaT7saC7HYFR8qmp/uf6VQM45RrNldRFUU1Q4xuNmStGkgjfoe25BBA7wbHcvTqx3yjMahbSQ0gc0zOlbKW8S1rWuFz2XLgB2jUgumD5hGacEdU2DXPp5Q9o4BzQ5rrd1xcdxCzbyZ/wApXfVh+L1Z9llC+iy08vBHSMqJAD9Egge3Tf1qseTP+Urvqw/F6Dd0WUbQcdx19eaPDYNLNLXtma0O1A8SXvGhm8EW47uJuFAT5YzTTAyCqc9w36Gz3P7LgGnwQbsiyHZPtNnxep8xxEfj+sGP06XFzLl7HttYOAB32HokEXX3255urMrGk8zm6PpBNr6rHX09Hp9JptbUfag1dFhTs9YznctiwiMtZGxglnswFz9I1kuf1WDVezW9awv3CHxXMOYshPY+re90bjYdJpkjceOnU3e0912ncexB6NWHbYc4V2B4tHDTVD44zFES0BtrlzgTvB5AK9f0kqM1YIanDARVPa0NZdpLXhwEjbvs0gDVvPEWK8+58OJGtZ+Exaq0M0/k/RudH5Pq+ldB65RYrhb81meLpgei6RnSf1b0NQ18Df0b8N62pAREQEREBERAREQEREBERAREQEREBERAREQEREBERB+JpRC1zncGgk+A3lZRlvBnZqqnyy3Eeouee0k3DAf92HqWj5lY6WklZGLueBGPtkM9nWX8o6WPLlIQ30YmOc4/SIF3E+Knx34Kzt1lQ1OCM2WsX/TXnP55KXtCxsR2o4LNYwDXp3D81ngBYn1di+OzjAvPJDUSDqRmzAeb+N/sj3kdiqEsjqyQuO973EnvLj/MrYaINwCKlpm2L3nT42GuV3x9oVnL/TxxSvWfyWXpf91qZzX/AE16fxH53peqh84aW6nNvxLdxt3Hl48ey3FR9JlylpPRgjJ7XDUf2nXKlUVCLTHKHoJx1tO8xu+Pmkf0Gfsj+S4qvL9LWenBEb8w0A/tNsVJokWmOklsdLRtMRKi4vs6jkBNM8sP0X72+30h7198DmfVNdQYiw69PUc757R2O5ubxBG/t3hXNfCqpWVVtQuWkOaebSOBB5fvFxwUvbWmNrKvqVKW4sfLxjumPgxjMeCvwOcxu3tO9jvpN/mOBCu2T6z+kFBLSyG72N0An6JHUPi0i3qCnM34IMbpnNA/GM60Z7+Y8CN3s7Fn2z2qNLXsbyeHMPs1D3tHtVnj7XFv3wy+x9U1cVj9F+Xz7vL6IXDa1+EzNkZuew8O3k5p7jvC2/D6xuIRMlZ6L2gj+XiDu9SxvNdN5pW1Df8A5C79rr/xK6bLa/pYZISfQcHN8HcR7Rf7SamsWpF4fPReWcWe2CenP5wvCz/br8iT/Xh++1aAs/26/Ik/14fvtVB6Jz7AfkZv6aX4hZTtihdU5ikZGbPcadrTe1iWMDTcbxvPFatsB+Rm/ppfiFme03+1I/S0n3Y0Et/wux//AK5v/wBqb/SpDLWwkiQSYlUCQXuY4tXW59aVwDrHnZt9/ELbkQRmNxNgoZ2sAa1sEjWtAsAAwgADkAFjfkz/AJSu+rD8XrZ8w/1Oo/Qy/dKxjyZ/yld9WH4vQXDaBtap8pymCKM1E49IB2ljL8i6xu7uA8SFWWbVcZf1hhLjGeFoZ/vcPcq1sqMUuYpTWaek1Tlmu35bX3/Otrt3gc16Lrq2PD43STPbHG0Xc5xAAHiUHmrLOJyYvmiGeWIwSSTAuj3jSdFjxAO+1945q0eUz6VB4VH+Uq5guMszBmyOoiv0clR1b8SGs0g25XDb25XVj8pn0qDwqP8AKQaVsuwpmEYRSNaLF8TZXHtdINZJ9oHgAubbDTtqMFq9Qvpa1w7iHNIKm8mfJtF+rQfcaonaz8i1v6MfeagqXk3yE4fUN5CoJHrYy/wVM29fLcP6GH771cPJt/qFT+sfwNVQ8oMGnxeF5G7zeMjv0vfcf77UHo1FxHF4G0/nBljEBaH9IXDTpO8G6645BKA5pBaQCCDcEHgQeYQfpERAREQEREBERAREQEREBERAREQEREBERAREQEREBQ2cnaaCot9C3tICmVH5hpjWUk7BxdG63ja494XVJ2tCLNEzjtEeE/RlOSqTzyuhB4NJefsi499la5q/zvHY2/NjDmDx0FzvebepROy6PVVvPZEfe5q5Kip8wxhz3cBUb/Amx/ulaF44slo9zzuCez09LeN438muIiLNenEREBEX8cdIueCD4xVTZZHsHFmm/wBrePgs9rcO/B+NxaRZsjxIPXfV7wfaFLZJxD8KVldIPRcY7eA1Nb7gpvE8M86rKWX/AJfS39bbN9hViv8ATtMT4fwzrx61ireO63L4cW305s62iR6K95+k1h9wb/CujZlLorSPpROHsIP7l8to79Ve7uYwe6/71+9mrNddfsjefgP3q3P9jyY8cvSHL/s1dQWdsttzZRvpXSGMPLDqAuRpcHcCR2KdRZj1KvZFys3J9IKZshkAe52otsetysCexVzMeyuPHcT8+NQ9jtUTtAYCPxYaAL356PerljmP02AM11U0cTTw1Hee4N4uPcAqTNtswqN1g6dw+k2I2/vEH3INIRVnLefsPzK7TT1DTJ/y3gsefAOA1eq6syDnxCm89hkjvbWxzL9moEX96qGzrZ2zIzpnMndL0oYDqaG206uwn6XuV3RBmee9j1PmeZ1RDKaeZ5u/q6mOPM6bghx5kHf2Xuoei2HOmc3z2vlljbwY0Ef3nOdb1BbIuHGsXhwKF01S8RxNIBcQTa5sNwBPEoKPRbJKfDsSjrYJTG2NzC2AMGkBrAy2ouuSbEknfclSO0bZ6zPRgL5nRdD0ltLQ6+vT2kWto96seAY9T5iiMtJIJIw4sLgCOsACR1gDwcPauHAs7UGYJjDS1DZJA0uLQ143AgE3c0DiQglcHoRhlPDCDqEUbI9RFr6Ght7cr2XLmnBRmKjmpnPLBK3SXAXI3g8PUpVEFU2eZKbkiGSJkrpRI/XdzQ224NtuJ7F+doWQ4M7xMbI50csd+jkaL2vxBB9JpsN1xw48b21ReYMxU2W42yVcoiY52kEhxubE26oPIFBkVLsBdqAlrrxg3IZFYnwu8gHvsVseB4VHgdPHTw6ujjbpbqcXG3eT8OA4CwAC/eE4nFjELJoHh8T7lrgCL2JB3EA8QV1oCIiAiIgIiICIiAiIgIiICIoCgznQ4hVGkinDqhrntMel4ILL6xcttu0nnyQT6IiAiIgIiICIiAiIgj8eq3UFO+Vu8s0uI7QCC4ettwuulqG1bGvYbtcAQe4r811MKyJ8Z4Pa5p9Yt+9Z3kPMJwyQ0s5s0uIaT8x97Fp7ifYfFS1x8VJmOsKeXUdlmrFulvr990plvDvwNis8duq+MvZ9UuBt6jcepQm0vDDTVImA6soFz+c0WI9YsfatKmo2yyRyfOZqse5wsR4cD4gL5YxhjMXhdFINx4EcQeRHeF3TPteLT5oc2g4sFsUeO8fnzhw5PxYYvSMcTd7Rof4jn6xY+tTay6g6fItV+NBMD+qXDg4cnDscPonv7itNgmbUNDmEOa4XBHAhc5qcM7x0lLos85KcN+Vq8pj+fN9ERFCuip+0PHhQQ9Aw/jJBvt81nP1nh7V35qzTHgTS0WfMRuZ2d7uwd3E+9Z5guEzZrqC5xJBN5JDy7hyvbcBy8ArWDF/zt0hla/Vz/Yw87T+y5bMKE09M+Qi3SO3fVbuHvLlclHVFVFgscbB3MjjHFx4AAfE8ua66mcUsbnu3BrS4+AFz8FDkmb24vFd09K4ccY9/0xzY7nOcVFfUEcnaf2QGn3tVn2VUX5aYjsjB/vO/hVFOuvl3DU+R/Ac3OP8AMrasAwwYRTxxDi0dY9rjvcfb7rK5qLcGOKMP0bjnNqbZu6N585SKrmfs1sydRPqHDU/0I2X9J54DwFiT3Aqxrz55SOJOlrKan36Y4TJbkS9xb7hH71nvSIjKeU6zatVSVNVM5sQdZ8pF+/o428BYHwF+d7HWqXY1hEDA10D5D9N00gJ7+o5rfcrFkTCG4HhtLC0AaYml3e5w1PPrcSp5Bg+0HYz+DI3VOFukd0fWdCTdwA33jcN5ItfSd532N7A6Tssmr58OjOJNtJ8wu/KOZ80yDk73kWvv429EBFg+dNptZmOr8ywXVp1FgkjtrlI4lrjuYwcdQsbC9wNy+P8Awvx8N6Tz4dJa+nzqbX4atOm/rt3oN+VA26fIdR9aH/EaqRkfafV4BV+Y4zqtqDOkkAD4yeGpw3PYeOo3Nje5Cu+3T5DqPrQ/4jUEb5OvyTJ+tSfcjVA8n/5Zl/QS/fYr/wCTr8kyfrUn3I1QPJ/+WZf0Ev32IPSCLNdqH4bqKiKDDOrBI06pGWDmuHpa5HegLEEabE7+NlUnbKsdc3UcSBfxt5xP97TxQbusk8pH5Op/1kfceoLImesQy3iTcOxVzntc9sd5DqexzvyZD9+tjiQN5O4g3FiDO+Uj8nU/6yPuPQWnY98iUf1H/wCI9XJeacpVuNZrpYqLDiYaeBul8jXaLkkv60o63O2hnLiDxXRjeC5hyI3zk1Ur42+k5kzpGt5DXHIN438dJA7tyD0cipGyzPYztTOLwGVERAlaOBv6L29gNju5EeChdrm005XPmtHpNU4Xc8i4iB9Hq8C88QDuAtcG6DUUXn2iyDmHMTBPNVuiL+sGzTytdv3jqMaQwd24jsXO3MuNbLqhkdcXTwO4B7y9rwLX6OU9ZpH0Twvct3hB6KRR+C4vFj1NHUQOvHI27TzHIg9jgQQR2grzflTapXYUZukklqZHxhkLZHFzWvLh1iL3O64AHEkIPUCLAaHLuZsXmimnmqY2OezUBUCMhhI1O6JjwG2BPVsDu4K6bUPw3PPDBhnVgkadUjLBzXD0tcjvQbYggtsTv4oNKRYQ7ZXjrm6jiQL+NvOJ/vaeK/ORM9YhlrEm4dirnPa57Y7yHU9jnfk3CT57HEjiTYEEEWIIbBnWV0GGVrmOLXNpZ3Nc02IIjcQQRvBB5rMfJ3xaoxQ13nE80ukQaekkc+1+kvbUTa9h7F07WsDxepfVTU9RooW07i+PpSLtawmUaLWNxfxWZbM8HxTFjUfgufodPR9L+MLNV9ejgDe1ne1B6rWX5Z2aVGD43JiD5YTG+SofoGrUBLq08Ra41C+9T2zTCsRwqKYYnN0z3PaWHpC+wtvG8C29Z/knMtZWZnmp5KiV0DZqsCMuJaA0v0i3YLC3gg3JF59zdmWvyPjobJUzvpekbKGOcSDE89ZtuenrNHe0FegIpBM0OaQWkAgjmDvBQfpFmW3TN0mXKSKKnkdHPO++pps5rGWLiCOBLi0d41LtyJiMmA4H57ic8khc0zkvdqIa6wiY2/Nw0kDtksg0BF55ZjWN7VJ3ijeaamYfmvMbG9gdI0apHW4gAjgbBfTE8nZgygw1MVY6URgucI5pHkAcSY5G6XtHZv7bIPQSKkbK8+DOtM7WA2pisJGjgb+i9vcbHdyI8F/MbhcybEAyeoYW00TmETSEMdK6Zr3NaXaRuY2wtYad1kF4RUXAcYmxHEIQ6R2lsE0MkY9EzxGLpn/nWMmkHlZ3er0gLJ9omE+YVRkA6k3W+188fxfaWsKMzFg7cbgdG7ceLHfRcOB8OR7ipsGTgvv3Kev03b4ZrHWOcKjkrOQAbBVO7mSH3Ncfg72q/veGAk8Bv3b/AILBa2kfQyOjkGl7TYj/AHy71ZMsZzkwi0ct5IRwHzm+BPEdx9ys5tNv7VGVovSc0/pZu7v/AMtPa+LEozYskjdx4Oaf3L44bhLMLJEOprDv6O92g8yL72+ANu5VitwmHMQNRh83RzcXaSW3P5wG9p7+ffxVbrMZxPA3aZXyN7C4NcD4OIN/aoa4ZtyrPlK9l1kY5i96bx3WjnH2ayVX8XixCtu2EwQt+lqc5/3LD/e9UI55rT/6jf2G/wAlx1Gaayp9Kof9mzfugLumlvE78lfN6WwXrtHF5bQtLMlU+H/jK6pB33IvpuedySXO9VimIZ4hw1nRUEYsODiLNHeG8XHvNvWqNDDLiL7ND5Hnsu4q/ZVyL0BEtXYuG8RcQPrHgfDh4qTJWteeSd/crafJkyTw6anDHfPWfm6clYTLUP8APasl0jhaPVxAPzrcrg2AHIntX12k4p5nSiIHrSm32Rvd7dw9ZVtJ0hVuHADidUaqqHDdFCeDWjgXdrjxtyvz5Vq3ib8du5q5MFqYexx9Z6z9ZlFbPssmmtUzCziPxbT80H5x7yOHd47r0iKPJeb23lY0+nrgxxSovOvlHUbosRgl+a+nDR4sc6/ue32r0UqTtZyac4UOmO3nERL4u/d1mX5ah7wFwnWDKWINxWgppmcHwsPgbAOHiCCPUpZebtlu0h2Si6krWSdBrPI64XfOGk79N95HEG533W2U2f8AC6locK6mAPJ0gaf2XWI9iCyqubRqt1DhNa9hIcIHgEcRqGm47xe6ou0HbNBRROiw13SzuBHSgdSPvFx13dnLtvaxn8myVedsEezEWaHTRvjbJwL2ltmylluqb7+w2vYAhBUPJswxmiqqSAZNTYgeYbbU63iS39hbavNuzPMrtm+IT0leCyN5DZDYnQ5voP7Swh3EciCt7/pRRdH0vndP0dr6ulZb4oMm8pPC2BtJUgASEvicebhbU32HV+0pDOVY7EMnxSSG7jHTXPaQ9rb+JtdU3aVmJ20vEYKWgBfGwlsZII1OdbW89jAGjeRwBPNaLtXwxuDZaNOze2JtPGD26XsF/E2v60Hz8nX5Jk/WpPuRqgeT/wDLMv6CX77Ff/J1+SZP1qT7kaoHk/8AyzL+gl++xBpO0rapHlGQU8EYmqbAuBNmx33t1W3lx3HSLbje/C9Zgzdmisb0jKFgad4BiLfc+TUqxJVR4Zm58leQI21TyXO4NBaegce4XYb8rX5L0LU41TUkXSyTxNjtfWXt0+o33oPMuYcRrcTxmlfiEIgn1wDSGFt2h/VdYk35i9+S07ykfk6n/WR9x6zfOGZ482Y9DNCD0TZYI2EixcGvHWtyuSbDsstI8pH5Op/1kfcegsmxikbSYJS6RveHvce0l7t59QA8GhXKrp21kb45AHMe0tc08CCLEHxBVG2S43TNwelYaiEPYwhzTI0Fp1ONiL3G4j2r8bQdp9Jl6B7aeVk1U5pDGsIcGk/OeRuAF76b3PvAZnsHJoMbmhBu3opWHsOhzbH3e9fPI8IzJml76jraZp5bHtYT0Y+z1bfVCsXk75YkiMtfK0hrm9FFf51yDI7wu0AH63Yq9nGmm2bY+KxjSYZJHSs7HNf+Wj7iNTreLSg9IKmbYMKZimD1OsC8TemYbcHM37vFt2+DipPA860GORCSKpisRva94a5vc5pNx8Fmm2zaNT1FM6ho5GyukI6V7DdrWg30hw3FxIF7bgLjmg6/JwrXS0NVESS2OUObflrbvA9bL2/OPaqN5P8Ah0dfi+qQAmGB8rL8namMB9QkPrsVrexnLD8tYYOmBbNO4yuaeLQQAxpHI6RcjkXEcll/k4/Ks36o/wDxIkHo5ZztK2px5QkFPDGJqkgEgmzWA+jqtvLjx0i243vwvoy811FTHhubnyVxAjbUuJLuAu09C49gBLDfla6CzwZuzRWN6RlCwNO8AxFvufJqVDzJiVbieM0r8RhEE4dANIYW3aH7nWJN99xe/JemqnGqali6V88TY7X1l7dPtvvXmvOeZ482Y9DNCD0TZII2EixcGvvqseFy42HZZB6Hz38lV/6pUf4blk/kzelX+FP/AJq13OFM6sw6sjYLvfTTtaO0uY4Ae0rEvJ1xqDDZ6qKaRkbpWxFmogA6C/UATuv1wbdx7EHoRed9n/8Aa6f9PW/F63OkzJSVtQ6minifM1ussa4Gw4cRuvvG7jvCwzZ//a6f9PW/F6C5+UDlv8J0Lapg/GUx63fG6wd7HaT3DUpLYbmH8N4UyNx/GUx6E/VAvEfDT1fsFXyupGV8T4pBqZI1zHA8w4WI9hXmDCsZm2X11fB1iTHJCOHpcYJfUHX8HlBMZgB2k5mELbmCN/RXF90cVzKbj6TtQB/Oarr5RdQabDYI2bmvnaCBws1riB4Xsfshc3k65c81ppa1460xMcZ/MaeuR9Z4t/2wrRtmy2/MmFvEQLpYXCZjRxdpBDmjtOlxIA4kAIMyyJtPflegip4sNfKG6iZRIRrLnEk2EJ7hxPoqfO2+c/8AtMn/AJXf/gvlsT2i09LStoauRsToy7onvNmua4l2kuO5rgSeO4gjsWr1uZqOgYXy1UDWjfcyN9wBufUgwfYxNJS44SIZIop2zN0Fp0tG+Rrb2A3aAL2HvXowxh17gb+O7j2KqZO2h0eb5poqcuDo941C2tm4F7R2ajax37x2q2oPyIwDewvv5dvH2r9IiAiIggM05Yjx5t/QlaOq/wDc7tHwWU4rhcuEv0TMLTyPI94PNbqvhV0kda0slY17TycLhWMOomnKecM3WejaZ/ajlb86sJpqh9K4Ojc5rhwLTY+0K14dn6Vg0VMbJmc9wB9e7SfYFPYls7gnuYXuiPYes33kH3lQU+zqpYeq+Fw7y4H2aT8VanLhydWTXS63Tz7H7c4+X2SEVZg+J+nGIndhDm+9h0qVosCwqQ3j6J//AHS73FyqzNnlW7iYR4ud+5qkqPZqT+WnHgxv8Tv5KO3BHS8rWL1iZ9rBWfftELzSxQ0bbRCNjextgPcupQmE5UpcKsWRhzh89/WPq5D1AKbVO22/KW1i4uH2oiPh/wCQIiLlIIiICIiCq5v2fUObetPGWy2t0sZ0v7rmxDvtAqgy+T/CXdWskDewxtJ9ocPgtoRBnuV9j+H4C4SPa6okBuDLbSD3MAt+1daEiIKznHItHnBo85YRIBZsrDpeB2XsQRv4EEKg/wDACn1f1ubT2aG39vD3LZEQVrJ2R6PJ7SKZh1uFnSvN3u7r2sB3AALtzZl2LNVK+mmc9rHlpJYQHdUhw4gjiOxTCIIDJeU4cnU5ggdI5hkdJeQgm5DQfRaBazRyUPk7ZlS5RqnVEEk7nuY5hEjmFtnEE+iwG/VHNXdEFPzxs6o85EPmDmTNFhLGQHW5BwIIcPf3qpUOwSjieDLUTyNHzQGtv3E7zbwstdRBQa/ZLQVU8ErOlh6BrGsZGWhvUcXgnUwuJJcbm9yrBnDKdPnCAQ1OvS12tpY6xDrEX5g7nHiFPIgxyo2AUzj+Lq5mj85jXe8WUngWw+gw54fO+WoINw11ms9bW7z4E27lqCIPxFE2Foa0BrQAAALAAcAAOAXFjuCQZghdDVRtkjPI8j2gje094UgiDH63YFSyOJiqp2Nv6Lmtdbuvu96sWUNktBlqQS2dPM03a6W1mnkWsAtfvNyOSvyIB3qk5J2Z0uTKh09PJO57ozGRI5pFi5rieqwb7sHvV2RAVQzxs6o85EPmDmTNFhLGQHW5BwIIcPf3q3ogyKh2CUcTwZameRo+aA1t+4nefZZT9fskw+qnglZ0sPQNY1jIy0N6ji8E6mlxJLjc3uVfkQFluYdiFFikzpYZJKfWS4saA5lzvOkHe0d17DlZakiCiZI2WUeUZRM0vmnFw2SS3VuLHS0bgSDa5ud5X3wfZtS4RiL69kk5me+V5a5zdF5b6twYDYajberoiAqPnPZfR5wqBPM6ZkmgMPROaA617E6mHfvt4AK8Ig5MIw6PCIIoIhaOJjWN7bAW39pPEntK60RBn+bdkdBmOR0oDoJXG7nRWs4niXMItc8bi1+artLsBpWOvJVTub2Na1p9pv8ABbEiCGyxlalytGY6SIMB9J3FzvrOO8+HAclMoiAiIgIiICIiAiIgIiICIiAiIgIiICIiAiIgIiICIiAiIgIiICIiAiIgIiICIiAiIgIiICIiAiIgIiICIiAiIgIiICIiAiIgIiIP/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sp>
        <p:nvSpPr>
          <p:cNvPr id="6" name="AutoShape 6" descr="data:image/jpeg;base64,/9j/4AAQSkZJRgABAQAAAQABAAD/2wCEAAkGBxMHEBQUERQUFhQXFxgYGRcYGB0eHRwfHSEfGhgdIBocHSkhHB0lHBYcITEhJSkrLy4uFyAzODMvNyguLi0BCgoKDg0OGxAQGjEkHyU2LTU2NDIvMDc0Nzc2LDAvNjQzMjQ0LzQ0NC44LCwsNTY0NTQsNCw0LjI0LCw0NDg0N//AABEIAHIBugMBIgACEQEDEQH/xAAcAAEAAwEBAQEBAAAAAAAAAAAABQYHBAgDAgH/xABOEAABAwIDBAUHBgoIBQUAAAABAAIDBBEFBhIHITFBEyJRYXEIFDKBkaGxNUJScoKyFSMzYnN0ksHC0RY0NqKzw9LwF1NUg5NDRWOU0//EABoBAQADAQEBAAAAAAAAAAAAAAADBAUCBgH/xAA0EQEAAgECAwQJAwMFAAAAAAAAAQIDBBESITETQVGBBRQiYXGRseHwMqHBIzPRFSRCUvH/2gAMAwEAAhEDEQA/ANxREQEXDjGLRYPGZJnWHIc3HsA5lZdmDOE+LktaTHF9Bp3kfnO5+HBTYsNsnToparXYtPytznwaPiWZqXDSRJK3UPmt6x9Ybe3rsoObaPTtPVild3nSP4isxUthWW6nFbGOM6T893Vb7Tx9V1b9Wx1je0sf/VNTlttir8o3XRm0mE8YZB4Fp/eFJUeeqOp3F7oz+e397bge1QdDs2J3zzepjf4nfyUzBkGji9ISP+s8/wANlDeNP3br2GfSM87RHn9lkpqllW3VG9r29rSCPaF9VDUeVqWhdqiY5ju1sjx7etvHcVMqtbbfk1Mc329uI390/aBERcuxERARFzYhXxYZGZJ5GRRiwL3uDWi+4bzu4oOlFy4biUOKs6SnljlZcjVG4ObccRcG11xV+aaHDpHRzVdNHI22pj5WNcLgEXBNxcEH1oJdFAf03w3/AK+j/wDPH/qUrh+JQ4m3VBLHK3tjeHD2goOpF+JZBC0ucQGgEkncABvJJ7Fw4VjtLjBcKaohmLbaujka61+F9JNr2PsQSKIiAiIgIiICIiAiIgIiICIiAiIgIiICIiAiIgIiICIiAiIgIiICIiAiIgLmxGtZh0TpZDZrRc/uA7yd3rXSs02mYwZ5W07T1WWc/vceA9QP97uUmLHx22VdZqIwYpv393xVrHsZkxuYyScODW8mjsHf2nmv7geBTY2+0Tdw9J53Nb4nt7hvUnlPKxxf8bMdFO293cNVuIB5Ac3f7Hdjmb+iHm+Hjo4hu1tG8/V7PHie5aM329jHH2ebrhiY7fUTyn5z9k1RYJQZZ09O8STG1gRqN+WmIXPHnvVxhf0jQdJbfkbXHjZVfJmWPwaOmn61Q7fv36AeX1jzPq8ezH820+CktJL5PoN5fWPBvx7lRvE3ttHOW/gmuHFxXiKR4f58ZTx3qv4vDiEN3U0sUg+g9gB9RvY+5VCq2jVEh/FsiYO+7j7bge5fin2h1UZ67YnDssQfaD+5d10+SOe0K+T0npr+zxTHvjd2DP1VQPLKmBtxxHWYffdWXBc402KkN1GN5+a/dfwdwPxUXDjVFnFoinb0cp9G5F7/AJj/ANx49hVMzLl2TAX2d1oz6LwNx7j2O7lJGOl/ZmOGUFtTqMMdpS3aU/ePi2g71FYbjTamV8Eg0Ts4t5OHEOYeYI324j3qkZNzi6jc2GpdeM7mvPFnYCebfh4KV2k4eWtjqoiQ+MhpcNxsT1Tfudu+0oex4b8Fu/pK569F8PbY+7rH5814RVrJmZRjkel9hMwdYfSHDUB8RyPirKobVms7SvYstctIvSeUiqm0/AJszYbLT0+npHOjI1Gw6rg47/AK1qnbWcZnwHCpZ6Z/RytdGA6wNrvAO5wI4HsXKQ2U5cnythwp6nT0gke7qm4sbW3rFdrlKK7Mj43EgPdTMJHEBzGA29q2TY9jk+YcMbNVSdJIZJG6rNG4WsLNACyLab/akfpaT7saC7HYFR8qmp/uf6VQM45RrNldRFUU1Q4xuNmStGkgjfoe25BBA7wbHcvTqx3yjMahbSQ0gc0zOlbKW8S1rWuFz2XLgB2jUgumD5hGacEdU2DXPp5Q9o4BzQ5rrd1xcdxCzbyZ/wApXfVh+L1Z9llC+iy08vBHSMqJAD9Egge3Tf1qseTP+Urvqw/F6Dd0WUbQcdx19eaPDYNLNLXtma0O1A8SXvGhm8EW47uJuFAT5YzTTAyCqc9w36Gz3P7LgGnwQbsiyHZPtNnxep8xxEfj+sGP06XFzLl7HttYOAB32HokEXX3255urMrGk8zm6PpBNr6rHX09Hp9JptbUfag1dFhTs9YznctiwiMtZGxglnswFz9I1kuf1WDVezW9awv3CHxXMOYshPY+re90bjYdJpkjceOnU3e0912ncexB6NWHbYc4V2B4tHDTVD44zFES0BtrlzgTvB5AK9f0kqM1YIanDARVPa0NZdpLXhwEjbvs0gDVvPEWK8+58OJGtZ+Exaq0M0/k/RudH5Pq+ldB65RYrhb81meLpgei6RnSf1b0NQ18Df0b8N62pAREQEREBERAREQEREBERAREQEREBERAREQEREBERB+JpRC1zncGgk+A3lZRlvBnZqqnyy3Eeouee0k3DAf92HqWj5lY6WklZGLueBGPtkM9nWX8o6WPLlIQ30YmOc4/SIF3E+Knx34Kzt1lQ1OCM2WsX/TXnP55KXtCxsR2o4LNYwDXp3D81ngBYn1di+OzjAvPJDUSDqRmzAeb+N/sj3kdiqEsjqyQuO973EnvLj/MrYaINwCKlpm2L3nT42GuV3x9oVnL/TxxSvWfyWXpf91qZzX/AE16fxH53peqh84aW6nNvxLdxt3Hl48ey3FR9JlylpPRgjJ7XDUf2nXKlUVCLTHKHoJx1tO8xu+Pmkf0Gfsj+S4qvL9LWenBEb8w0A/tNsVJokWmOklsdLRtMRKi4vs6jkBNM8sP0X72+30h7198DmfVNdQYiw69PUc757R2O5ubxBG/t3hXNfCqpWVVtQuWkOaebSOBB5fvFxwUvbWmNrKvqVKW4sfLxjumPgxjMeCvwOcxu3tO9jvpN/mOBCu2T6z+kFBLSyG72N0An6JHUPi0i3qCnM34IMbpnNA/GM60Z7+Y8CN3s7Fn2z2qNLXsbyeHMPs1D3tHtVnj7XFv3wy+x9U1cVj9F+Xz7vL6IXDa1+EzNkZuew8O3k5p7jvC2/D6xuIRMlZ6L2gj+XiDu9SxvNdN5pW1Df8A5C79rr/xK6bLa/pYZISfQcHN8HcR7Rf7SamsWpF4fPReWcWe2CenP5wvCz/br8iT/Xh++1aAs/26/Ik/14fvtVB6Jz7AfkZv6aX4hZTtihdU5ikZGbPcadrTe1iWMDTcbxvPFatsB+Rm/ppfiFme03+1I/S0n3Y0Et/wux//AK5v/wBqb/SpDLWwkiQSYlUCQXuY4tXW59aVwDrHnZt9/ELbkQRmNxNgoZ2sAa1sEjWtAsAAwgADkAFjfkz/AJSu+rD8XrZ8w/1Oo/Qy/dKxjyZ/yld9WH4vQXDaBtap8pymCKM1E49IB2ljL8i6xu7uA8SFWWbVcZf1hhLjGeFoZ/vcPcq1sqMUuYpTWaek1Tlmu35bX3/Otrt3gc16Lrq2PD43STPbHG0Xc5xAAHiUHmrLOJyYvmiGeWIwSSTAuj3jSdFjxAO+1945q0eUz6VB4VH+Uq5guMszBmyOoiv0clR1b8SGs0g25XDb25XVj8pn0qDwqP8AKQaVsuwpmEYRSNaLF8TZXHtdINZJ9oHgAubbDTtqMFq9Qvpa1w7iHNIKm8mfJtF+rQfcaonaz8i1v6MfeagqXk3yE4fUN5CoJHrYy/wVM29fLcP6GH771cPJt/qFT+sfwNVQ8oMGnxeF5G7zeMjv0vfcf77UHo1FxHF4G0/nBljEBaH9IXDTpO8G6645BKA5pBaQCCDcEHgQeYQfpERAREQEREBERAREQEREBERAREQEREBERAREQEREBQ2cnaaCot9C3tICmVH5hpjWUk7BxdG63ja494XVJ2tCLNEzjtEeE/RlOSqTzyuhB4NJefsi499la5q/zvHY2/NjDmDx0FzvebepROy6PVVvPZEfe5q5Kip8wxhz3cBUb/Amx/ulaF44slo9zzuCez09LeN438muIiLNenEREBEX8cdIueCD4xVTZZHsHFmm/wBrePgs9rcO/B+NxaRZsjxIPXfV7wfaFLZJxD8KVldIPRcY7eA1Nb7gpvE8M86rKWX/AJfS39bbN9hViv8ATtMT4fwzrx61ireO63L4cW305s62iR6K95+k1h9wb/CujZlLorSPpROHsIP7l8to79Ve7uYwe6/71+9mrNddfsjefgP3q3P9jyY8cvSHL/s1dQWdsttzZRvpXSGMPLDqAuRpcHcCR2KdRZj1KvZFys3J9IKZshkAe52otsetysCexVzMeyuPHcT8+NQ9jtUTtAYCPxYaAL356PerljmP02AM11U0cTTw1Hee4N4uPcAqTNtswqN1g6dw+k2I2/vEH3INIRVnLefsPzK7TT1DTJ/y3gsefAOA1eq6syDnxCm89hkjvbWxzL9moEX96qGzrZ2zIzpnMndL0oYDqaG206uwn6XuV3RBmee9j1PmeZ1RDKaeZ5u/q6mOPM6bghx5kHf2Xuoei2HOmc3z2vlljbwY0Ef3nOdb1BbIuHGsXhwKF01S8RxNIBcQTa5sNwBPEoKPRbJKfDsSjrYJTG2NzC2AMGkBrAy2ouuSbEknfclSO0bZ6zPRgL5nRdD0ltLQ6+vT2kWto96seAY9T5iiMtJIJIw4sLgCOsACR1gDwcPauHAs7UGYJjDS1DZJA0uLQ143AgE3c0DiQglcHoRhlPDCDqEUbI9RFr6Ght7cr2XLmnBRmKjmpnPLBK3SXAXI3g8PUpVEFU2eZKbkiGSJkrpRI/XdzQ224NtuJ7F+doWQ4M7xMbI50csd+jkaL2vxBB9JpsN1xw48b21ReYMxU2W42yVcoiY52kEhxubE26oPIFBkVLsBdqAlrrxg3IZFYnwu8gHvsVseB4VHgdPHTw6ujjbpbqcXG3eT8OA4CwAC/eE4nFjELJoHh8T7lrgCL2JB3EA8QV1oCIiAiIgIiICIiAiIgIiICIoCgznQ4hVGkinDqhrntMel4ILL6xcttu0nnyQT6IiAiIgIiICIiAiIgj8eq3UFO+Vu8s0uI7QCC4ettwuulqG1bGvYbtcAQe4r811MKyJ8Z4Pa5p9Yt+9Z3kPMJwyQ0s5s0uIaT8x97Fp7ifYfFS1x8VJmOsKeXUdlmrFulvr990plvDvwNis8duq+MvZ9UuBt6jcepQm0vDDTVImA6soFz+c0WI9YsfatKmo2yyRyfOZqse5wsR4cD4gL5YxhjMXhdFINx4EcQeRHeF3TPteLT5oc2g4sFsUeO8fnzhw5PxYYvSMcTd7Rof4jn6xY+tTay6g6fItV+NBMD+qXDg4cnDscPonv7itNgmbUNDmEOa4XBHAhc5qcM7x0lLos85KcN+Vq8pj+fN9ERFCuip+0PHhQQ9Aw/jJBvt81nP1nh7V35qzTHgTS0WfMRuZ2d7uwd3E+9Z5guEzZrqC5xJBN5JDy7hyvbcBy8ArWDF/zt0hla/Vz/Yw87T+y5bMKE09M+Qi3SO3fVbuHvLlclHVFVFgscbB3MjjHFx4AAfE8ua66mcUsbnu3BrS4+AFz8FDkmb24vFd09K4ccY9/0xzY7nOcVFfUEcnaf2QGn3tVn2VUX5aYjsjB/vO/hVFOuvl3DU+R/Ac3OP8AMrasAwwYRTxxDi0dY9rjvcfb7rK5qLcGOKMP0bjnNqbZu6N585SKrmfs1sydRPqHDU/0I2X9J54DwFiT3Aqxrz55SOJOlrKan36Y4TJbkS9xb7hH71nvSIjKeU6zatVSVNVM5sQdZ8pF+/o428BYHwF+d7HWqXY1hEDA10D5D9N00gJ7+o5rfcrFkTCG4HhtLC0AaYml3e5w1PPrcSp5Bg+0HYz+DI3VOFukd0fWdCTdwA33jcN5ItfSd532N7A6Tssmr58OjOJNtJ8wu/KOZ80yDk73kWvv429EBFg+dNptZmOr8ywXVp1FgkjtrlI4lrjuYwcdQsbC9wNy+P8Awvx8N6Tz4dJa+nzqbX4atOm/rt3oN+VA26fIdR9aH/EaqRkfafV4BV+Y4zqtqDOkkAD4yeGpw3PYeOo3Nje5Cu+3T5DqPrQ/4jUEb5OvyTJ+tSfcjVA8n/5Zl/QS/fYr/wCTr8kyfrUn3I1QPJ/+WZf0Ev32IPSCLNdqH4bqKiKDDOrBI06pGWDmuHpa5HegLEEabE7+NlUnbKsdc3UcSBfxt5xP97TxQbusk8pH5Op/1kfceoLImesQy3iTcOxVzntc9sd5DqexzvyZD9+tjiQN5O4g3FiDO+Uj8nU/6yPuPQWnY98iUf1H/wCI9XJeacpVuNZrpYqLDiYaeBul8jXaLkkv60o63O2hnLiDxXRjeC5hyI3zk1Ur42+k5kzpGt5DXHIN438dJA7tyD0cipGyzPYztTOLwGVERAlaOBv6L29gNju5EeChdrm005XPmtHpNU4Xc8i4iB9Hq8C88QDuAtcG6DUUXn2iyDmHMTBPNVuiL+sGzTytdv3jqMaQwd24jsXO3MuNbLqhkdcXTwO4B7y9rwLX6OU9ZpH0Twvct3hB6KRR+C4vFj1NHUQOvHI27TzHIg9jgQQR2grzflTapXYUZukklqZHxhkLZHFzWvLh1iL3O64AHEkIPUCLAaHLuZsXmimnmqY2OezUBUCMhhI1O6JjwG2BPVsDu4K6bUPw3PPDBhnVgkadUjLBzXD0tcjvQbYggtsTv4oNKRYQ7ZXjrm6jiQL+NvOJ/vaeK/ORM9YhlrEm4dirnPa57Y7yHU9jnfk3CT57HEjiTYEEEWIIbBnWV0GGVrmOLXNpZ3Nc02IIjcQQRvBB5rMfJ3xaoxQ13nE80ukQaekkc+1+kvbUTa9h7F07WsDxepfVTU9RooW07i+PpSLtawmUaLWNxfxWZbM8HxTFjUfgufodPR9L+MLNV9ejgDe1ne1B6rWX5Z2aVGD43JiD5YTG+SofoGrUBLq08Ra41C+9T2zTCsRwqKYYnN0z3PaWHpC+wtvG8C29Z/knMtZWZnmp5KiV0DZqsCMuJaA0v0i3YLC3gg3JF59zdmWvyPjobJUzvpekbKGOcSDE89ZtuenrNHe0FegIpBM0OaQWkAgjmDvBQfpFmW3TN0mXKSKKnkdHPO++pps5rGWLiCOBLi0d41LtyJiMmA4H57ic8khc0zkvdqIa6wiY2/Nw0kDtksg0BF55ZjWN7VJ3ijeaamYfmvMbG9gdI0apHW4gAjgbBfTE8nZgygw1MVY6URgucI5pHkAcSY5G6XtHZv7bIPQSKkbK8+DOtM7WA2pisJGjgb+i9vcbHdyI8F/MbhcybEAyeoYW00TmETSEMdK6Zr3NaXaRuY2wtYad1kF4RUXAcYmxHEIQ6R2lsE0MkY9EzxGLpn/nWMmkHlZ3er0gLJ9omE+YVRkA6k3W+188fxfaWsKMzFg7cbgdG7ceLHfRcOB8OR7ipsGTgvv3Kev03b4ZrHWOcKjkrOQAbBVO7mSH3Ncfg72q/veGAk8Bv3b/AILBa2kfQyOjkGl7TYj/AHy71ZMsZzkwi0ct5IRwHzm+BPEdx9ys5tNv7VGVovSc0/pZu7v/AMtPa+LEozYskjdx4Oaf3L44bhLMLJEOprDv6O92g8yL72+ANu5VitwmHMQNRh83RzcXaSW3P5wG9p7+ffxVbrMZxPA3aZXyN7C4NcD4OIN/aoa4ZtyrPlK9l1kY5i96bx3WjnH2ayVX8XixCtu2EwQt+lqc5/3LD/e9UI55rT/6jf2G/wAlx1Gaayp9Kof9mzfugLumlvE78lfN6WwXrtHF5bQtLMlU+H/jK6pB33IvpuedySXO9VimIZ4hw1nRUEYsODiLNHeG8XHvNvWqNDDLiL7ND5Hnsu4q/ZVyL0BEtXYuG8RcQPrHgfDh4qTJWteeSd/crafJkyTw6anDHfPWfm6clYTLUP8APasl0jhaPVxAPzrcrg2AHIntX12k4p5nSiIHrSm32Rvd7dw9ZVtJ0hVuHADidUaqqHDdFCeDWjgXdrjxtyvz5Vq3ib8du5q5MFqYexx9Z6z9ZlFbPssmmtUzCziPxbT80H5x7yOHd47r0iKPJeb23lY0+nrgxxSovOvlHUbosRgl+a+nDR4sc6/ue32r0UqTtZyac4UOmO3nERL4u/d1mX5ah7wFwnWDKWINxWgppmcHwsPgbAOHiCCPUpZebtlu0h2Si6krWSdBrPI64XfOGk79N95HEG533W2U2f8AC6locK6mAPJ0gaf2XWI9iCyqubRqt1DhNa9hIcIHgEcRqGm47xe6ou0HbNBRROiw13SzuBHSgdSPvFx13dnLtvaxn8myVedsEezEWaHTRvjbJwL2ltmylluqb7+w2vYAhBUPJswxmiqqSAZNTYgeYbbU63iS39hbavNuzPMrtm+IT0leCyN5DZDYnQ5voP7Swh3EciCt7/pRRdH0vndP0dr6ulZb4oMm8pPC2BtJUgASEvicebhbU32HV+0pDOVY7EMnxSSG7jHTXPaQ9rb+JtdU3aVmJ20vEYKWgBfGwlsZII1OdbW89jAGjeRwBPNaLtXwxuDZaNOze2JtPGD26XsF/E2v60Hz8nX5Jk/WpPuRqgeT/wDLMv6CX77Ff/J1+SZP1qT7kaoHk/8AyzL+gl++xBpO0rapHlGQU8EYmqbAuBNmx33t1W3lx3HSLbje/C9Zgzdmisb0jKFgad4BiLfc+TUqxJVR4Zm58leQI21TyXO4NBaegce4XYb8rX5L0LU41TUkXSyTxNjtfWXt0+o33oPMuYcRrcTxmlfiEIgn1wDSGFt2h/VdYk35i9+S07ykfk6n/WR9x6zfOGZ482Y9DNCD0TZYI2EixcGvHWtyuSbDsstI8pH5Op/1kfcegsmxikbSYJS6RveHvce0l7t59QA8GhXKrp21kb45AHMe0tc08CCLEHxBVG2S43TNwelYaiEPYwhzTI0Fp1ONiL3G4j2r8bQdp9Jl6B7aeVk1U5pDGsIcGk/OeRuAF76b3PvAZnsHJoMbmhBu3opWHsOhzbH3e9fPI8IzJml76jraZp5bHtYT0Y+z1bfVCsXk75YkiMtfK0hrm9FFf51yDI7wu0AH63Yq9nGmm2bY+KxjSYZJHSs7HNf+Wj7iNTreLSg9IKmbYMKZimD1OsC8TemYbcHM37vFt2+DipPA860GORCSKpisRva94a5vc5pNx8Fmm2zaNT1FM6ho5GyukI6V7DdrWg30hw3FxIF7bgLjmg6/JwrXS0NVESS2OUObflrbvA9bL2/OPaqN5P8Ah0dfi+qQAmGB8rL8namMB9QkPrsVrexnLD8tYYOmBbNO4yuaeLQQAxpHI6RcjkXEcll/k4/Ks36o/wDxIkHo5ZztK2px5QkFPDGJqkgEgmzWA+jqtvLjx0i243vwvoy811FTHhubnyVxAjbUuJLuAu09C49gBLDfla6CzwZuzRWN6RlCwNO8AxFvufJqVDzJiVbieM0r8RhEE4dANIYW3aH7nWJN99xe/JemqnGqali6V88TY7X1l7dPtvvXmvOeZ482Y9DNCD0TZII2EixcGvvqseFy42HZZB6Hz38lV/6pUf4blk/kzelX+FP/AJq13OFM6sw6sjYLvfTTtaO0uY4Ae0rEvJ1xqDDZ6qKaRkbpWxFmogA6C/UATuv1wbdx7EHoRed9n/8Aa6f9PW/F63OkzJSVtQ6minifM1ussa4Gw4cRuvvG7jvCwzZ//a6f9PW/F6C5+UDlv8J0Lapg/GUx63fG6wd7HaT3DUpLYbmH8N4UyNx/GUx6E/VAvEfDT1fsFXyupGV8T4pBqZI1zHA8w4WI9hXmDCsZm2X11fB1iTHJCOHpcYJfUHX8HlBMZgB2k5mELbmCN/RXF90cVzKbj6TtQB/Oarr5RdQabDYI2bmvnaCBws1riB4Xsfshc3k65c81ppa1460xMcZ/MaeuR9Z4t/2wrRtmy2/MmFvEQLpYXCZjRxdpBDmjtOlxIA4kAIMyyJtPflegip4sNfKG6iZRIRrLnEk2EJ7hxPoqfO2+c/8AtMn/AJXf/gvlsT2i09LStoauRsToy7onvNmua4l2kuO5rgSeO4gjsWr1uZqOgYXy1UDWjfcyN9wBufUgwfYxNJS44SIZIop2zN0Fp0tG+Rrb2A3aAL2HvXowxh17gb+O7j2KqZO2h0eb5poqcuDo941C2tm4F7R2ajax37x2q2oPyIwDewvv5dvH2r9IiAiIggM05Yjx5t/QlaOq/wDc7tHwWU4rhcuEv0TMLTyPI94PNbqvhV0kda0slY17TycLhWMOomnKecM3WejaZ/ajlb86sJpqh9K4Ojc5rhwLTY+0K14dn6Vg0VMbJmc9wB9e7SfYFPYls7gnuYXuiPYes33kH3lQU+zqpYeq+Fw7y4H2aT8VanLhydWTXS63Tz7H7c4+X2SEVZg+J+nGIndhDm+9h0qVosCwqQ3j6J//AHS73FyqzNnlW7iYR4ud+5qkqPZqT+WnHgxv8Tv5KO3BHS8rWL1iZ9rBWfftELzSxQ0bbRCNjextgPcupQmE5UpcKsWRhzh89/WPq5D1AKbVO22/KW1i4uH2oiPh/wCQIiLlIIiICIiCq5v2fUObetPGWy2t0sZ0v7rmxDvtAqgy+T/CXdWskDewxtJ9ocPgtoRBnuV9j+H4C4SPa6okBuDLbSD3MAt+1daEiIKznHItHnBo85YRIBZsrDpeB2XsQRv4EEKg/wDACn1f1ubT2aG39vD3LZEQVrJ2R6PJ7SKZh1uFnSvN3u7r2sB3AALtzZl2LNVK+mmc9rHlpJYQHdUhw4gjiOxTCIIDJeU4cnU5ggdI5hkdJeQgm5DQfRaBazRyUPk7ZlS5RqnVEEk7nuY5hEjmFtnEE+iwG/VHNXdEFPzxs6o85EPmDmTNFhLGQHW5BwIIcPf3qpUOwSjieDLUTyNHzQGtv3E7zbwstdRBQa/ZLQVU8ErOlh6BrGsZGWhvUcXgnUwuJJcbm9yrBnDKdPnCAQ1OvS12tpY6xDrEX5g7nHiFPIgxyo2AUzj+Lq5mj85jXe8WUngWw+gw54fO+WoINw11ms9bW7z4E27lqCIPxFE2Foa0BrQAAALAAcAAOAXFjuCQZghdDVRtkjPI8j2gje094UgiDH63YFSyOJiqp2Nv6Lmtdbuvu96sWUNktBlqQS2dPM03a6W1mnkWsAtfvNyOSvyIB3qk5J2Z0uTKh09PJO57ozGRI5pFi5rieqwb7sHvV2RAVQzxs6o85EPmDmTNFhLGQHW5BwIIcPf3q3ogyKh2CUcTwZameRo+aA1t+4nefZZT9fskw+qnglZ0sPQNY1jIy0N6ji8E6mlxJLjc3uVfkQFluYdiFFikzpYZJKfWS4saA5lzvOkHe0d17DlZakiCiZI2WUeUZRM0vmnFw2SS3VuLHS0bgSDa5ud5X3wfZtS4RiL69kk5me+V5a5zdF5b6twYDYajberoiAqPnPZfR5wqBPM6ZkmgMPROaA617E6mHfvt4AK8Ig5MIw6PCIIoIhaOJjWN7bAW39pPEntK60RBn+bdkdBmOR0oDoJXG7nRWs4niXMItc8bi1+artLsBpWOvJVTub2Na1p9pv8ABbEiCGyxlalytGY6SIMB9J3FzvrOO8+HAclMoiAiIgIiICIiAiIgIiICIiAiIgIiICIiAiIgIiICIiAiIgIiICIiAiIgIiICIiAiIgIiICIiAiIgIiICIiAiIgIiICIiAiIgIiIP/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endParaRPr lang="en-US"/>
          </a:p>
        </p:txBody>
      </p:sp>
      <p:sp>
        <p:nvSpPr>
          <p:cNvPr id="16" name="Rectangular Callout 15"/>
          <p:cNvSpPr/>
          <p:nvPr/>
        </p:nvSpPr>
        <p:spPr>
          <a:xfrm>
            <a:off x="623119" y="2874628"/>
            <a:ext cx="4404075" cy="1170978"/>
          </a:xfrm>
          <a:prstGeom prst="wedgeRectCallout">
            <a:avLst>
              <a:gd name="adj1" fmla="val 66867"/>
              <a:gd name="adj2" fmla="val 9642"/>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200"/>
            <a:r>
              <a:rPr lang="en-US" dirty="0">
                <a:solidFill>
                  <a:schemeClr val="tx1"/>
                </a:solidFill>
              </a:rPr>
              <a:t>Very high-resolution digital slides (up to 40x zoom) – delivered seamlessly through the browser</a:t>
            </a:r>
            <a:endParaRPr lang="en-GB" i="1" dirty="0">
              <a:solidFill>
                <a:schemeClr val="tx1"/>
              </a:solidFill>
            </a:endParaRPr>
          </a:p>
        </p:txBody>
      </p:sp>
      <p:grpSp>
        <p:nvGrpSpPr>
          <p:cNvPr id="17" name="Group 16"/>
          <p:cNvGrpSpPr/>
          <p:nvPr/>
        </p:nvGrpSpPr>
        <p:grpSpPr>
          <a:xfrm>
            <a:off x="307975" y="5289965"/>
            <a:ext cx="3597559" cy="1047181"/>
            <a:chOff x="155575" y="5431808"/>
            <a:chExt cx="3597559" cy="1047181"/>
          </a:xfrm>
        </p:grpSpPr>
        <p:sp>
          <p:nvSpPr>
            <p:cNvPr id="15" name="Rectangle 14"/>
            <p:cNvSpPr/>
            <p:nvPr/>
          </p:nvSpPr>
          <p:spPr>
            <a:xfrm>
              <a:off x="155575" y="5431808"/>
              <a:ext cx="3597559" cy="1047181"/>
            </a:xfrm>
            <a:prstGeom prst="rect">
              <a:avLst/>
            </a:prstGeom>
            <a:solidFill>
              <a:schemeClr val="bg1"/>
            </a:solidFill>
            <a:ln>
              <a:solidFill>
                <a:schemeClr val="tx2"/>
              </a:solidFill>
            </a:ln>
          </p:spPr>
          <p:style>
            <a:lnRef idx="3">
              <a:schemeClr val="lt1"/>
            </a:lnRef>
            <a:fillRef idx="1">
              <a:schemeClr val="accent1"/>
            </a:fillRef>
            <a:effectRef idx="1">
              <a:schemeClr val="accent1"/>
            </a:effectRef>
            <a:fontRef idx="minor">
              <a:schemeClr val="lt1"/>
            </a:fontRef>
          </p:style>
          <p:txBody>
            <a:bodyPr rtlCol="0" anchor="ctr"/>
            <a:lstStyle/>
            <a:p>
              <a:pPr algn="ctr"/>
              <a:endParaRPr lang="en-US"/>
            </a:p>
          </p:txBody>
        </p:sp>
        <p:sp>
          <p:nvSpPr>
            <p:cNvPr id="7" name="Rectangle 6"/>
            <p:cNvSpPr/>
            <p:nvPr/>
          </p:nvSpPr>
          <p:spPr>
            <a:xfrm>
              <a:off x="1137208" y="5653978"/>
              <a:ext cx="2464796" cy="584775"/>
            </a:xfrm>
            <a:prstGeom prst="rect">
              <a:avLst/>
            </a:prstGeom>
          </p:spPr>
          <p:txBody>
            <a:bodyPr wrap="square">
              <a:spAutoFit/>
            </a:bodyPr>
            <a:lstStyle/>
            <a:p>
              <a:r>
                <a:rPr lang="en-GB" sz="1600" b="1" dirty="0"/>
                <a:t>2015 PROSE award for best </a:t>
              </a:r>
              <a:r>
                <a:rPr lang="en-GB" sz="1600" b="1" dirty="0" err="1"/>
                <a:t>eProduct</a:t>
              </a:r>
              <a:r>
                <a:rPr lang="en-GB" sz="1600" b="1" dirty="0"/>
                <a:t>/App</a:t>
              </a:r>
              <a:endParaRPr lang="en-GB" sz="1600" b="1" dirty="0"/>
            </a:p>
          </p:txBody>
        </p:sp>
        <p:pic>
          <p:nvPicPr>
            <p:cNvPr id="2052" name="Picture 4" descr="http://www.publishers.org/_attachments/images/press_releases/prose2012/prose%20logo-web.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6992" y="5603883"/>
              <a:ext cx="695336" cy="707978"/>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Rectangle 11"/>
          <p:cNvSpPr/>
          <p:nvPr/>
        </p:nvSpPr>
        <p:spPr>
          <a:xfrm>
            <a:off x="457199" y="6449548"/>
            <a:ext cx="7349320" cy="276999"/>
          </a:xfrm>
          <a:prstGeom prst="rect">
            <a:avLst/>
          </a:prstGeom>
        </p:spPr>
        <p:txBody>
          <a:bodyPr wrap="square">
            <a:spAutoFit/>
          </a:bodyPr>
          <a:lstStyle/>
          <a:p>
            <a:r>
              <a:rPr lang="en-US" sz="1200" dirty="0"/>
              <a:t>Article: </a:t>
            </a:r>
            <a:r>
              <a:rPr lang="en-US" sz="1200" dirty="0">
                <a:hlinkClick r:id="rId3"/>
              </a:rPr>
              <a:t>http://www.sciencedirect.com/science/article/pii/S2212440314004635</a:t>
            </a:r>
            <a:r>
              <a:rPr lang="en-US" sz="1200" dirty="0"/>
              <a:t>  </a:t>
            </a:r>
            <a:endParaRPr lang="en-US" sz="1200" dirty="0"/>
          </a:p>
        </p:txBody>
      </p:sp>
      <p:sp>
        <p:nvSpPr>
          <p:cNvPr id="19" name="Title 1"/>
          <p:cNvSpPr txBox="1"/>
          <p:nvPr/>
        </p:nvSpPr>
        <p:spPr>
          <a:xfrm>
            <a:off x="344818" y="408440"/>
            <a:ext cx="8238319" cy="418645"/>
          </a:xfrm>
          <a:prstGeom prst="rect">
            <a:avLst/>
          </a:prstGeom>
        </p:spPr>
        <p:txBody>
          <a:bodyPr/>
          <a:lstStyle>
            <a:lvl1pPr algn="l" rtl="0" eaLnBrk="0" fontAlgn="base" hangingPunct="0">
              <a:spcBef>
                <a:spcPct val="0"/>
              </a:spcBef>
              <a:spcAft>
                <a:spcPct val="0"/>
              </a:spcAft>
              <a:defRPr sz="2800" b="1">
                <a:solidFill>
                  <a:srgbClr val="036635"/>
                </a:solidFill>
                <a:latin typeface="+mj-lt"/>
                <a:ea typeface="+mj-ea"/>
                <a:cs typeface="+mj-cs"/>
              </a:defRPr>
            </a:lvl1pPr>
            <a:lvl2pPr algn="l" rtl="0" eaLnBrk="0" fontAlgn="base" hangingPunct="0">
              <a:spcBef>
                <a:spcPct val="0"/>
              </a:spcBef>
              <a:spcAft>
                <a:spcPct val="0"/>
              </a:spcAft>
              <a:defRPr sz="2800" b="1">
                <a:solidFill>
                  <a:srgbClr val="036635"/>
                </a:solidFill>
                <a:latin typeface="Arial" panose="020B0604020202020204" pitchFamily="34" charset="0"/>
                <a:cs typeface="Arial" panose="020B0604020202020204" pitchFamily="34" charset="0"/>
              </a:defRPr>
            </a:lvl2pPr>
            <a:lvl3pPr algn="l" rtl="0" eaLnBrk="0" fontAlgn="base" hangingPunct="0">
              <a:spcBef>
                <a:spcPct val="0"/>
              </a:spcBef>
              <a:spcAft>
                <a:spcPct val="0"/>
              </a:spcAft>
              <a:defRPr sz="2800" b="1">
                <a:solidFill>
                  <a:srgbClr val="036635"/>
                </a:solidFill>
                <a:latin typeface="Arial" panose="020B0604020202020204" pitchFamily="34" charset="0"/>
                <a:cs typeface="Arial" panose="020B0604020202020204" pitchFamily="34" charset="0"/>
              </a:defRPr>
            </a:lvl3pPr>
            <a:lvl4pPr algn="l" rtl="0" eaLnBrk="0" fontAlgn="base" hangingPunct="0">
              <a:spcBef>
                <a:spcPct val="0"/>
              </a:spcBef>
              <a:spcAft>
                <a:spcPct val="0"/>
              </a:spcAft>
              <a:defRPr sz="2800" b="1">
                <a:solidFill>
                  <a:srgbClr val="036635"/>
                </a:solidFill>
                <a:latin typeface="Arial" panose="020B0604020202020204" pitchFamily="34" charset="0"/>
                <a:cs typeface="Arial" panose="020B0604020202020204" pitchFamily="34" charset="0"/>
              </a:defRPr>
            </a:lvl4pPr>
            <a:lvl5pPr algn="l" rtl="0" eaLnBrk="0" fontAlgn="base" hangingPunct="0">
              <a:spcBef>
                <a:spcPct val="0"/>
              </a:spcBef>
              <a:spcAft>
                <a:spcPct val="0"/>
              </a:spcAft>
              <a:defRPr sz="2800" b="1">
                <a:solidFill>
                  <a:srgbClr val="036635"/>
                </a:solidFill>
                <a:latin typeface="Arial" panose="020B0604020202020204" pitchFamily="34" charset="0"/>
                <a:cs typeface="Arial" panose="020B0604020202020204" pitchFamily="34" charset="0"/>
              </a:defRPr>
            </a:lvl5pPr>
            <a:lvl6pPr marL="457200" algn="l" rtl="0" eaLnBrk="0" fontAlgn="base" hangingPunct="0">
              <a:spcBef>
                <a:spcPct val="0"/>
              </a:spcBef>
              <a:spcAft>
                <a:spcPct val="0"/>
              </a:spcAft>
              <a:defRPr sz="2800" b="1">
                <a:solidFill>
                  <a:srgbClr val="036635"/>
                </a:solidFill>
                <a:latin typeface="Arial" panose="020B0604020202020204" pitchFamily="34" charset="0"/>
                <a:cs typeface="Arial" panose="020B0604020202020204" pitchFamily="34" charset="0"/>
              </a:defRPr>
            </a:lvl6pPr>
            <a:lvl7pPr marL="914400" algn="l" rtl="0" eaLnBrk="0" fontAlgn="base" hangingPunct="0">
              <a:spcBef>
                <a:spcPct val="0"/>
              </a:spcBef>
              <a:spcAft>
                <a:spcPct val="0"/>
              </a:spcAft>
              <a:defRPr sz="2800" b="1">
                <a:solidFill>
                  <a:srgbClr val="036635"/>
                </a:solidFill>
                <a:latin typeface="Arial" panose="020B0604020202020204" pitchFamily="34" charset="0"/>
                <a:cs typeface="Arial" panose="020B0604020202020204" pitchFamily="34" charset="0"/>
              </a:defRPr>
            </a:lvl7pPr>
            <a:lvl8pPr marL="1371600" algn="l" rtl="0" eaLnBrk="0" fontAlgn="base" hangingPunct="0">
              <a:spcBef>
                <a:spcPct val="0"/>
              </a:spcBef>
              <a:spcAft>
                <a:spcPct val="0"/>
              </a:spcAft>
              <a:defRPr sz="2800" b="1">
                <a:solidFill>
                  <a:srgbClr val="036635"/>
                </a:solidFill>
                <a:latin typeface="Arial" panose="020B0604020202020204" pitchFamily="34" charset="0"/>
                <a:cs typeface="Arial" panose="020B0604020202020204" pitchFamily="34" charset="0"/>
              </a:defRPr>
            </a:lvl8pPr>
            <a:lvl9pPr marL="1828800" algn="l" rtl="0" eaLnBrk="0" fontAlgn="base" hangingPunct="0">
              <a:spcBef>
                <a:spcPct val="0"/>
              </a:spcBef>
              <a:spcAft>
                <a:spcPct val="0"/>
              </a:spcAft>
              <a:defRPr sz="2800" b="1">
                <a:solidFill>
                  <a:srgbClr val="036635"/>
                </a:solidFill>
                <a:latin typeface="Arial" panose="020B0604020202020204" pitchFamily="34" charset="0"/>
                <a:cs typeface="Arial" panose="020B0604020202020204" pitchFamily="34" charset="0"/>
              </a:defRPr>
            </a:lvl9pPr>
          </a:lstStyle>
          <a:p>
            <a:r>
              <a:rPr lang="zh-CN" altLang="en-US" sz="2000" dirty="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rPr>
              <a:t>全文界面：虚拟显微镜</a:t>
            </a:r>
            <a:endParaRPr lang="en-US" sz="2000" dirty="0">
              <a:solidFill>
                <a:srgbClr val="007398"/>
              </a:solidFill>
              <a:latin typeface="Microsoft YaHei UI" panose="020B0503020204020204" pitchFamily="34" charset="-122"/>
              <a:ea typeface="Microsoft YaHei UI" panose="020B0503020204020204" pitchFamily="34" charset="-122"/>
              <a:cs typeface="Arial" panose="020B0604020202020204" pitchFamily="34" charset="0"/>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1387177" y="1297020"/>
            <a:ext cx="7013019" cy="461197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33297" y="487512"/>
            <a:ext cx="8238319" cy="418645"/>
          </a:xfrm>
        </p:spPr>
        <p:txBody>
          <a:bodyPr>
            <a:normAutofit/>
          </a:bodyPr>
          <a:lstStyle/>
          <a:p>
            <a:r>
              <a:rPr lang="zh-CN" altLang="en-US" sz="2000" dirty="0">
                <a:latin typeface="Microsoft YaHei UI" panose="020B0503020204020204" pitchFamily="34" charset="-122"/>
                <a:ea typeface="Microsoft YaHei UI" panose="020B0503020204020204" pitchFamily="34" charset="-122"/>
              </a:rPr>
              <a:t>全文界面：互动坐标图</a:t>
            </a:r>
            <a:endParaRPr lang="en-US" sz="2000" dirty="0">
              <a:latin typeface="Microsoft YaHei UI" panose="020B0503020204020204" pitchFamily="34" charset="-122"/>
              <a:ea typeface="Microsoft YaHei UI" panose="020B0503020204020204" pitchFamily="34" charset="-122"/>
            </a:endParaRPr>
          </a:p>
        </p:txBody>
      </p:sp>
      <p:sp>
        <p:nvSpPr>
          <p:cNvPr id="3" name="Rectangle 2"/>
          <p:cNvSpPr/>
          <p:nvPr/>
        </p:nvSpPr>
        <p:spPr>
          <a:xfrm>
            <a:off x="457199" y="6449548"/>
            <a:ext cx="7349320" cy="276999"/>
          </a:xfrm>
          <a:prstGeom prst="rect">
            <a:avLst/>
          </a:prstGeom>
        </p:spPr>
        <p:txBody>
          <a:bodyPr wrap="square">
            <a:spAutoFit/>
          </a:bodyPr>
          <a:lstStyle/>
          <a:p>
            <a:r>
              <a:rPr lang="en-US" sz="1200" dirty="0"/>
              <a:t>Article: </a:t>
            </a:r>
            <a:r>
              <a:rPr lang="en-US" sz="1200" dirty="0">
                <a:hlinkClick r:id="rId2"/>
              </a:rPr>
              <a:t>http://www.sciencedirect.com/science/article/pii/S0926860X14003688</a:t>
            </a:r>
            <a:r>
              <a:rPr lang="en-US" sz="1200" dirty="0"/>
              <a:t> </a:t>
            </a:r>
            <a:endParaRPr lang="en-US" sz="1200" dirty="0"/>
          </a:p>
        </p:txBody>
      </p:sp>
      <p:sp>
        <p:nvSpPr>
          <p:cNvPr id="7" name="Rectangular Callout 6"/>
          <p:cNvSpPr/>
          <p:nvPr/>
        </p:nvSpPr>
        <p:spPr>
          <a:xfrm>
            <a:off x="4131859" y="4975589"/>
            <a:ext cx="4414419" cy="1405720"/>
          </a:xfrm>
          <a:prstGeom prst="wedgeRectCallout">
            <a:avLst>
              <a:gd name="adj1" fmla="val 11837"/>
              <a:gd name="adj2" fmla="val -7479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457200"/>
            <a:r>
              <a:rPr lang="en-US" dirty="0">
                <a:solidFill>
                  <a:schemeClr val="tx1"/>
                </a:solidFill>
              </a:rPr>
              <a:t>Interactive plot viewer renders CSV data and allows for data inspection &amp; download – right from the article!</a:t>
            </a:r>
            <a:endParaRPr lang="en-GB" dirty="0">
              <a:solidFill>
                <a:schemeClr val="tx1"/>
              </a:solidFill>
            </a:endParaRPr>
          </a:p>
        </p:txBody>
      </p:sp>
      <p:sp>
        <p:nvSpPr>
          <p:cNvPr id="4" name="Pentagon 3"/>
          <p:cNvSpPr/>
          <p:nvPr/>
        </p:nvSpPr>
        <p:spPr>
          <a:xfrm>
            <a:off x="205030" y="2743198"/>
            <a:ext cx="3316091" cy="1091821"/>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en-US" dirty="0">
                <a:solidFill>
                  <a:schemeClr val="tx1"/>
                </a:solidFill>
              </a:rPr>
              <a:t>Author uploads CSV data as </a:t>
            </a:r>
            <a:r>
              <a:rPr lang="en-US" i="1" dirty="0">
                <a:solidFill>
                  <a:schemeClr val="tx1"/>
                </a:solidFill>
              </a:rPr>
              <a:t>supplementary material</a:t>
            </a:r>
            <a:r>
              <a:rPr lang="en-US" dirty="0">
                <a:solidFill>
                  <a:schemeClr val="tx1"/>
                </a:solidFill>
              </a:rPr>
              <a:t> with their article.</a:t>
            </a:r>
            <a:endParaRPr lang="en-GB" dirty="0">
              <a:solidFill>
                <a:schemeClr val="tx1"/>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7" y="593444"/>
            <a:ext cx="8238319" cy="418645"/>
          </a:xfrm>
        </p:spPr>
        <p:txBody>
          <a:bodyPr/>
          <a:lstStyle/>
          <a:p>
            <a:r>
              <a:rPr lang="zh-CN" altLang="en-US" b="1" dirty="0"/>
              <a:t>爱思唯尔拥有世界最好的期刊</a:t>
            </a:r>
            <a:endParaRPr lang="en-US" b="1" dirty="0"/>
          </a:p>
        </p:txBody>
      </p:sp>
      <p:sp>
        <p:nvSpPr>
          <p:cNvPr id="14" name="テキスト ボックス 103"/>
          <p:cNvSpPr txBox="1"/>
          <p:nvPr/>
        </p:nvSpPr>
        <p:spPr>
          <a:xfrm>
            <a:off x="284823" y="6422215"/>
            <a:ext cx="2923286" cy="333392"/>
          </a:xfrm>
          <a:prstGeom prst="rect">
            <a:avLst/>
          </a:prstGeom>
          <a:noFill/>
        </p:spPr>
        <p:txBody>
          <a:bodyPr wrap="square" lIns="91400" tIns="45704" rIns="91400" bIns="45704" rtlCol="0">
            <a:spAutoFit/>
          </a:bodyPr>
          <a:lstStyle/>
          <a:p>
            <a:pPr fontAlgn="base">
              <a:spcBef>
                <a:spcPct val="0"/>
              </a:spcBef>
              <a:spcAft>
                <a:spcPct val="0"/>
              </a:spcAft>
            </a:pPr>
            <a:r>
              <a:rPr lang="en-US" altLang="ja-JP" sz="700" dirty="0">
                <a:latin typeface="Arial" panose="020B0604020202020204" pitchFamily="34" charset="0"/>
                <a:cs typeface="Arial" panose="020B0604020202020204" pitchFamily="34" charset="0"/>
              </a:rPr>
              <a:t>* Includes one book series </a:t>
            </a:r>
            <a:r>
              <a:rPr lang="en-US" altLang="ja-JP" sz="700" i="1" dirty="0">
                <a:latin typeface="Arial" panose="020B0604020202020204" pitchFamily="34" charset="0"/>
                <a:cs typeface="Arial" panose="020B0604020202020204" pitchFamily="34" charset="0"/>
              </a:rPr>
              <a:t>Advances in Organometallic Chemistry</a:t>
            </a:r>
            <a:endParaRPr kumimoji="1" lang="en-US" altLang="ja-JP" sz="700" dirty="0">
              <a:latin typeface="Arial" panose="020B0604020202020204" pitchFamily="34" charset="0"/>
              <a:cs typeface="Arial" panose="020B0604020202020204" pitchFamily="34" charset="0"/>
            </a:endParaRPr>
          </a:p>
          <a:p>
            <a:pPr fontAlgn="base">
              <a:spcBef>
                <a:spcPts val="200"/>
              </a:spcBef>
              <a:spcAft>
                <a:spcPct val="0"/>
              </a:spcAft>
            </a:pPr>
            <a:r>
              <a:rPr kumimoji="1" lang="en-US" altLang="ja-JP" sz="700" dirty="0">
                <a:latin typeface="Arial" panose="020B0604020202020204" pitchFamily="34" charset="0"/>
                <a:cs typeface="Arial" panose="020B0604020202020204" pitchFamily="34" charset="0"/>
              </a:rPr>
              <a:t>Source: Thomson Reuters Journal Citation Reports 2015</a:t>
            </a:r>
            <a:endParaRPr kumimoji="1" lang="ja-JP" altLang="en-US" sz="700" dirty="0">
              <a:latin typeface="Arial" panose="020B0604020202020204" pitchFamily="34" charset="0"/>
              <a:cs typeface="Arial" panose="020B0604020202020204" pitchFamily="34" charset="0"/>
            </a:endParaRPr>
          </a:p>
        </p:txBody>
      </p:sp>
      <p:grpSp>
        <p:nvGrpSpPr>
          <p:cNvPr id="4" name="Group 3"/>
          <p:cNvGrpSpPr/>
          <p:nvPr/>
        </p:nvGrpSpPr>
        <p:grpSpPr>
          <a:xfrm>
            <a:off x="5860868" y="5472957"/>
            <a:ext cx="3029743" cy="949257"/>
            <a:chOff x="5768969" y="5428936"/>
            <a:chExt cx="3985442" cy="790648"/>
          </a:xfrm>
          <a:solidFill>
            <a:schemeClr val="tx2"/>
          </a:solidFill>
        </p:grpSpPr>
        <p:sp>
          <p:nvSpPr>
            <p:cNvPr id="3" name="Rectangular Callout 2"/>
            <p:cNvSpPr/>
            <p:nvPr/>
          </p:nvSpPr>
          <p:spPr>
            <a:xfrm flipH="1" flipV="1">
              <a:off x="5768969" y="5428936"/>
              <a:ext cx="3985442" cy="790648"/>
            </a:xfrm>
            <a:prstGeom prst="wedgeRectCallout">
              <a:avLst>
                <a:gd name="adj1" fmla="val 31441"/>
                <a:gd name="adj2" fmla="val 67904"/>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6055272" y="5572684"/>
              <a:ext cx="3616111" cy="524012"/>
            </a:xfrm>
            <a:prstGeom prst="rect">
              <a:avLst/>
            </a:prstGeom>
            <a:noFill/>
          </p:spPr>
          <p:txBody>
            <a:bodyPr wrap="square" rtlCol="0">
              <a:spAutoFit/>
            </a:bodyPr>
            <a:lstStyle/>
            <a:p>
              <a:r>
                <a:rPr lang="en-US" altLang="ja-JP" sz="1100" dirty="0">
                  <a:solidFill>
                    <a:schemeClr val="bg1"/>
                  </a:solidFill>
                  <a:latin typeface="Arial" panose="020B0604020202020204" pitchFamily="34" charset="0"/>
                  <a:cs typeface="Arial" panose="020B0604020202020204" pitchFamily="34" charset="0"/>
                </a:rPr>
                <a:t>2015: No.1 in 71 categories out of 235 *</a:t>
              </a:r>
              <a:endParaRPr lang="en-US" altLang="ja-JP" sz="1100" dirty="0">
                <a:solidFill>
                  <a:schemeClr val="bg1"/>
                </a:solidFill>
                <a:latin typeface="Arial" panose="020B0604020202020204" pitchFamily="34" charset="0"/>
                <a:cs typeface="Arial" panose="020B0604020202020204" pitchFamily="34" charset="0"/>
              </a:endParaRPr>
            </a:p>
            <a:p>
              <a:r>
                <a:rPr lang="en-US" altLang="ja-JP" sz="1100" dirty="0">
                  <a:solidFill>
                    <a:schemeClr val="bg1"/>
                  </a:solidFill>
                  <a:latin typeface="Arial" panose="020B0604020202020204" pitchFamily="34" charset="0"/>
                  <a:cs typeface="Arial" panose="020B0604020202020204" pitchFamily="34" charset="0"/>
                </a:rPr>
                <a:t>2014: No.1 in 62 categories out of 232</a:t>
              </a:r>
              <a:endParaRPr lang="en-US" altLang="ja-JP" sz="1100" dirty="0">
                <a:solidFill>
                  <a:schemeClr val="bg1"/>
                </a:solidFill>
                <a:latin typeface="Arial" panose="020B0604020202020204" pitchFamily="34" charset="0"/>
                <a:cs typeface="Arial" panose="020B0604020202020204" pitchFamily="34" charset="0"/>
              </a:endParaRPr>
            </a:p>
          </p:txBody>
        </p:sp>
      </p:grpSp>
      <p:pic>
        <p:nvPicPr>
          <p:cNvPr id="79" name="図 4"/>
          <p:cNvPicPr/>
          <p:nvPr/>
        </p:nvPicPr>
        <p:blipFill>
          <a:blip r:embed="rId1">
            <a:extLst>
              <a:ext uri="{28A0092B-C50C-407E-A947-70E740481C1C}">
                <a14:useLocalDpi xmlns:a14="http://schemas.microsoft.com/office/drawing/2010/main" val="0"/>
              </a:ext>
            </a:extLst>
          </a:blip>
          <a:stretch>
            <a:fillRect/>
          </a:stretch>
        </p:blipFill>
        <p:spPr>
          <a:xfrm>
            <a:off x="284823" y="1187871"/>
            <a:ext cx="541679" cy="722239"/>
          </a:xfrm>
          <a:prstGeom prst="rect">
            <a:avLst/>
          </a:prstGeom>
          <a:ln w="3175">
            <a:solidFill>
              <a:schemeClr val="bg1">
                <a:lumMod val="75000"/>
              </a:schemeClr>
            </a:solidFill>
          </a:ln>
        </p:spPr>
      </p:pic>
      <p:pic>
        <p:nvPicPr>
          <p:cNvPr id="80" name="図 6"/>
          <p:cNvPicPr/>
          <p:nvPr/>
        </p:nvPicPr>
        <p:blipFill>
          <a:blip r:embed="rId2">
            <a:extLst>
              <a:ext uri="{28A0092B-C50C-407E-A947-70E740481C1C}">
                <a14:useLocalDpi xmlns:a14="http://schemas.microsoft.com/office/drawing/2010/main" val="0"/>
              </a:ext>
            </a:extLst>
          </a:blip>
          <a:stretch>
            <a:fillRect/>
          </a:stretch>
        </p:blipFill>
        <p:spPr>
          <a:xfrm>
            <a:off x="1871464" y="1187871"/>
            <a:ext cx="541679" cy="722239"/>
          </a:xfrm>
          <a:prstGeom prst="rect">
            <a:avLst/>
          </a:prstGeom>
          <a:ln w="3175">
            <a:solidFill>
              <a:schemeClr val="bg1">
                <a:lumMod val="75000"/>
              </a:schemeClr>
            </a:solidFill>
          </a:ln>
        </p:spPr>
      </p:pic>
      <p:pic>
        <p:nvPicPr>
          <p:cNvPr id="81" name="図 7"/>
          <p:cNvPicPr/>
          <p:nvPr/>
        </p:nvPicPr>
        <p:blipFill>
          <a:blip r:embed="rId3">
            <a:extLst>
              <a:ext uri="{28A0092B-C50C-407E-A947-70E740481C1C}">
                <a14:useLocalDpi xmlns:a14="http://schemas.microsoft.com/office/drawing/2010/main" val="0"/>
              </a:ext>
            </a:extLst>
          </a:blip>
          <a:stretch>
            <a:fillRect/>
          </a:stretch>
        </p:blipFill>
        <p:spPr>
          <a:xfrm>
            <a:off x="2667072" y="1187871"/>
            <a:ext cx="541679" cy="722239"/>
          </a:xfrm>
          <a:prstGeom prst="rect">
            <a:avLst/>
          </a:prstGeom>
          <a:ln w="3175">
            <a:solidFill>
              <a:schemeClr val="bg1">
                <a:lumMod val="75000"/>
              </a:schemeClr>
            </a:solidFill>
          </a:ln>
        </p:spPr>
      </p:pic>
      <p:pic>
        <p:nvPicPr>
          <p:cNvPr id="82" name="図 8"/>
          <p:cNvPicPr/>
          <p:nvPr/>
        </p:nvPicPr>
        <p:blipFill>
          <a:blip r:embed="rId4">
            <a:extLst>
              <a:ext uri="{28A0092B-C50C-407E-A947-70E740481C1C}">
                <a14:useLocalDpi xmlns:a14="http://schemas.microsoft.com/office/drawing/2010/main" val="0"/>
              </a:ext>
            </a:extLst>
          </a:blip>
          <a:stretch>
            <a:fillRect/>
          </a:stretch>
        </p:blipFill>
        <p:spPr>
          <a:xfrm>
            <a:off x="3463675" y="1187871"/>
            <a:ext cx="541679" cy="722239"/>
          </a:xfrm>
          <a:prstGeom prst="rect">
            <a:avLst/>
          </a:prstGeom>
          <a:ln w="3175">
            <a:solidFill>
              <a:schemeClr val="bg1">
                <a:lumMod val="75000"/>
              </a:schemeClr>
            </a:solidFill>
          </a:ln>
        </p:spPr>
      </p:pic>
      <p:pic>
        <p:nvPicPr>
          <p:cNvPr id="83" name="図 9"/>
          <p:cNvPicPr/>
          <p:nvPr/>
        </p:nvPicPr>
        <p:blipFill>
          <a:blip r:embed="rId5">
            <a:extLst>
              <a:ext uri="{28A0092B-C50C-407E-A947-70E740481C1C}">
                <a14:useLocalDpi xmlns:a14="http://schemas.microsoft.com/office/drawing/2010/main" val="0"/>
              </a:ext>
            </a:extLst>
          </a:blip>
          <a:stretch>
            <a:fillRect/>
          </a:stretch>
        </p:blipFill>
        <p:spPr>
          <a:xfrm>
            <a:off x="4261305" y="1187871"/>
            <a:ext cx="541679" cy="722239"/>
          </a:xfrm>
          <a:prstGeom prst="rect">
            <a:avLst/>
          </a:prstGeom>
          <a:ln w="3175">
            <a:solidFill>
              <a:schemeClr val="bg1">
                <a:lumMod val="75000"/>
              </a:schemeClr>
            </a:solidFill>
          </a:ln>
        </p:spPr>
      </p:pic>
      <p:pic>
        <p:nvPicPr>
          <p:cNvPr id="84" name="図 10"/>
          <p:cNvPicPr/>
          <p:nvPr/>
        </p:nvPicPr>
        <p:blipFill>
          <a:blip r:embed="rId6">
            <a:extLst>
              <a:ext uri="{28A0092B-C50C-407E-A947-70E740481C1C}">
                <a14:useLocalDpi xmlns:a14="http://schemas.microsoft.com/office/drawing/2010/main" val="0"/>
              </a:ext>
            </a:extLst>
          </a:blip>
          <a:stretch>
            <a:fillRect/>
          </a:stretch>
        </p:blipFill>
        <p:spPr>
          <a:xfrm>
            <a:off x="5056668" y="1187871"/>
            <a:ext cx="541679" cy="722239"/>
          </a:xfrm>
          <a:prstGeom prst="rect">
            <a:avLst/>
          </a:prstGeom>
          <a:ln w="3175">
            <a:solidFill>
              <a:schemeClr val="bg1">
                <a:lumMod val="75000"/>
              </a:schemeClr>
            </a:solidFill>
          </a:ln>
        </p:spPr>
      </p:pic>
      <p:pic>
        <p:nvPicPr>
          <p:cNvPr id="85" name="図 11"/>
          <p:cNvPicPr/>
          <p:nvPr/>
        </p:nvPicPr>
        <p:blipFill>
          <a:blip r:embed="rId7">
            <a:extLst>
              <a:ext uri="{28A0092B-C50C-407E-A947-70E740481C1C}">
                <a14:useLocalDpi xmlns:a14="http://schemas.microsoft.com/office/drawing/2010/main" val="0"/>
              </a:ext>
            </a:extLst>
          </a:blip>
          <a:stretch>
            <a:fillRect/>
          </a:stretch>
        </p:blipFill>
        <p:spPr>
          <a:xfrm>
            <a:off x="5852745" y="1187871"/>
            <a:ext cx="541679" cy="722239"/>
          </a:xfrm>
          <a:prstGeom prst="rect">
            <a:avLst/>
          </a:prstGeom>
          <a:ln w="3175">
            <a:solidFill>
              <a:schemeClr val="bg1">
                <a:lumMod val="75000"/>
              </a:schemeClr>
            </a:solidFill>
          </a:ln>
        </p:spPr>
      </p:pic>
      <p:pic>
        <p:nvPicPr>
          <p:cNvPr id="86" name="図 12"/>
          <p:cNvPicPr/>
          <p:nvPr/>
        </p:nvPicPr>
        <p:blipFill>
          <a:blip r:embed="rId8">
            <a:extLst>
              <a:ext uri="{28A0092B-C50C-407E-A947-70E740481C1C}">
                <a14:useLocalDpi xmlns:a14="http://schemas.microsoft.com/office/drawing/2010/main" val="0"/>
              </a:ext>
            </a:extLst>
          </a:blip>
          <a:stretch>
            <a:fillRect/>
          </a:stretch>
        </p:blipFill>
        <p:spPr>
          <a:xfrm>
            <a:off x="6650970" y="1187871"/>
            <a:ext cx="541679" cy="722239"/>
          </a:xfrm>
          <a:prstGeom prst="rect">
            <a:avLst/>
          </a:prstGeom>
          <a:ln w="3175">
            <a:solidFill>
              <a:schemeClr val="bg1">
                <a:lumMod val="75000"/>
              </a:schemeClr>
            </a:solidFill>
          </a:ln>
        </p:spPr>
      </p:pic>
      <p:pic>
        <p:nvPicPr>
          <p:cNvPr id="87" name="図 13"/>
          <p:cNvPicPr/>
          <p:nvPr/>
        </p:nvPicPr>
        <p:blipFill>
          <a:blip r:embed="rId9">
            <a:extLst>
              <a:ext uri="{28A0092B-C50C-407E-A947-70E740481C1C}">
                <a14:useLocalDpi xmlns:a14="http://schemas.microsoft.com/office/drawing/2010/main" val="0"/>
              </a:ext>
            </a:extLst>
          </a:blip>
          <a:stretch>
            <a:fillRect/>
          </a:stretch>
        </p:blipFill>
        <p:spPr>
          <a:xfrm>
            <a:off x="7449529" y="1187871"/>
            <a:ext cx="541679" cy="722239"/>
          </a:xfrm>
          <a:prstGeom prst="rect">
            <a:avLst/>
          </a:prstGeom>
          <a:ln w="3175">
            <a:solidFill>
              <a:schemeClr val="bg1">
                <a:lumMod val="75000"/>
              </a:schemeClr>
            </a:solidFill>
          </a:ln>
        </p:spPr>
      </p:pic>
      <p:pic>
        <p:nvPicPr>
          <p:cNvPr id="88" name="図 14"/>
          <p:cNvPicPr/>
          <p:nvPr/>
        </p:nvPicPr>
        <p:blipFill>
          <a:blip r:embed="rId10">
            <a:extLst>
              <a:ext uri="{28A0092B-C50C-407E-A947-70E740481C1C}">
                <a14:useLocalDpi xmlns:a14="http://schemas.microsoft.com/office/drawing/2010/main" val="0"/>
              </a:ext>
            </a:extLst>
          </a:blip>
          <a:stretch>
            <a:fillRect/>
          </a:stretch>
        </p:blipFill>
        <p:spPr>
          <a:xfrm>
            <a:off x="8242837" y="1187871"/>
            <a:ext cx="541679" cy="722239"/>
          </a:xfrm>
          <a:prstGeom prst="rect">
            <a:avLst/>
          </a:prstGeom>
          <a:ln w="3175">
            <a:solidFill>
              <a:schemeClr val="bg1">
                <a:lumMod val="75000"/>
              </a:schemeClr>
            </a:solidFill>
          </a:ln>
        </p:spPr>
      </p:pic>
      <p:pic>
        <p:nvPicPr>
          <p:cNvPr id="89" name="図 15"/>
          <p:cNvPicPr/>
          <p:nvPr/>
        </p:nvPicPr>
        <p:blipFill>
          <a:blip r:embed="rId11">
            <a:extLst>
              <a:ext uri="{28A0092B-C50C-407E-A947-70E740481C1C}">
                <a14:useLocalDpi xmlns:a14="http://schemas.microsoft.com/office/drawing/2010/main" val="0"/>
              </a:ext>
            </a:extLst>
          </a:blip>
          <a:stretch>
            <a:fillRect/>
          </a:stretch>
        </p:blipFill>
        <p:spPr>
          <a:xfrm>
            <a:off x="284823" y="2030835"/>
            <a:ext cx="541679" cy="722239"/>
          </a:xfrm>
          <a:prstGeom prst="rect">
            <a:avLst/>
          </a:prstGeom>
          <a:ln w="3175">
            <a:solidFill>
              <a:schemeClr val="bg1">
                <a:lumMod val="75000"/>
              </a:schemeClr>
            </a:solidFill>
          </a:ln>
        </p:spPr>
      </p:pic>
      <p:pic>
        <p:nvPicPr>
          <p:cNvPr id="90" name="図 16"/>
          <p:cNvPicPr/>
          <p:nvPr/>
        </p:nvPicPr>
        <p:blipFill>
          <a:blip r:embed="rId12">
            <a:extLst>
              <a:ext uri="{28A0092B-C50C-407E-A947-70E740481C1C}">
                <a14:useLocalDpi xmlns:a14="http://schemas.microsoft.com/office/drawing/2010/main" val="0"/>
              </a:ext>
            </a:extLst>
          </a:blip>
          <a:stretch>
            <a:fillRect/>
          </a:stretch>
        </p:blipFill>
        <p:spPr>
          <a:xfrm>
            <a:off x="1073420" y="2026206"/>
            <a:ext cx="541679" cy="722239"/>
          </a:xfrm>
          <a:prstGeom prst="rect">
            <a:avLst/>
          </a:prstGeom>
          <a:ln w="3175">
            <a:solidFill>
              <a:schemeClr val="bg1">
                <a:lumMod val="75000"/>
              </a:schemeClr>
            </a:solidFill>
          </a:ln>
        </p:spPr>
      </p:pic>
      <p:pic>
        <p:nvPicPr>
          <p:cNvPr id="91" name="図 19"/>
          <p:cNvPicPr/>
          <p:nvPr/>
        </p:nvPicPr>
        <p:blipFill>
          <a:blip r:embed="rId13">
            <a:extLst>
              <a:ext uri="{28A0092B-C50C-407E-A947-70E740481C1C}">
                <a14:useLocalDpi xmlns:a14="http://schemas.microsoft.com/office/drawing/2010/main" val="0"/>
              </a:ext>
            </a:extLst>
          </a:blip>
          <a:stretch>
            <a:fillRect/>
          </a:stretch>
        </p:blipFill>
        <p:spPr>
          <a:xfrm>
            <a:off x="1870962" y="2030962"/>
            <a:ext cx="541679" cy="722239"/>
          </a:xfrm>
          <a:prstGeom prst="rect">
            <a:avLst/>
          </a:prstGeom>
          <a:ln w="3175">
            <a:solidFill>
              <a:schemeClr val="bg1">
                <a:lumMod val="75000"/>
              </a:schemeClr>
            </a:solidFill>
          </a:ln>
        </p:spPr>
      </p:pic>
      <p:pic>
        <p:nvPicPr>
          <p:cNvPr id="92" name="図 20"/>
          <p:cNvPicPr/>
          <p:nvPr/>
        </p:nvPicPr>
        <p:blipFill>
          <a:blip r:embed="rId14">
            <a:extLst>
              <a:ext uri="{28A0092B-C50C-407E-A947-70E740481C1C}">
                <a14:useLocalDpi xmlns:a14="http://schemas.microsoft.com/office/drawing/2010/main" val="0"/>
              </a:ext>
            </a:extLst>
          </a:blip>
          <a:stretch>
            <a:fillRect/>
          </a:stretch>
        </p:blipFill>
        <p:spPr>
          <a:xfrm>
            <a:off x="2667268" y="2030835"/>
            <a:ext cx="541679" cy="722239"/>
          </a:xfrm>
          <a:prstGeom prst="rect">
            <a:avLst/>
          </a:prstGeom>
          <a:ln w="3175">
            <a:solidFill>
              <a:schemeClr val="bg1">
                <a:lumMod val="75000"/>
              </a:schemeClr>
            </a:solidFill>
          </a:ln>
        </p:spPr>
      </p:pic>
      <p:pic>
        <p:nvPicPr>
          <p:cNvPr id="93" name="図 21"/>
          <p:cNvPicPr/>
          <p:nvPr/>
        </p:nvPicPr>
        <p:blipFill>
          <a:blip r:embed="rId15">
            <a:extLst>
              <a:ext uri="{28A0092B-C50C-407E-A947-70E740481C1C}">
                <a14:useLocalDpi xmlns:a14="http://schemas.microsoft.com/office/drawing/2010/main" val="0"/>
              </a:ext>
            </a:extLst>
          </a:blip>
          <a:stretch>
            <a:fillRect/>
          </a:stretch>
        </p:blipFill>
        <p:spPr>
          <a:xfrm>
            <a:off x="3462656" y="2030962"/>
            <a:ext cx="541679" cy="722239"/>
          </a:xfrm>
          <a:prstGeom prst="rect">
            <a:avLst/>
          </a:prstGeom>
          <a:ln w="3175">
            <a:solidFill>
              <a:schemeClr val="bg1">
                <a:lumMod val="75000"/>
              </a:schemeClr>
            </a:solidFill>
          </a:ln>
        </p:spPr>
      </p:pic>
      <p:pic>
        <p:nvPicPr>
          <p:cNvPr id="94" name="図 22"/>
          <p:cNvPicPr/>
          <p:nvPr/>
        </p:nvPicPr>
        <p:blipFill>
          <a:blip r:embed="rId16">
            <a:extLst>
              <a:ext uri="{28A0092B-C50C-407E-A947-70E740481C1C}">
                <a14:useLocalDpi xmlns:a14="http://schemas.microsoft.com/office/drawing/2010/main" val="0"/>
              </a:ext>
            </a:extLst>
          </a:blip>
          <a:stretch>
            <a:fillRect/>
          </a:stretch>
        </p:blipFill>
        <p:spPr>
          <a:xfrm>
            <a:off x="4260826" y="2029058"/>
            <a:ext cx="541679" cy="722239"/>
          </a:xfrm>
          <a:prstGeom prst="rect">
            <a:avLst/>
          </a:prstGeom>
          <a:ln w="3175">
            <a:solidFill>
              <a:schemeClr val="bg1">
                <a:lumMod val="75000"/>
              </a:schemeClr>
            </a:solidFill>
          </a:ln>
        </p:spPr>
      </p:pic>
      <p:pic>
        <p:nvPicPr>
          <p:cNvPr id="95" name="図 23"/>
          <p:cNvPicPr/>
          <p:nvPr/>
        </p:nvPicPr>
        <p:blipFill>
          <a:blip r:embed="rId17">
            <a:extLst>
              <a:ext uri="{28A0092B-C50C-407E-A947-70E740481C1C}">
                <a14:useLocalDpi xmlns:a14="http://schemas.microsoft.com/office/drawing/2010/main" val="0"/>
              </a:ext>
            </a:extLst>
          </a:blip>
          <a:stretch>
            <a:fillRect/>
          </a:stretch>
        </p:blipFill>
        <p:spPr>
          <a:xfrm>
            <a:off x="5056275" y="2031290"/>
            <a:ext cx="541679" cy="722239"/>
          </a:xfrm>
          <a:prstGeom prst="rect">
            <a:avLst/>
          </a:prstGeom>
          <a:ln w="3175">
            <a:solidFill>
              <a:schemeClr val="bg1">
                <a:lumMod val="75000"/>
              </a:schemeClr>
            </a:solidFill>
          </a:ln>
        </p:spPr>
      </p:pic>
      <p:pic>
        <p:nvPicPr>
          <p:cNvPr id="96" name="図 24"/>
          <p:cNvPicPr/>
          <p:nvPr/>
        </p:nvPicPr>
        <p:blipFill>
          <a:blip r:embed="rId18">
            <a:extLst>
              <a:ext uri="{28A0092B-C50C-407E-A947-70E740481C1C}">
                <a14:useLocalDpi xmlns:a14="http://schemas.microsoft.com/office/drawing/2010/main" val="0"/>
              </a:ext>
            </a:extLst>
          </a:blip>
          <a:stretch>
            <a:fillRect/>
          </a:stretch>
        </p:blipFill>
        <p:spPr>
          <a:xfrm>
            <a:off x="5856634" y="2026206"/>
            <a:ext cx="541679" cy="722239"/>
          </a:xfrm>
          <a:prstGeom prst="rect">
            <a:avLst/>
          </a:prstGeom>
          <a:ln w="3175">
            <a:solidFill>
              <a:schemeClr val="bg1">
                <a:lumMod val="75000"/>
              </a:schemeClr>
            </a:solidFill>
          </a:ln>
        </p:spPr>
      </p:pic>
      <p:pic>
        <p:nvPicPr>
          <p:cNvPr id="97" name="図 25"/>
          <p:cNvPicPr/>
          <p:nvPr/>
        </p:nvPicPr>
        <p:blipFill>
          <a:blip r:embed="rId19">
            <a:extLst>
              <a:ext uri="{28A0092B-C50C-407E-A947-70E740481C1C}">
                <a14:useLocalDpi xmlns:a14="http://schemas.microsoft.com/office/drawing/2010/main" val="0"/>
              </a:ext>
            </a:extLst>
          </a:blip>
          <a:stretch>
            <a:fillRect/>
          </a:stretch>
        </p:blipFill>
        <p:spPr>
          <a:xfrm>
            <a:off x="6649023" y="2026206"/>
            <a:ext cx="541679" cy="722239"/>
          </a:xfrm>
          <a:prstGeom prst="rect">
            <a:avLst/>
          </a:prstGeom>
          <a:ln w="3175">
            <a:solidFill>
              <a:schemeClr val="bg1">
                <a:lumMod val="75000"/>
              </a:schemeClr>
            </a:solidFill>
          </a:ln>
        </p:spPr>
      </p:pic>
      <p:pic>
        <p:nvPicPr>
          <p:cNvPr id="98" name="図 26"/>
          <p:cNvPicPr/>
          <p:nvPr/>
        </p:nvPicPr>
        <p:blipFill>
          <a:blip r:embed="rId20">
            <a:extLst>
              <a:ext uri="{28A0092B-C50C-407E-A947-70E740481C1C}">
                <a14:useLocalDpi xmlns:a14="http://schemas.microsoft.com/office/drawing/2010/main" val="0"/>
              </a:ext>
            </a:extLst>
          </a:blip>
          <a:stretch>
            <a:fillRect/>
          </a:stretch>
        </p:blipFill>
        <p:spPr>
          <a:xfrm>
            <a:off x="7447089" y="2026206"/>
            <a:ext cx="541679" cy="722239"/>
          </a:xfrm>
          <a:prstGeom prst="rect">
            <a:avLst/>
          </a:prstGeom>
          <a:ln w="3175">
            <a:solidFill>
              <a:schemeClr val="bg1">
                <a:lumMod val="75000"/>
              </a:schemeClr>
            </a:solidFill>
          </a:ln>
        </p:spPr>
      </p:pic>
      <p:pic>
        <p:nvPicPr>
          <p:cNvPr id="99" name="図 27"/>
          <p:cNvPicPr/>
          <p:nvPr/>
        </p:nvPicPr>
        <p:blipFill>
          <a:blip r:embed="rId21">
            <a:extLst>
              <a:ext uri="{28A0092B-C50C-407E-A947-70E740481C1C}">
                <a14:useLocalDpi xmlns:a14="http://schemas.microsoft.com/office/drawing/2010/main" val="0"/>
              </a:ext>
            </a:extLst>
          </a:blip>
          <a:stretch>
            <a:fillRect/>
          </a:stretch>
        </p:blipFill>
        <p:spPr>
          <a:xfrm>
            <a:off x="8242505" y="2026206"/>
            <a:ext cx="541679" cy="722239"/>
          </a:xfrm>
          <a:prstGeom prst="rect">
            <a:avLst/>
          </a:prstGeom>
          <a:ln w="3175">
            <a:solidFill>
              <a:schemeClr val="bg1">
                <a:lumMod val="75000"/>
              </a:schemeClr>
            </a:solidFill>
          </a:ln>
        </p:spPr>
      </p:pic>
      <p:pic>
        <p:nvPicPr>
          <p:cNvPr id="100" name="図 28"/>
          <p:cNvPicPr/>
          <p:nvPr/>
        </p:nvPicPr>
        <p:blipFill>
          <a:blip r:embed="rId22">
            <a:extLst>
              <a:ext uri="{28A0092B-C50C-407E-A947-70E740481C1C}">
                <a14:useLocalDpi xmlns:a14="http://schemas.microsoft.com/office/drawing/2010/main" val="0"/>
              </a:ext>
            </a:extLst>
          </a:blip>
          <a:stretch>
            <a:fillRect/>
          </a:stretch>
        </p:blipFill>
        <p:spPr>
          <a:xfrm>
            <a:off x="284823" y="2868013"/>
            <a:ext cx="541679" cy="722239"/>
          </a:xfrm>
          <a:prstGeom prst="rect">
            <a:avLst/>
          </a:prstGeom>
          <a:ln w="3175">
            <a:solidFill>
              <a:schemeClr val="bg1">
                <a:lumMod val="75000"/>
              </a:schemeClr>
            </a:solidFill>
          </a:ln>
        </p:spPr>
      </p:pic>
      <p:pic>
        <p:nvPicPr>
          <p:cNvPr id="101" name="図 29"/>
          <p:cNvPicPr/>
          <p:nvPr/>
        </p:nvPicPr>
        <p:blipFill>
          <a:blip r:embed="rId23">
            <a:extLst>
              <a:ext uri="{28A0092B-C50C-407E-A947-70E740481C1C}">
                <a14:useLocalDpi xmlns:a14="http://schemas.microsoft.com/office/drawing/2010/main" val="0"/>
              </a:ext>
            </a:extLst>
          </a:blip>
          <a:stretch>
            <a:fillRect/>
          </a:stretch>
        </p:blipFill>
        <p:spPr>
          <a:xfrm>
            <a:off x="1073643" y="2864541"/>
            <a:ext cx="541679" cy="722239"/>
          </a:xfrm>
          <a:prstGeom prst="rect">
            <a:avLst/>
          </a:prstGeom>
          <a:ln w="3175">
            <a:solidFill>
              <a:schemeClr val="bg1">
                <a:lumMod val="75000"/>
              </a:schemeClr>
            </a:solidFill>
          </a:ln>
        </p:spPr>
      </p:pic>
      <p:pic>
        <p:nvPicPr>
          <p:cNvPr id="102" name="図 30"/>
          <p:cNvPicPr/>
          <p:nvPr/>
        </p:nvPicPr>
        <p:blipFill>
          <a:blip r:embed="rId24">
            <a:extLst>
              <a:ext uri="{28A0092B-C50C-407E-A947-70E740481C1C}">
                <a14:useLocalDpi xmlns:a14="http://schemas.microsoft.com/office/drawing/2010/main" val="0"/>
              </a:ext>
            </a:extLst>
          </a:blip>
          <a:stretch>
            <a:fillRect/>
          </a:stretch>
        </p:blipFill>
        <p:spPr>
          <a:xfrm>
            <a:off x="1875376" y="2868108"/>
            <a:ext cx="541679" cy="722239"/>
          </a:xfrm>
          <a:prstGeom prst="rect">
            <a:avLst/>
          </a:prstGeom>
          <a:ln w="3175">
            <a:solidFill>
              <a:schemeClr val="bg1">
                <a:lumMod val="75000"/>
              </a:schemeClr>
            </a:solidFill>
          </a:ln>
        </p:spPr>
      </p:pic>
      <p:pic>
        <p:nvPicPr>
          <p:cNvPr id="103" name="図 95"/>
          <p:cNvPicPr/>
          <p:nvPr/>
        </p:nvPicPr>
        <p:blipFill>
          <a:blip r:embed="rId25">
            <a:extLst>
              <a:ext uri="{28A0092B-C50C-407E-A947-70E740481C1C}">
                <a14:useLocalDpi xmlns:a14="http://schemas.microsoft.com/office/drawing/2010/main" val="0"/>
              </a:ext>
            </a:extLst>
          </a:blip>
          <a:stretch>
            <a:fillRect/>
          </a:stretch>
        </p:blipFill>
        <p:spPr>
          <a:xfrm>
            <a:off x="2666688" y="2868013"/>
            <a:ext cx="541679" cy="722239"/>
          </a:xfrm>
          <a:prstGeom prst="rect">
            <a:avLst/>
          </a:prstGeom>
          <a:ln w="3175">
            <a:solidFill>
              <a:schemeClr val="bg1">
                <a:lumMod val="75000"/>
              </a:schemeClr>
            </a:solidFill>
          </a:ln>
        </p:spPr>
      </p:pic>
      <p:pic>
        <p:nvPicPr>
          <p:cNvPr id="104" name="図 96"/>
          <p:cNvPicPr/>
          <p:nvPr/>
        </p:nvPicPr>
        <p:blipFill>
          <a:blip r:embed="rId26">
            <a:extLst>
              <a:ext uri="{28A0092B-C50C-407E-A947-70E740481C1C}">
                <a14:useLocalDpi xmlns:a14="http://schemas.microsoft.com/office/drawing/2010/main" val="0"/>
              </a:ext>
            </a:extLst>
          </a:blip>
          <a:stretch>
            <a:fillRect/>
          </a:stretch>
        </p:blipFill>
        <p:spPr>
          <a:xfrm>
            <a:off x="3461581" y="2868108"/>
            <a:ext cx="541679" cy="722239"/>
          </a:xfrm>
          <a:prstGeom prst="rect">
            <a:avLst/>
          </a:prstGeom>
          <a:ln w="3175">
            <a:solidFill>
              <a:schemeClr val="bg1">
                <a:lumMod val="75000"/>
              </a:schemeClr>
            </a:solidFill>
          </a:ln>
        </p:spPr>
      </p:pic>
      <p:pic>
        <p:nvPicPr>
          <p:cNvPr id="105" name="図 97"/>
          <p:cNvPicPr/>
          <p:nvPr/>
        </p:nvPicPr>
        <p:blipFill>
          <a:blip r:embed="rId27">
            <a:extLst>
              <a:ext uri="{28A0092B-C50C-407E-A947-70E740481C1C}">
                <a14:useLocalDpi xmlns:a14="http://schemas.microsoft.com/office/drawing/2010/main" val="0"/>
              </a:ext>
            </a:extLst>
          </a:blip>
          <a:stretch>
            <a:fillRect/>
          </a:stretch>
        </p:blipFill>
        <p:spPr>
          <a:xfrm>
            <a:off x="4259286" y="2866681"/>
            <a:ext cx="541679" cy="722239"/>
          </a:xfrm>
          <a:prstGeom prst="rect">
            <a:avLst/>
          </a:prstGeom>
          <a:ln w="3175">
            <a:solidFill>
              <a:schemeClr val="bg1">
                <a:lumMod val="75000"/>
              </a:schemeClr>
            </a:solidFill>
          </a:ln>
        </p:spPr>
      </p:pic>
      <p:pic>
        <p:nvPicPr>
          <p:cNvPr id="106" name="図 98"/>
          <p:cNvPicPr/>
          <p:nvPr/>
        </p:nvPicPr>
        <p:blipFill>
          <a:blip r:embed="rId28">
            <a:extLst>
              <a:ext uri="{28A0092B-C50C-407E-A947-70E740481C1C}">
                <a14:useLocalDpi xmlns:a14="http://schemas.microsoft.com/office/drawing/2010/main" val="0"/>
              </a:ext>
            </a:extLst>
          </a:blip>
          <a:stretch>
            <a:fillRect/>
          </a:stretch>
        </p:blipFill>
        <p:spPr>
          <a:xfrm>
            <a:off x="5058329" y="2868354"/>
            <a:ext cx="541679" cy="722239"/>
          </a:xfrm>
          <a:prstGeom prst="rect">
            <a:avLst/>
          </a:prstGeom>
          <a:ln w="3175">
            <a:solidFill>
              <a:schemeClr val="bg1">
                <a:lumMod val="75000"/>
              </a:schemeClr>
            </a:solidFill>
          </a:ln>
        </p:spPr>
      </p:pic>
      <p:pic>
        <p:nvPicPr>
          <p:cNvPr id="107" name="図 111"/>
          <p:cNvPicPr/>
          <p:nvPr/>
        </p:nvPicPr>
        <p:blipFill>
          <a:blip r:embed="rId29">
            <a:extLst>
              <a:ext uri="{28A0092B-C50C-407E-A947-70E740481C1C}">
                <a14:useLocalDpi xmlns:a14="http://schemas.microsoft.com/office/drawing/2010/main" val="0"/>
              </a:ext>
            </a:extLst>
          </a:blip>
          <a:stretch>
            <a:fillRect/>
          </a:stretch>
        </p:blipFill>
        <p:spPr>
          <a:xfrm>
            <a:off x="5852532" y="2864541"/>
            <a:ext cx="541679" cy="722239"/>
          </a:xfrm>
          <a:prstGeom prst="rect">
            <a:avLst/>
          </a:prstGeom>
          <a:ln w="3175">
            <a:solidFill>
              <a:schemeClr val="bg1">
                <a:lumMod val="75000"/>
              </a:schemeClr>
            </a:solidFill>
          </a:ln>
        </p:spPr>
      </p:pic>
      <p:pic>
        <p:nvPicPr>
          <p:cNvPr id="108" name="図 112"/>
          <p:cNvPicPr/>
          <p:nvPr/>
        </p:nvPicPr>
        <p:blipFill>
          <a:blip r:embed="rId30">
            <a:extLst>
              <a:ext uri="{28A0092B-C50C-407E-A947-70E740481C1C}">
                <a14:useLocalDpi xmlns:a14="http://schemas.microsoft.com/office/drawing/2010/main" val="0"/>
              </a:ext>
            </a:extLst>
          </a:blip>
          <a:stretch>
            <a:fillRect/>
          </a:stretch>
        </p:blipFill>
        <p:spPr>
          <a:xfrm>
            <a:off x="6651309" y="2864541"/>
            <a:ext cx="541679" cy="722239"/>
          </a:xfrm>
          <a:prstGeom prst="rect">
            <a:avLst/>
          </a:prstGeom>
          <a:ln w="3175">
            <a:solidFill>
              <a:schemeClr val="bg1">
                <a:lumMod val="75000"/>
              </a:schemeClr>
            </a:solidFill>
          </a:ln>
        </p:spPr>
      </p:pic>
      <p:pic>
        <p:nvPicPr>
          <p:cNvPr id="109" name="図 113"/>
          <p:cNvPicPr/>
          <p:nvPr/>
        </p:nvPicPr>
        <p:blipFill>
          <a:blip r:embed="rId31">
            <a:extLst>
              <a:ext uri="{28A0092B-C50C-407E-A947-70E740481C1C}">
                <a14:useLocalDpi xmlns:a14="http://schemas.microsoft.com/office/drawing/2010/main" val="0"/>
              </a:ext>
            </a:extLst>
          </a:blip>
          <a:stretch>
            <a:fillRect/>
          </a:stretch>
        </p:blipFill>
        <p:spPr>
          <a:xfrm>
            <a:off x="7448266" y="2864541"/>
            <a:ext cx="541679" cy="722239"/>
          </a:xfrm>
          <a:prstGeom prst="rect">
            <a:avLst/>
          </a:prstGeom>
          <a:ln w="3175">
            <a:solidFill>
              <a:schemeClr val="bg1">
                <a:lumMod val="75000"/>
              </a:schemeClr>
            </a:solidFill>
          </a:ln>
        </p:spPr>
      </p:pic>
      <p:pic>
        <p:nvPicPr>
          <p:cNvPr id="110" name="図 114"/>
          <p:cNvPicPr/>
          <p:nvPr/>
        </p:nvPicPr>
        <p:blipFill>
          <a:blip r:embed="rId32">
            <a:extLst>
              <a:ext uri="{28A0092B-C50C-407E-A947-70E740481C1C}">
                <a14:useLocalDpi xmlns:a14="http://schemas.microsoft.com/office/drawing/2010/main" val="0"/>
              </a:ext>
            </a:extLst>
          </a:blip>
          <a:stretch>
            <a:fillRect/>
          </a:stretch>
        </p:blipFill>
        <p:spPr>
          <a:xfrm>
            <a:off x="8241098" y="2864541"/>
            <a:ext cx="541679" cy="722239"/>
          </a:xfrm>
          <a:prstGeom prst="rect">
            <a:avLst/>
          </a:prstGeom>
          <a:ln w="3175">
            <a:solidFill>
              <a:schemeClr val="bg1">
                <a:lumMod val="75000"/>
              </a:schemeClr>
            </a:solidFill>
          </a:ln>
        </p:spPr>
      </p:pic>
      <p:pic>
        <p:nvPicPr>
          <p:cNvPr id="111" name="図 115"/>
          <p:cNvPicPr/>
          <p:nvPr/>
        </p:nvPicPr>
        <p:blipFill>
          <a:blip r:embed="rId33">
            <a:extLst>
              <a:ext uri="{28A0092B-C50C-407E-A947-70E740481C1C}">
                <a14:useLocalDpi xmlns:a14="http://schemas.microsoft.com/office/drawing/2010/main" val="0"/>
              </a:ext>
            </a:extLst>
          </a:blip>
          <a:stretch>
            <a:fillRect/>
          </a:stretch>
        </p:blipFill>
        <p:spPr>
          <a:xfrm>
            <a:off x="284823" y="3705191"/>
            <a:ext cx="541679" cy="722239"/>
          </a:xfrm>
          <a:prstGeom prst="rect">
            <a:avLst/>
          </a:prstGeom>
          <a:ln w="3175">
            <a:solidFill>
              <a:schemeClr val="bg1">
                <a:lumMod val="75000"/>
              </a:schemeClr>
            </a:solidFill>
          </a:ln>
        </p:spPr>
      </p:pic>
      <p:pic>
        <p:nvPicPr>
          <p:cNvPr id="112" name="図 116"/>
          <p:cNvPicPr/>
          <p:nvPr/>
        </p:nvPicPr>
        <p:blipFill>
          <a:blip r:embed="rId34">
            <a:extLst>
              <a:ext uri="{28A0092B-C50C-407E-A947-70E740481C1C}">
                <a14:useLocalDpi xmlns:a14="http://schemas.microsoft.com/office/drawing/2010/main" val="0"/>
              </a:ext>
            </a:extLst>
          </a:blip>
          <a:stretch>
            <a:fillRect/>
          </a:stretch>
        </p:blipFill>
        <p:spPr>
          <a:xfrm>
            <a:off x="1073979" y="3702876"/>
            <a:ext cx="541679" cy="722239"/>
          </a:xfrm>
          <a:prstGeom prst="rect">
            <a:avLst/>
          </a:prstGeom>
          <a:ln w="3175">
            <a:solidFill>
              <a:schemeClr val="bg1">
                <a:lumMod val="75000"/>
              </a:schemeClr>
            </a:solidFill>
          </a:ln>
        </p:spPr>
      </p:pic>
      <p:pic>
        <p:nvPicPr>
          <p:cNvPr id="113" name="図 117"/>
          <p:cNvPicPr/>
          <p:nvPr/>
        </p:nvPicPr>
        <p:blipFill>
          <a:blip r:embed="rId35">
            <a:extLst>
              <a:ext uri="{28A0092B-C50C-407E-A947-70E740481C1C}">
                <a14:useLocalDpi xmlns:a14="http://schemas.microsoft.com/office/drawing/2010/main" val="0"/>
              </a:ext>
            </a:extLst>
          </a:blip>
          <a:stretch>
            <a:fillRect/>
          </a:stretch>
        </p:blipFill>
        <p:spPr>
          <a:xfrm>
            <a:off x="1871000" y="3705254"/>
            <a:ext cx="541679" cy="722239"/>
          </a:xfrm>
          <a:prstGeom prst="rect">
            <a:avLst/>
          </a:prstGeom>
          <a:ln w="3175">
            <a:solidFill>
              <a:schemeClr val="bg1">
                <a:lumMod val="75000"/>
              </a:schemeClr>
            </a:solidFill>
          </a:ln>
        </p:spPr>
      </p:pic>
      <p:pic>
        <p:nvPicPr>
          <p:cNvPr id="114" name="図 118"/>
          <p:cNvPicPr/>
          <p:nvPr/>
        </p:nvPicPr>
        <p:blipFill>
          <a:blip r:embed="rId36">
            <a:extLst>
              <a:ext uri="{28A0092B-C50C-407E-A947-70E740481C1C}">
                <a14:useLocalDpi xmlns:a14="http://schemas.microsoft.com/office/drawing/2010/main" val="0"/>
              </a:ext>
            </a:extLst>
          </a:blip>
          <a:stretch>
            <a:fillRect/>
          </a:stretch>
        </p:blipFill>
        <p:spPr>
          <a:xfrm>
            <a:off x="2668101" y="3705191"/>
            <a:ext cx="541679" cy="722239"/>
          </a:xfrm>
          <a:prstGeom prst="rect">
            <a:avLst/>
          </a:prstGeom>
          <a:ln w="3175">
            <a:solidFill>
              <a:schemeClr val="bg1">
                <a:lumMod val="75000"/>
              </a:schemeClr>
            </a:solidFill>
          </a:ln>
        </p:spPr>
      </p:pic>
      <p:pic>
        <p:nvPicPr>
          <p:cNvPr id="115" name="図 119"/>
          <p:cNvPicPr/>
          <p:nvPr/>
        </p:nvPicPr>
        <p:blipFill>
          <a:blip r:embed="rId37">
            <a:extLst>
              <a:ext uri="{28A0092B-C50C-407E-A947-70E740481C1C}">
                <a14:useLocalDpi xmlns:a14="http://schemas.microsoft.com/office/drawing/2010/main" val="0"/>
              </a:ext>
            </a:extLst>
          </a:blip>
          <a:stretch>
            <a:fillRect/>
          </a:stretch>
        </p:blipFill>
        <p:spPr>
          <a:xfrm>
            <a:off x="3463157" y="3705254"/>
            <a:ext cx="541679" cy="722239"/>
          </a:xfrm>
          <a:prstGeom prst="rect">
            <a:avLst/>
          </a:prstGeom>
          <a:ln w="3175">
            <a:solidFill>
              <a:schemeClr val="bg1">
                <a:lumMod val="75000"/>
              </a:schemeClr>
            </a:solidFill>
          </a:ln>
        </p:spPr>
      </p:pic>
      <p:pic>
        <p:nvPicPr>
          <p:cNvPr id="116" name="図 120"/>
          <p:cNvPicPr/>
          <p:nvPr/>
        </p:nvPicPr>
        <p:blipFill>
          <a:blip r:embed="rId38">
            <a:extLst>
              <a:ext uri="{28A0092B-C50C-407E-A947-70E740481C1C}">
                <a14:useLocalDpi xmlns:a14="http://schemas.microsoft.com/office/drawing/2010/main" val="0"/>
              </a:ext>
            </a:extLst>
          </a:blip>
          <a:stretch>
            <a:fillRect/>
          </a:stretch>
        </p:blipFill>
        <p:spPr>
          <a:xfrm>
            <a:off x="4260354" y="3704304"/>
            <a:ext cx="541679" cy="722239"/>
          </a:xfrm>
          <a:prstGeom prst="rect">
            <a:avLst/>
          </a:prstGeom>
          <a:ln w="3175">
            <a:solidFill>
              <a:schemeClr val="bg1">
                <a:lumMod val="75000"/>
              </a:schemeClr>
            </a:solidFill>
          </a:ln>
        </p:spPr>
      </p:pic>
      <p:pic>
        <p:nvPicPr>
          <p:cNvPr id="117" name="図 121"/>
          <p:cNvPicPr/>
          <p:nvPr/>
        </p:nvPicPr>
        <p:blipFill>
          <a:blip r:embed="rId39">
            <a:extLst>
              <a:ext uri="{28A0092B-C50C-407E-A947-70E740481C1C}">
                <a14:useLocalDpi xmlns:a14="http://schemas.microsoft.com/office/drawing/2010/main" val="0"/>
              </a:ext>
            </a:extLst>
          </a:blip>
          <a:stretch>
            <a:fillRect/>
          </a:stretch>
        </p:blipFill>
        <p:spPr>
          <a:xfrm>
            <a:off x="5055659" y="3705418"/>
            <a:ext cx="541679" cy="722239"/>
          </a:xfrm>
          <a:prstGeom prst="rect">
            <a:avLst/>
          </a:prstGeom>
          <a:ln w="3175">
            <a:solidFill>
              <a:schemeClr val="bg1">
                <a:lumMod val="75000"/>
              </a:schemeClr>
            </a:solidFill>
          </a:ln>
        </p:spPr>
      </p:pic>
      <p:pic>
        <p:nvPicPr>
          <p:cNvPr id="118" name="図 122"/>
          <p:cNvPicPr/>
          <p:nvPr/>
        </p:nvPicPr>
        <p:blipFill>
          <a:blip r:embed="rId40">
            <a:extLst>
              <a:ext uri="{28A0092B-C50C-407E-A947-70E740481C1C}">
                <a14:useLocalDpi xmlns:a14="http://schemas.microsoft.com/office/drawing/2010/main" val="0"/>
              </a:ext>
            </a:extLst>
          </a:blip>
          <a:stretch>
            <a:fillRect/>
          </a:stretch>
        </p:blipFill>
        <p:spPr>
          <a:xfrm>
            <a:off x="5852511" y="3702876"/>
            <a:ext cx="541679" cy="722239"/>
          </a:xfrm>
          <a:prstGeom prst="rect">
            <a:avLst/>
          </a:prstGeom>
          <a:ln w="3175">
            <a:solidFill>
              <a:schemeClr val="bg1">
                <a:lumMod val="75000"/>
              </a:schemeClr>
            </a:solidFill>
          </a:ln>
        </p:spPr>
      </p:pic>
      <p:pic>
        <p:nvPicPr>
          <p:cNvPr id="119" name="図 123"/>
          <p:cNvPicPr/>
          <p:nvPr/>
        </p:nvPicPr>
        <p:blipFill>
          <a:blip r:embed="rId41">
            <a:extLst>
              <a:ext uri="{28A0092B-C50C-407E-A947-70E740481C1C}">
                <a14:useLocalDpi xmlns:a14="http://schemas.microsoft.com/office/drawing/2010/main" val="0"/>
              </a:ext>
            </a:extLst>
          </a:blip>
          <a:stretch>
            <a:fillRect/>
          </a:stretch>
        </p:blipFill>
        <p:spPr>
          <a:xfrm>
            <a:off x="6648861" y="3702876"/>
            <a:ext cx="541679" cy="722239"/>
          </a:xfrm>
          <a:prstGeom prst="rect">
            <a:avLst/>
          </a:prstGeom>
          <a:ln w="3175">
            <a:solidFill>
              <a:schemeClr val="bg1">
                <a:lumMod val="75000"/>
              </a:schemeClr>
            </a:solidFill>
          </a:ln>
        </p:spPr>
      </p:pic>
      <p:pic>
        <p:nvPicPr>
          <p:cNvPr id="120" name="図 124"/>
          <p:cNvPicPr/>
          <p:nvPr/>
        </p:nvPicPr>
        <p:blipFill>
          <a:blip r:embed="rId42">
            <a:extLst>
              <a:ext uri="{28A0092B-C50C-407E-A947-70E740481C1C}">
                <a14:useLocalDpi xmlns:a14="http://schemas.microsoft.com/office/drawing/2010/main" val="0"/>
              </a:ext>
            </a:extLst>
          </a:blip>
          <a:stretch>
            <a:fillRect/>
          </a:stretch>
        </p:blipFill>
        <p:spPr>
          <a:xfrm>
            <a:off x="7445858" y="3702876"/>
            <a:ext cx="541679" cy="722239"/>
          </a:xfrm>
          <a:prstGeom prst="rect">
            <a:avLst/>
          </a:prstGeom>
          <a:ln w="3175">
            <a:solidFill>
              <a:schemeClr val="bg1">
                <a:lumMod val="75000"/>
              </a:schemeClr>
            </a:solidFill>
          </a:ln>
        </p:spPr>
      </p:pic>
      <p:pic>
        <p:nvPicPr>
          <p:cNvPr id="121" name="図 125"/>
          <p:cNvPicPr/>
          <p:nvPr/>
        </p:nvPicPr>
        <p:blipFill>
          <a:blip r:embed="rId43">
            <a:extLst>
              <a:ext uri="{28A0092B-C50C-407E-A947-70E740481C1C}">
                <a14:useLocalDpi xmlns:a14="http://schemas.microsoft.com/office/drawing/2010/main" val="0"/>
              </a:ext>
            </a:extLst>
          </a:blip>
          <a:stretch>
            <a:fillRect/>
          </a:stretch>
        </p:blipFill>
        <p:spPr>
          <a:xfrm>
            <a:off x="8242124" y="3702876"/>
            <a:ext cx="541679" cy="722239"/>
          </a:xfrm>
          <a:prstGeom prst="rect">
            <a:avLst/>
          </a:prstGeom>
          <a:ln w="3175">
            <a:solidFill>
              <a:schemeClr val="bg1">
                <a:lumMod val="75000"/>
              </a:schemeClr>
            </a:solidFill>
          </a:ln>
        </p:spPr>
      </p:pic>
      <p:pic>
        <p:nvPicPr>
          <p:cNvPr id="122" name="図 126"/>
          <p:cNvPicPr/>
          <p:nvPr/>
        </p:nvPicPr>
        <p:blipFill>
          <a:blip r:embed="rId44">
            <a:extLst>
              <a:ext uri="{28A0092B-C50C-407E-A947-70E740481C1C}">
                <a14:useLocalDpi xmlns:a14="http://schemas.microsoft.com/office/drawing/2010/main" val="0"/>
              </a:ext>
            </a:extLst>
          </a:blip>
          <a:stretch>
            <a:fillRect/>
          </a:stretch>
        </p:blipFill>
        <p:spPr>
          <a:xfrm>
            <a:off x="284823" y="4541211"/>
            <a:ext cx="541679" cy="722239"/>
          </a:xfrm>
          <a:prstGeom prst="rect">
            <a:avLst/>
          </a:prstGeom>
          <a:ln w="3175">
            <a:solidFill>
              <a:schemeClr val="bg1">
                <a:lumMod val="75000"/>
              </a:schemeClr>
            </a:solidFill>
          </a:ln>
        </p:spPr>
      </p:pic>
      <p:pic>
        <p:nvPicPr>
          <p:cNvPr id="123" name="図 31"/>
          <p:cNvPicPr/>
          <p:nvPr/>
        </p:nvPicPr>
        <p:blipFill>
          <a:blip r:embed="rId45">
            <a:extLst>
              <a:ext uri="{28A0092B-C50C-407E-A947-70E740481C1C}">
                <a14:useLocalDpi xmlns:a14="http://schemas.microsoft.com/office/drawing/2010/main" val="0"/>
              </a:ext>
            </a:extLst>
          </a:blip>
          <a:stretch>
            <a:fillRect/>
          </a:stretch>
        </p:blipFill>
        <p:spPr>
          <a:xfrm>
            <a:off x="1072998" y="4541211"/>
            <a:ext cx="541679" cy="722239"/>
          </a:xfrm>
          <a:prstGeom prst="rect">
            <a:avLst/>
          </a:prstGeom>
          <a:ln w="3175">
            <a:solidFill>
              <a:schemeClr val="bg1">
                <a:lumMod val="75000"/>
              </a:schemeClr>
            </a:solidFill>
          </a:ln>
        </p:spPr>
      </p:pic>
      <p:pic>
        <p:nvPicPr>
          <p:cNvPr id="124" name="図 32"/>
          <p:cNvPicPr/>
          <p:nvPr/>
        </p:nvPicPr>
        <p:blipFill>
          <a:blip r:embed="rId46">
            <a:extLst>
              <a:ext uri="{28A0092B-C50C-407E-A947-70E740481C1C}">
                <a14:useLocalDpi xmlns:a14="http://schemas.microsoft.com/office/drawing/2010/main" val="0"/>
              </a:ext>
            </a:extLst>
          </a:blip>
          <a:stretch>
            <a:fillRect/>
          </a:stretch>
        </p:blipFill>
        <p:spPr>
          <a:xfrm>
            <a:off x="1870816" y="4541211"/>
            <a:ext cx="541679" cy="722239"/>
          </a:xfrm>
          <a:prstGeom prst="rect">
            <a:avLst/>
          </a:prstGeom>
          <a:ln w="3175">
            <a:solidFill>
              <a:schemeClr val="bg1">
                <a:lumMod val="75000"/>
              </a:schemeClr>
            </a:solidFill>
          </a:ln>
        </p:spPr>
      </p:pic>
      <p:pic>
        <p:nvPicPr>
          <p:cNvPr id="125" name="図 33"/>
          <p:cNvPicPr/>
          <p:nvPr/>
        </p:nvPicPr>
        <p:blipFill>
          <a:blip r:embed="rId47">
            <a:extLst>
              <a:ext uri="{28A0092B-C50C-407E-A947-70E740481C1C}">
                <a14:useLocalDpi xmlns:a14="http://schemas.microsoft.com/office/drawing/2010/main" val="0"/>
              </a:ext>
            </a:extLst>
          </a:blip>
          <a:stretch>
            <a:fillRect/>
          </a:stretch>
        </p:blipFill>
        <p:spPr>
          <a:xfrm>
            <a:off x="2667063" y="4541211"/>
            <a:ext cx="541679" cy="722239"/>
          </a:xfrm>
          <a:prstGeom prst="rect">
            <a:avLst/>
          </a:prstGeom>
          <a:ln w="3175">
            <a:solidFill>
              <a:schemeClr val="bg1">
                <a:lumMod val="75000"/>
              </a:schemeClr>
            </a:solidFill>
          </a:ln>
        </p:spPr>
      </p:pic>
      <p:pic>
        <p:nvPicPr>
          <p:cNvPr id="126" name="図 34"/>
          <p:cNvPicPr/>
          <p:nvPr/>
        </p:nvPicPr>
        <p:blipFill>
          <a:blip r:embed="rId48">
            <a:extLst>
              <a:ext uri="{28A0092B-C50C-407E-A947-70E740481C1C}">
                <a14:useLocalDpi xmlns:a14="http://schemas.microsoft.com/office/drawing/2010/main" val="0"/>
              </a:ext>
            </a:extLst>
          </a:blip>
          <a:stretch>
            <a:fillRect/>
          </a:stretch>
        </p:blipFill>
        <p:spPr>
          <a:xfrm>
            <a:off x="3461727" y="4541211"/>
            <a:ext cx="541679" cy="722239"/>
          </a:xfrm>
          <a:prstGeom prst="rect">
            <a:avLst/>
          </a:prstGeom>
          <a:ln w="3175">
            <a:solidFill>
              <a:schemeClr val="bg1">
                <a:lumMod val="75000"/>
              </a:schemeClr>
            </a:solidFill>
          </a:ln>
        </p:spPr>
      </p:pic>
      <p:pic>
        <p:nvPicPr>
          <p:cNvPr id="127" name="図 35"/>
          <p:cNvPicPr/>
          <p:nvPr/>
        </p:nvPicPr>
        <p:blipFill>
          <a:blip r:embed="rId49">
            <a:extLst>
              <a:ext uri="{28A0092B-C50C-407E-A947-70E740481C1C}">
                <a14:useLocalDpi xmlns:a14="http://schemas.microsoft.com/office/drawing/2010/main" val="0"/>
              </a:ext>
            </a:extLst>
          </a:blip>
          <a:stretch>
            <a:fillRect/>
          </a:stretch>
        </p:blipFill>
        <p:spPr>
          <a:xfrm>
            <a:off x="4259289" y="4541211"/>
            <a:ext cx="541679" cy="722239"/>
          </a:xfrm>
          <a:prstGeom prst="rect">
            <a:avLst/>
          </a:prstGeom>
          <a:ln w="3175">
            <a:solidFill>
              <a:schemeClr val="bg1">
                <a:lumMod val="75000"/>
              </a:schemeClr>
            </a:solidFill>
          </a:ln>
        </p:spPr>
      </p:pic>
      <p:pic>
        <p:nvPicPr>
          <p:cNvPr id="128" name="図 36"/>
          <p:cNvPicPr/>
          <p:nvPr/>
        </p:nvPicPr>
        <p:blipFill>
          <a:blip r:embed="rId50">
            <a:extLst>
              <a:ext uri="{28A0092B-C50C-407E-A947-70E740481C1C}">
                <a14:useLocalDpi xmlns:a14="http://schemas.microsoft.com/office/drawing/2010/main" val="0"/>
              </a:ext>
            </a:extLst>
          </a:blip>
          <a:stretch>
            <a:fillRect/>
          </a:stretch>
        </p:blipFill>
        <p:spPr>
          <a:xfrm>
            <a:off x="5055651" y="4541211"/>
            <a:ext cx="541679" cy="722239"/>
          </a:xfrm>
          <a:prstGeom prst="rect">
            <a:avLst/>
          </a:prstGeom>
          <a:ln w="3175">
            <a:solidFill>
              <a:schemeClr val="bg1">
                <a:lumMod val="75000"/>
              </a:schemeClr>
            </a:solidFill>
          </a:ln>
        </p:spPr>
      </p:pic>
      <p:pic>
        <p:nvPicPr>
          <p:cNvPr id="129" name="図 37"/>
          <p:cNvPicPr/>
          <p:nvPr/>
        </p:nvPicPr>
        <p:blipFill>
          <a:blip r:embed="rId51">
            <a:extLst>
              <a:ext uri="{28A0092B-C50C-407E-A947-70E740481C1C}">
                <a14:useLocalDpi xmlns:a14="http://schemas.microsoft.com/office/drawing/2010/main" val="0"/>
              </a:ext>
            </a:extLst>
          </a:blip>
          <a:stretch>
            <a:fillRect/>
          </a:stretch>
        </p:blipFill>
        <p:spPr>
          <a:xfrm>
            <a:off x="5852503" y="4541211"/>
            <a:ext cx="541679" cy="722239"/>
          </a:xfrm>
          <a:prstGeom prst="rect">
            <a:avLst/>
          </a:prstGeom>
          <a:ln w="3175">
            <a:solidFill>
              <a:schemeClr val="bg1">
                <a:lumMod val="75000"/>
              </a:schemeClr>
            </a:solidFill>
          </a:ln>
        </p:spPr>
      </p:pic>
      <p:pic>
        <p:nvPicPr>
          <p:cNvPr id="130" name="図 38"/>
          <p:cNvPicPr/>
          <p:nvPr/>
        </p:nvPicPr>
        <p:blipFill>
          <a:blip r:embed="rId52">
            <a:extLst>
              <a:ext uri="{28A0092B-C50C-407E-A947-70E740481C1C}">
                <a14:useLocalDpi xmlns:a14="http://schemas.microsoft.com/office/drawing/2010/main" val="0"/>
              </a:ext>
            </a:extLst>
          </a:blip>
          <a:stretch>
            <a:fillRect/>
          </a:stretch>
        </p:blipFill>
        <p:spPr>
          <a:xfrm>
            <a:off x="6647635" y="4541211"/>
            <a:ext cx="541679" cy="722239"/>
          </a:xfrm>
          <a:prstGeom prst="rect">
            <a:avLst/>
          </a:prstGeom>
          <a:ln w="3175">
            <a:solidFill>
              <a:schemeClr val="bg1">
                <a:lumMod val="75000"/>
              </a:schemeClr>
            </a:solidFill>
          </a:ln>
        </p:spPr>
      </p:pic>
      <p:pic>
        <p:nvPicPr>
          <p:cNvPr id="131" name="図 39"/>
          <p:cNvPicPr/>
          <p:nvPr/>
        </p:nvPicPr>
        <p:blipFill>
          <a:blip r:embed="rId53">
            <a:extLst>
              <a:ext uri="{28A0092B-C50C-407E-A947-70E740481C1C}">
                <a14:useLocalDpi xmlns:a14="http://schemas.microsoft.com/office/drawing/2010/main" val="0"/>
              </a:ext>
            </a:extLst>
          </a:blip>
          <a:stretch>
            <a:fillRect/>
          </a:stretch>
        </p:blipFill>
        <p:spPr>
          <a:xfrm>
            <a:off x="7446411" y="4541211"/>
            <a:ext cx="541679" cy="722239"/>
          </a:xfrm>
          <a:prstGeom prst="rect">
            <a:avLst/>
          </a:prstGeom>
          <a:ln w="3175">
            <a:solidFill>
              <a:schemeClr val="bg1">
                <a:lumMod val="75000"/>
              </a:schemeClr>
            </a:solidFill>
          </a:ln>
        </p:spPr>
      </p:pic>
      <p:pic>
        <p:nvPicPr>
          <p:cNvPr id="132" name="図 40"/>
          <p:cNvPicPr/>
          <p:nvPr/>
        </p:nvPicPr>
        <p:blipFill>
          <a:blip r:embed="rId54">
            <a:extLst>
              <a:ext uri="{28A0092B-C50C-407E-A947-70E740481C1C}">
                <a14:useLocalDpi xmlns:a14="http://schemas.microsoft.com/office/drawing/2010/main" val="0"/>
              </a:ext>
            </a:extLst>
          </a:blip>
          <a:stretch>
            <a:fillRect/>
          </a:stretch>
        </p:blipFill>
        <p:spPr>
          <a:xfrm>
            <a:off x="8240751" y="4541211"/>
            <a:ext cx="541679" cy="722239"/>
          </a:xfrm>
          <a:prstGeom prst="rect">
            <a:avLst/>
          </a:prstGeom>
          <a:ln w="3175">
            <a:solidFill>
              <a:schemeClr val="bg1">
                <a:lumMod val="75000"/>
              </a:schemeClr>
            </a:solidFill>
          </a:ln>
        </p:spPr>
      </p:pic>
      <p:pic>
        <p:nvPicPr>
          <p:cNvPr id="133" name="図 41"/>
          <p:cNvPicPr/>
          <p:nvPr/>
        </p:nvPicPr>
        <p:blipFill>
          <a:blip r:embed="rId55">
            <a:extLst>
              <a:ext uri="{28A0092B-C50C-407E-A947-70E740481C1C}">
                <a14:useLocalDpi xmlns:a14="http://schemas.microsoft.com/office/drawing/2010/main" val="0"/>
              </a:ext>
            </a:extLst>
          </a:blip>
          <a:stretch>
            <a:fillRect/>
          </a:stretch>
        </p:blipFill>
        <p:spPr>
          <a:xfrm>
            <a:off x="284823" y="5379548"/>
            <a:ext cx="541679" cy="722239"/>
          </a:xfrm>
          <a:prstGeom prst="rect">
            <a:avLst/>
          </a:prstGeom>
          <a:ln w="3175">
            <a:solidFill>
              <a:schemeClr val="bg1">
                <a:lumMod val="75000"/>
              </a:schemeClr>
            </a:solidFill>
          </a:ln>
        </p:spPr>
      </p:pic>
      <p:pic>
        <p:nvPicPr>
          <p:cNvPr id="134" name="図 42"/>
          <p:cNvPicPr/>
          <p:nvPr/>
        </p:nvPicPr>
        <p:blipFill>
          <a:blip r:embed="rId56">
            <a:extLst>
              <a:ext uri="{28A0092B-C50C-407E-A947-70E740481C1C}">
                <a14:useLocalDpi xmlns:a14="http://schemas.microsoft.com/office/drawing/2010/main" val="0"/>
              </a:ext>
            </a:extLst>
          </a:blip>
          <a:stretch>
            <a:fillRect/>
          </a:stretch>
        </p:blipFill>
        <p:spPr>
          <a:xfrm>
            <a:off x="1073704" y="5379548"/>
            <a:ext cx="541679" cy="722239"/>
          </a:xfrm>
          <a:prstGeom prst="rect">
            <a:avLst/>
          </a:prstGeom>
          <a:ln w="3175">
            <a:solidFill>
              <a:schemeClr val="bg1">
                <a:lumMod val="75000"/>
              </a:schemeClr>
            </a:solidFill>
          </a:ln>
        </p:spPr>
      </p:pic>
      <p:pic>
        <p:nvPicPr>
          <p:cNvPr id="135" name="図 43"/>
          <p:cNvPicPr/>
          <p:nvPr/>
        </p:nvPicPr>
        <p:blipFill>
          <a:blip r:embed="rId57">
            <a:extLst>
              <a:ext uri="{28A0092B-C50C-407E-A947-70E740481C1C}">
                <a14:useLocalDpi xmlns:a14="http://schemas.microsoft.com/office/drawing/2010/main" val="0"/>
              </a:ext>
            </a:extLst>
          </a:blip>
          <a:stretch>
            <a:fillRect/>
          </a:stretch>
        </p:blipFill>
        <p:spPr>
          <a:xfrm>
            <a:off x="1872380" y="5379548"/>
            <a:ext cx="541679" cy="722239"/>
          </a:xfrm>
          <a:prstGeom prst="rect">
            <a:avLst/>
          </a:prstGeom>
          <a:ln w="3175">
            <a:solidFill>
              <a:schemeClr val="bg1">
                <a:lumMod val="75000"/>
              </a:schemeClr>
            </a:solidFill>
          </a:ln>
        </p:spPr>
      </p:pic>
      <p:pic>
        <p:nvPicPr>
          <p:cNvPr id="136" name="図 48"/>
          <p:cNvPicPr/>
          <p:nvPr/>
        </p:nvPicPr>
        <p:blipFill>
          <a:blip r:embed="rId58">
            <a:extLst>
              <a:ext uri="{28A0092B-C50C-407E-A947-70E740481C1C}">
                <a14:useLocalDpi xmlns:a14="http://schemas.microsoft.com/office/drawing/2010/main" val="0"/>
              </a:ext>
            </a:extLst>
          </a:blip>
          <a:stretch>
            <a:fillRect/>
          </a:stretch>
        </p:blipFill>
        <p:spPr>
          <a:xfrm>
            <a:off x="2666430" y="5379548"/>
            <a:ext cx="541679" cy="722239"/>
          </a:xfrm>
          <a:prstGeom prst="rect">
            <a:avLst/>
          </a:prstGeom>
          <a:ln w="3175">
            <a:solidFill>
              <a:schemeClr val="bg1">
                <a:lumMod val="75000"/>
              </a:schemeClr>
            </a:solidFill>
          </a:ln>
        </p:spPr>
      </p:pic>
      <p:pic>
        <p:nvPicPr>
          <p:cNvPr id="137" name="図 49"/>
          <p:cNvPicPr/>
          <p:nvPr/>
        </p:nvPicPr>
        <p:blipFill>
          <a:blip r:embed="rId59">
            <a:extLst>
              <a:ext uri="{28A0092B-C50C-407E-A947-70E740481C1C}">
                <a14:useLocalDpi xmlns:a14="http://schemas.microsoft.com/office/drawing/2010/main" val="0"/>
              </a:ext>
            </a:extLst>
          </a:blip>
          <a:stretch>
            <a:fillRect/>
          </a:stretch>
        </p:blipFill>
        <p:spPr>
          <a:xfrm>
            <a:off x="3463081" y="5379548"/>
            <a:ext cx="541679" cy="722239"/>
          </a:xfrm>
          <a:prstGeom prst="rect">
            <a:avLst/>
          </a:prstGeom>
          <a:ln w="3175">
            <a:solidFill>
              <a:schemeClr val="bg1">
                <a:lumMod val="75000"/>
              </a:schemeClr>
            </a:solidFill>
          </a:ln>
        </p:spPr>
      </p:pic>
      <p:pic>
        <p:nvPicPr>
          <p:cNvPr id="138" name="図 50"/>
          <p:cNvPicPr/>
          <p:nvPr/>
        </p:nvPicPr>
        <p:blipFill>
          <a:blip r:embed="rId60">
            <a:extLst>
              <a:ext uri="{28A0092B-C50C-407E-A947-70E740481C1C}">
                <a14:useLocalDpi xmlns:a14="http://schemas.microsoft.com/office/drawing/2010/main" val="0"/>
              </a:ext>
            </a:extLst>
          </a:blip>
          <a:stretch>
            <a:fillRect/>
          </a:stretch>
        </p:blipFill>
        <p:spPr>
          <a:xfrm>
            <a:off x="4260366" y="5379548"/>
            <a:ext cx="541679" cy="722239"/>
          </a:xfrm>
          <a:prstGeom prst="rect">
            <a:avLst/>
          </a:prstGeom>
          <a:ln w="3175">
            <a:solidFill>
              <a:schemeClr val="bg1">
                <a:lumMod val="75000"/>
              </a:schemeClr>
            </a:solidFill>
          </a:ln>
        </p:spPr>
      </p:pic>
      <p:pic>
        <p:nvPicPr>
          <p:cNvPr id="139" name="図 51"/>
          <p:cNvPicPr/>
          <p:nvPr/>
        </p:nvPicPr>
        <p:blipFill>
          <a:blip r:embed="rId61">
            <a:extLst>
              <a:ext uri="{28A0092B-C50C-407E-A947-70E740481C1C}">
                <a14:useLocalDpi xmlns:a14="http://schemas.microsoft.com/office/drawing/2010/main" val="0"/>
              </a:ext>
            </a:extLst>
          </a:blip>
          <a:stretch>
            <a:fillRect/>
          </a:stretch>
        </p:blipFill>
        <p:spPr>
          <a:xfrm>
            <a:off x="5056334" y="5379548"/>
            <a:ext cx="541679" cy="722239"/>
          </a:xfrm>
          <a:prstGeom prst="rect">
            <a:avLst/>
          </a:prstGeom>
          <a:ln w="3175">
            <a:solidFill>
              <a:schemeClr val="bg1">
                <a:lumMod val="75000"/>
              </a:schemeClr>
            </a:solidFill>
          </a:ln>
        </p:spPr>
      </p:pic>
      <p:pic>
        <p:nvPicPr>
          <p:cNvPr id="140" name="図 2"/>
          <p:cNvPicPr/>
          <p:nvPr/>
        </p:nvPicPr>
        <p:blipFill>
          <a:blip r:embed="rId62">
            <a:extLst>
              <a:ext uri="{28A0092B-C50C-407E-A947-70E740481C1C}">
                <a14:useLocalDpi xmlns:a14="http://schemas.microsoft.com/office/drawing/2010/main" val="0"/>
              </a:ext>
            </a:extLst>
          </a:blip>
          <a:stretch>
            <a:fillRect/>
          </a:stretch>
        </p:blipFill>
        <p:spPr>
          <a:xfrm>
            <a:off x="1073979" y="1187871"/>
            <a:ext cx="541679" cy="722239"/>
          </a:xfrm>
          <a:prstGeom prst="rect">
            <a:avLst/>
          </a:prstGeom>
          <a:ln w="6350">
            <a:solidFill>
              <a:schemeClr val="bg1">
                <a:lumMod val="75000"/>
              </a:schemeClr>
            </a:solidFill>
          </a:ln>
        </p:spPr>
      </p:pic>
      <p:sp>
        <p:nvSpPr>
          <p:cNvPr id="5" name="TextBox 4"/>
          <p:cNvSpPr txBox="1"/>
          <p:nvPr/>
        </p:nvSpPr>
        <p:spPr>
          <a:xfrm>
            <a:off x="3051544" y="-808074"/>
            <a:ext cx="184731" cy="369332"/>
          </a:xfrm>
          <a:prstGeom prst="rect">
            <a:avLst/>
          </a:prstGeom>
          <a:noFill/>
        </p:spPr>
        <p:txBody>
          <a:bodyPr wrap="none" rtlCol="0">
            <a:spAutoFit/>
          </a:bodyPr>
          <a:lstStyle/>
          <a:p>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198098" y="399795"/>
            <a:ext cx="7453992" cy="418645"/>
          </a:xfrm>
        </p:spPr>
        <p:txBody>
          <a:bodyPr>
            <a:normAutofit/>
          </a:bodyPr>
          <a:lstStyle/>
          <a:p>
            <a:r>
              <a:rPr lang="zh-CN" altLang="en-US" sz="2000" dirty="0">
                <a:latin typeface="Microsoft YaHei UI" panose="020B0503020204020204" pitchFamily="34" charset="-122"/>
                <a:ea typeface="Microsoft YaHei UI" panose="020B0503020204020204" pitchFamily="34" charset="-122"/>
              </a:rPr>
              <a:t>最新出版趋势</a:t>
            </a:r>
            <a:r>
              <a:rPr lang="en-GB" altLang="en-US" sz="2000" dirty="0">
                <a:latin typeface="Microsoft YaHei UI" panose="020B0503020204020204" pitchFamily="34" charset="-122"/>
                <a:ea typeface="Microsoft YaHei UI" panose="020B0503020204020204" pitchFamily="34" charset="-122"/>
              </a:rPr>
              <a:t>– Audio/Video</a:t>
            </a:r>
            <a:endParaRPr lang="en-US" altLang="en-US" sz="2000" dirty="0">
              <a:latin typeface="Microsoft YaHei UI" panose="020B0503020204020204" pitchFamily="34" charset="-122"/>
              <a:ea typeface="Microsoft YaHei UI" panose="020B0503020204020204" pitchFamily="34" charset="-122"/>
            </a:endParaRPr>
          </a:p>
        </p:txBody>
      </p:sp>
      <p:pic>
        <p:nvPicPr>
          <p:cNvPr id="16387" name="Picture 5"/>
          <p:cNvPicPr>
            <a:picLocks noChangeAspect="1" noChangeArrowheads="1"/>
          </p:cNvPicPr>
          <p:nvPr/>
        </p:nvPicPr>
        <p:blipFill>
          <a:blip r:embed="rId1">
            <a:extLst>
              <a:ext uri="{28A0092B-C50C-407E-A947-70E740481C1C}">
                <a14:useLocalDpi xmlns:a14="http://schemas.microsoft.com/office/drawing/2010/main" val="0"/>
              </a:ext>
            </a:extLst>
          </a:blip>
          <a:srcRect l="1326" t="13257" r="5875" b="5544"/>
          <a:stretch>
            <a:fillRect/>
          </a:stretch>
        </p:blipFill>
        <p:spPr bwMode="auto">
          <a:xfrm>
            <a:off x="395288" y="1223963"/>
            <a:ext cx="7059612" cy="4941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38911" y="669301"/>
            <a:ext cx="8815389" cy="829298"/>
          </a:xfrm>
        </p:spPr>
        <p:txBody>
          <a:bodyPr/>
          <a:lstStyle/>
          <a:p>
            <a:r>
              <a:rPr lang="zh-CN" altLang="en-US" dirty="0"/>
              <a:t>研究人员通过</a:t>
            </a:r>
            <a:r>
              <a:rPr lang="en-US" altLang="zh-CN" dirty="0"/>
              <a:t>SD</a:t>
            </a:r>
            <a:r>
              <a:rPr lang="zh-CN" altLang="en-US" dirty="0"/>
              <a:t>创新功能将自己的研究成果发布在社交平台上</a:t>
            </a:r>
            <a:br>
              <a:rPr lang="en-US" dirty="0">
                <a:solidFill>
                  <a:schemeClr val="tx2"/>
                </a:solidFill>
              </a:rPr>
            </a:br>
            <a:endParaRPr lang="en-US" sz="1600" dirty="0">
              <a:solidFill>
                <a:schemeClr val="tx1"/>
              </a:solidFill>
              <a:latin typeface="+mn-lt"/>
            </a:endParaRPr>
          </a:p>
        </p:txBody>
      </p:sp>
      <p:grpSp>
        <p:nvGrpSpPr>
          <p:cNvPr id="4" name="Group 3"/>
          <p:cNvGrpSpPr/>
          <p:nvPr/>
        </p:nvGrpSpPr>
        <p:grpSpPr>
          <a:xfrm>
            <a:off x="4755094" y="2093593"/>
            <a:ext cx="4071702" cy="4039850"/>
            <a:chOff x="4755094" y="2093593"/>
            <a:chExt cx="4071702" cy="4039850"/>
          </a:xfrm>
        </p:grpSpPr>
        <p:sp>
          <p:nvSpPr>
            <p:cNvPr id="9" name="Rectangle 8"/>
            <p:cNvSpPr/>
            <p:nvPr/>
          </p:nvSpPr>
          <p:spPr>
            <a:xfrm>
              <a:off x="4755094" y="2093593"/>
              <a:ext cx="4071702" cy="403985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4938723" y="2269478"/>
              <a:ext cx="3682273" cy="3661863"/>
            </a:xfrm>
            <a:prstGeom prst="rect">
              <a:avLst/>
            </a:prstGeom>
            <a:noFill/>
            <a:ln w="9525">
              <a:noFill/>
              <a:miter lim="800000"/>
              <a:headEnd/>
              <a:tailEnd/>
            </a:ln>
            <a:effectLst/>
          </p:spPr>
        </p:pic>
      </p:grpSp>
      <p:grpSp>
        <p:nvGrpSpPr>
          <p:cNvPr id="3" name="Group 2"/>
          <p:cNvGrpSpPr/>
          <p:nvPr/>
        </p:nvGrpSpPr>
        <p:grpSpPr>
          <a:xfrm>
            <a:off x="333821" y="2093593"/>
            <a:ext cx="4071702" cy="4039850"/>
            <a:chOff x="333821" y="2093593"/>
            <a:chExt cx="4071702" cy="4039850"/>
          </a:xfrm>
        </p:grpSpPr>
        <p:sp>
          <p:nvSpPr>
            <p:cNvPr id="6" name="Rectangle 5"/>
            <p:cNvSpPr/>
            <p:nvPr/>
          </p:nvSpPr>
          <p:spPr>
            <a:xfrm>
              <a:off x="333821" y="2093593"/>
              <a:ext cx="4071702" cy="403985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3521" y="2269478"/>
              <a:ext cx="3712191" cy="3669358"/>
            </a:xfrm>
            <a:prstGeom prst="rect">
              <a:avLst/>
            </a:prstGeom>
            <a:noFill/>
            <a:ln w="9525">
              <a:noFill/>
              <a:miter lim="800000"/>
              <a:headEnd/>
              <a:tailEnd/>
            </a:ln>
            <a:effectLst/>
          </p:spPr>
        </p:pic>
      </p:grpSp>
      <p:sp>
        <p:nvSpPr>
          <p:cNvPr id="2" name="Rectangle 1"/>
          <p:cNvSpPr/>
          <p:nvPr/>
        </p:nvSpPr>
        <p:spPr>
          <a:xfrm>
            <a:off x="258235" y="1351318"/>
            <a:ext cx="5846232" cy="369332"/>
          </a:xfrm>
          <a:prstGeom prst="rect">
            <a:avLst/>
          </a:prstGeom>
        </p:spPr>
        <p:txBody>
          <a:bodyPr wrap="square">
            <a:spAutoFit/>
          </a:bodyPr>
          <a:lstStyle/>
          <a:p>
            <a:r>
              <a:rPr lang="en-US" dirty="0"/>
              <a:t>Authors are posting their </a:t>
            </a:r>
            <a:r>
              <a:rPr lang="en-US" dirty="0" err="1"/>
              <a:t>AudioSlides</a:t>
            </a:r>
            <a:r>
              <a:rPr lang="en-US" dirty="0"/>
              <a:t> on Twitter</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754880" y="0"/>
            <a:ext cx="4389120" cy="12435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p:cNvSpPr>
            <a:spLocks noGrp="1"/>
          </p:cNvSpPr>
          <p:nvPr>
            <p:ph type="title" idx="4294967295"/>
          </p:nvPr>
        </p:nvSpPr>
        <p:spPr>
          <a:xfrm>
            <a:off x="4752895" y="253568"/>
            <a:ext cx="4509977" cy="640080"/>
          </a:xfrm>
          <a:prstGeom prst="rect">
            <a:avLst/>
          </a:prstGeom>
        </p:spPr>
        <p:txBody>
          <a:bodyPr/>
          <a:lstStyle/>
          <a:p>
            <a:r>
              <a:rPr lang="nl-NL" sz="2400" b="1" dirty="0">
                <a:solidFill>
                  <a:schemeClr val="bg1"/>
                </a:solidFill>
              </a:rPr>
              <a:t>The Value of ScienceDirect</a:t>
            </a:r>
            <a:endParaRPr lang="en-US" sz="2400" b="1" dirty="0">
              <a:solidFill>
                <a:schemeClr val="bg1"/>
              </a:solidFill>
            </a:endParaRPr>
          </a:p>
        </p:txBody>
      </p:sp>
      <p:sp>
        <p:nvSpPr>
          <p:cNvPr id="11" name="Rounded Rectangle 10"/>
          <p:cNvSpPr/>
          <p:nvPr/>
        </p:nvSpPr>
        <p:spPr>
          <a:xfrm>
            <a:off x="5337469" y="440729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tx2"/>
                </a:solidFill>
              </a:rPr>
              <a:t>提升可见性</a:t>
            </a:r>
            <a:endParaRPr lang="en-GB" sz="1600" dirty="0">
              <a:solidFill>
                <a:schemeClr val="tx2"/>
              </a:solidFill>
            </a:endParaRPr>
          </a:p>
        </p:txBody>
      </p:sp>
      <p:sp>
        <p:nvSpPr>
          <p:cNvPr id="13" name="Rounded Rectangle 12"/>
          <p:cNvSpPr/>
          <p:nvPr/>
        </p:nvSpPr>
        <p:spPr>
          <a:xfrm>
            <a:off x="5337470" y="1568196"/>
            <a:ext cx="3200401" cy="4572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bg2">
                    <a:lumMod val="95000"/>
                  </a:schemeClr>
                </a:solidFill>
              </a:rPr>
              <a:t>Elsevier</a:t>
            </a:r>
            <a:r>
              <a:rPr lang="zh-CN" altLang="en-US" sz="1600" dirty="0">
                <a:solidFill>
                  <a:schemeClr val="bg2">
                    <a:lumMod val="95000"/>
                  </a:schemeClr>
                </a:solidFill>
              </a:rPr>
              <a:t>的历史及传承</a:t>
            </a:r>
            <a:endParaRPr lang="en-GB" sz="1600" dirty="0">
              <a:solidFill>
                <a:schemeClr val="bg2">
                  <a:lumMod val="95000"/>
                </a:schemeClr>
              </a:solidFill>
            </a:endParaRPr>
          </a:p>
        </p:txBody>
      </p:sp>
      <p:sp>
        <p:nvSpPr>
          <p:cNvPr id="14" name="Rounded Rectangle 13"/>
          <p:cNvSpPr/>
          <p:nvPr/>
        </p:nvSpPr>
        <p:spPr>
          <a:xfrm>
            <a:off x="5337471" y="298670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altLang="zh-CN" sz="1600" dirty="0">
                <a:solidFill>
                  <a:schemeClr val="bg1">
                    <a:lumMod val="95000"/>
                  </a:schemeClr>
                </a:solidFill>
              </a:rPr>
              <a:t>S</a:t>
            </a:r>
            <a:r>
              <a:rPr lang="en-US" altLang="zh-CN" sz="1600" dirty="0" err="1">
                <a:solidFill>
                  <a:schemeClr val="bg1">
                    <a:lumMod val="95000"/>
                  </a:schemeClr>
                </a:solidFill>
              </a:rPr>
              <a:t>cienceDirect</a:t>
            </a:r>
            <a:r>
              <a:rPr lang="zh-CN" altLang="en-US" sz="1600" dirty="0">
                <a:solidFill>
                  <a:schemeClr val="bg1">
                    <a:lumMod val="95000"/>
                  </a:schemeClr>
                </a:solidFill>
              </a:rPr>
              <a:t>全文数据库</a:t>
            </a:r>
            <a:endParaRPr lang="en-GB" sz="1600" dirty="0">
              <a:solidFill>
                <a:schemeClr val="bg1">
                  <a:lumMod val="95000"/>
                </a:schemeClr>
              </a:solidFill>
            </a:endParaRPr>
          </a:p>
        </p:txBody>
      </p:sp>
      <p:sp>
        <p:nvSpPr>
          <p:cNvPr id="15" name="Rounded Rectangle 14"/>
          <p:cNvSpPr/>
          <p:nvPr/>
        </p:nvSpPr>
        <p:spPr>
          <a:xfrm>
            <a:off x="5337471" y="2287456"/>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bg2">
                    <a:lumMod val="95000"/>
                  </a:schemeClr>
                </a:solidFill>
              </a:rPr>
              <a:t>科学研究流程</a:t>
            </a:r>
            <a:endParaRPr lang="en-GB" sz="1600" dirty="0">
              <a:solidFill>
                <a:schemeClr val="bg2">
                  <a:lumMod val="95000"/>
                </a:schemeClr>
              </a:solidFill>
            </a:endParaRPr>
          </a:p>
        </p:txBody>
      </p:sp>
      <p:sp>
        <p:nvSpPr>
          <p:cNvPr id="16" name="Rounded Rectangle 15"/>
          <p:cNvSpPr/>
          <p:nvPr/>
        </p:nvSpPr>
        <p:spPr>
          <a:xfrm>
            <a:off x="5337471" y="3685944"/>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bg1">
                    <a:lumMod val="95000"/>
                  </a:schemeClr>
                </a:solidFill>
              </a:rPr>
              <a:t>SD</a:t>
            </a:r>
            <a:r>
              <a:rPr lang="zh-CN" altLang="en-US" sz="1600" dirty="0">
                <a:solidFill>
                  <a:schemeClr val="bg1">
                    <a:lumMod val="95000"/>
                  </a:schemeClr>
                </a:solidFill>
              </a:rPr>
              <a:t>上线新功能</a:t>
            </a:r>
            <a:endParaRPr lang="en-GB" sz="1600" dirty="0">
              <a:solidFill>
                <a:schemeClr val="bg1">
                  <a:lumMod val="95000"/>
                </a:schemeClr>
              </a:solidFill>
            </a:endParaRPr>
          </a:p>
        </p:txBody>
      </p:sp>
      <p:sp>
        <p:nvSpPr>
          <p:cNvPr id="2" name="Rounded Rectangle 10"/>
          <p:cNvSpPr/>
          <p:nvPr/>
        </p:nvSpPr>
        <p:spPr>
          <a:xfrm>
            <a:off x="5349534" y="5082295"/>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p>
            <a:pPr marL="1270" lvl="1" algn="ctr" eaLnBrk="0" hangingPunct="0">
              <a:spcBef>
                <a:spcPct val="20000"/>
              </a:spcBef>
              <a:buClr>
                <a:schemeClr val="accent1"/>
              </a:buClr>
            </a:pPr>
            <a:r>
              <a:rPr lang="zh-CN" altLang="en-US" sz="1600" dirty="0">
                <a:solidFill>
                  <a:schemeClr val="bg2">
                    <a:lumMod val="95000"/>
                  </a:schemeClr>
                </a:solidFill>
              </a:rPr>
              <a:t>科研论文写作</a:t>
            </a:r>
            <a:endParaRPr lang="zh-CN" altLang="en-US" sz="1600" dirty="0">
              <a:solidFill>
                <a:schemeClr val="bg2">
                  <a:lumMod val="95000"/>
                </a:schemeClr>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a:off x="4873761" y="1384183"/>
            <a:ext cx="3850547" cy="3724712"/>
          </a:xfrm>
          <a:prstGeom prst="rect">
            <a:avLst/>
          </a:prstGeom>
          <a:solidFill>
            <a:srgbClr val="F6F6F6">
              <a:alpha val="57000"/>
            </a:srgb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itle 2"/>
          <p:cNvSpPr>
            <a:spLocks noGrp="1"/>
          </p:cNvSpPr>
          <p:nvPr>
            <p:ph type="title"/>
          </p:nvPr>
        </p:nvSpPr>
        <p:spPr>
          <a:xfrm>
            <a:off x="274320" y="554811"/>
            <a:ext cx="8869680" cy="439944"/>
          </a:xfrm>
        </p:spPr>
        <p:txBody>
          <a:bodyPr/>
          <a:lstStyle/>
          <a:p>
            <a:r>
              <a:rPr lang="en-GB" dirty="0"/>
              <a:t>Elsevier </a:t>
            </a:r>
            <a:r>
              <a:rPr lang="zh-CN" altLang="en-US" dirty="0"/>
              <a:t>开展</a:t>
            </a:r>
            <a:r>
              <a:rPr lang="en-US" altLang="zh-CN" dirty="0"/>
              <a:t>GOA</a:t>
            </a:r>
            <a:r>
              <a:rPr lang="zh-CN" altLang="en-US" dirty="0"/>
              <a:t>（金色开放获取）计划</a:t>
            </a:r>
            <a:endParaRPr lang="en-US" b="1" dirty="0">
              <a:latin typeface="+mn-lt"/>
              <a:cs typeface="Calibri" panose="020F0502020204030204" pitchFamily="34" charset="0"/>
            </a:endParaRPr>
          </a:p>
        </p:txBody>
      </p:sp>
      <p:sp>
        <p:nvSpPr>
          <p:cNvPr id="12" name="Rectangle 11"/>
          <p:cNvSpPr>
            <a:spLocks noChangeArrowheads="1"/>
          </p:cNvSpPr>
          <p:nvPr>
            <p:custDataLst>
              <p:tags r:id="rId1"/>
            </p:custDataLst>
          </p:nvPr>
        </p:nvSpPr>
        <p:spPr bwMode="auto">
          <a:xfrm>
            <a:off x="223229" y="1384183"/>
            <a:ext cx="4784903" cy="430887"/>
          </a:xfrm>
          <a:prstGeom prst="rect">
            <a:avLst/>
          </a:prstGeom>
          <a:noFill/>
          <a:ln w="9525">
            <a:noFill/>
            <a:miter lim="800000"/>
          </a:ln>
        </p:spPr>
        <p:txBody>
          <a:bodyPr wrap="square" lIns="0" tIns="0" rIns="0" bIns="0">
            <a:spAutoFit/>
          </a:bodyPr>
          <a:lstStyle/>
          <a:p>
            <a:pPr marL="282575" lvl="1" indent="-87630" defTabSz="912495" eaLnBrk="0" hangingPunct="0">
              <a:spcBef>
                <a:spcPts val="200"/>
              </a:spcBef>
              <a:buClr>
                <a:schemeClr val="tx1"/>
              </a:buClr>
              <a:buFont typeface="Arial" panose="020B0604020202020204" pitchFamily="34" charset="0"/>
              <a:buChar char="•"/>
              <a:tabLst>
                <a:tab pos="398145" algn="l"/>
              </a:tabLst>
            </a:pPr>
            <a:r>
              <a:rPr lang="en-GB" sz="1400" b="1" dirty="0">
                <a:solidFill>
                  <a:schemeClr val="tx2"/>
                </a:solidFill>
                <a:cs typeface="Arial" panose="020B0604020202020204" pitchFamily="34" charset="0"/>
              </a:rPr>
              <a:t>Elsevier has over 100 Open Access Journals &amp; Growing</a:t>
            </a:r>
            <a:endParaRPr lang="en-GB" sz="1400" b="1" dirty="0">
              <a:solidFill>
                <a:schemeClr val="tx2"/>
              </a:solidFill>
              <a:cs typeface="Arial" panose="020B0604020202020204" pitchFamily="34" charset="0"/>
            </a:endParaRPr>
          </a:p>
        </p:txBody>
      </p:sp>
      <p:pic>
        <p:nvPicPr>
          <p:cNvPr id="22" name="Picture 2" descr="http://download.cell.com/images/journalimages/2211-1247/S2211124712X0007X_covhighres.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660436" y="2974304"/>
            <a:ext cx="803813" cy="1044889"/>
          </a:xfrm>
          <a:prstGeom prst="rect">
            <a:avLst/>
          </a:prstGeom>
          <a:noFill/>
          <a:ln>
            <a:noFill/>
          </a:ln>
        </p:spPr>
      </p:pic>
      <p:pic>
        <p:nvPicPr>
          <p:cNvPr id="23" name="Picture 4" descr="Applied and Translational Genomics"/>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035820" y="2978260"/>
            <a:ext cx="770068" cy="1020340"/>
          </a:xfrm>
          <a:prstGeom prst="rect">
            <a:avLst/>
          </a:prstGeom>
          <a:noFill/>
          <a:ln>
            <a:noFill/>
          </a:ln>
        </p:spPr>
      </p:pic>
      <p:pic>
        <p:nvPicPr>
          <p:cNvPr id="20" name="Picture 8"/>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30188" y="2979396"/>
            <a:ext cx="767531" cy="1029405"/>
          </a:xfrm>
          <a:prstGeom prst="rect">
            <a:avLst/>
          </a:prstGeom>
          <a:noFill/>
          <a:ln>
            <a:noFill/>
          </a:ln>
        </p:spPr>
      </p:pic>
      <p:pic>
        <p:nvPicPr>
          <p:cNvPr id="21" name="Picture 5"/>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822019" y="2979207"/>
            <a:ext cx="714117" cy="1045420"/>
          </a:xfrm>
          <a:prstGeom prst="rect">
            <a:avLst/>
          </a:prstGeom>
          <a:noFill/>
          <a:ln>
            <a:noFill/>
          </a:ln>
        </p:spPr>
      </p:pic>
      <p:pic>
        <p:nvPicPr>
          <p:cNvPr id="26" name="Picture 25"/>
          <p:cNvPicPr>
            <a:picLocks noChangeAspect="1"/>
          </p:cNvPicPr>
          <p:nvPr/>
        </p:nvPicPr>
        <p:blipFill>
          <a:blip r:embed="rId6"/>
          <a:stretch>
            <a:fillRect/>
          </a:stretch>
        </p:blipFill>
        <p:spPr>
          <a:xfrm>
            <a:off x="4882150" y="1392571"/>
            <a:ext cx="3766653" cy="1200565"/>
          </a:xfrm>
          <a:prstGeom prst="rect">
            <a:avLst/>
          </a:prstGeom>
        </p:spPr>
      </p:pic>
      <p:sp>
        <p:nvSpPr>
          <p:cNvPr id="15" name="Rectangle 14"/>
          <p:cNvSpPr>
            <a:spLocks noChangeArrowheads="1"/>
          </p:cNvSpPr>
          <p:nvPr>
            <p:custDataLst>
              <p:tags r:id="rId7"/>
            </p:custDataLst>
          </p:nvPr>
        </p:nvSpPr>
        <p:spPr bwMode="auto">
          <a:xfrm>
            <a:off x="327935" y="1920937"/>
            <a:ext cx="4195336" cy="1369606"/>
          </a:xfrm>
          <a:prstGeom prst="rect">
            <a:avLst/>
          </a:prstGeom>
          <a:noFill/>
          <a:ln w="9525">
            <a:noFill/>
            <a:miter lim="800000"/>
          </a:ln>
        </p:spPr>
        <p:txBody>
          <a:bodyPr wrap="square" lIns="0" tIns="0" rIns="0" bIns="0">
            <a:spAutoFit/>
          </a:bodyPr>
          <a:lstStyle/>
          <a:p>
            <a:pPr marL="179705" lvl="1" indent="-91440" defTabSz="912495" eaLnBrk="0" hangingPunct="0">
              <a:spcBef>
                <a:spcPts val="200"/>
              </a:spcBef>
              <a:buClr>
                <a:schemeClr val="tx1"/>
              </a:buClr>
              <a:buFontTx/>
              <a:buChar char="•"/>
            </a:pPr>
            <a:r>
              <a:rPr lang="en-GB" sz="1400" b="1" dirty="0">
                <a:solidFill>
                  <a:schemeClr val="tx2"/>
                </a:solidFill>
                <a:latin typeface="+mn-lt"/>
                <a:cs typeface="Arial" panose="020B0604020202020204" pitchFamily="34" charset="0"/>
              </a:rPr>
              <a:t>1,625 Elsevier titles offer sponsored access</a:t>
            </a:r>
            <a:endParaRPr lang="en-GB" sz="1400" b="1" dirty="0">
              <a:solidFill>
                <a:schemeClr val="tx2"/>
              </a:solidFill>
              <a:latin typeface="+mn-lt"/>
              <a:cs typeface="Arial" panose="020B0604020202020204" pitchFamily="34" charset="0"/>
            </a:endParaRPr>
          </a:p>
          <a:p>
            <a:pPr marL="344805" lvl="2" indent="-174625" defTabSz="912495" eaLnBrk="0" hangingPunct="0">
              <a:spcBef>
                <a:spcPts val="200"/>
              </a:spcBef>
              <a:buClr>
                <a:schemeClr val="tx1"/>
              </a:buClr>
              <a:buSzPct val="80000"/>
              <a:buFont typeface="LucidaGrande"/>
              <a:buChar char="−"/>
              <a:defRPr/>
            </a:pPr>
            <a:r>
              <a:rPr lang="en-GB" sz="1400" dirty="0">
                <a:latin typeface="+mn-lt"/>
              </a:rPr>
              <a:t>Article available to all non-subscribers</a:t>
            </a:r>
            <a:endParaRPr lang="en-GB" sz="1400" dirty="0">
              <a:latin typeface="+mn-lt"/>
            </a:endParaRPr>
          </a:p>
          <a:p>
            <a:pPr marL="347980" lvl="2" indent="-182880" defTabSz="912495" eaLnBrk="0" hangingPunct="0">
              <a:spcBef>
                <a:spcPts val="200"/>
              </a:spcBef>
              <a:buClr>
                <a:schemeClr val="tx1"/>
              </a:buClr>
              <a:buSzPct val="90000"/>
              <a:buFont typeface="Lucida Grande"/>
              <a:buChar char="-"/>
              <a:defRPr/>
            </a:pPr>
            <a:r>
              <a:rPr lang="en-GB" sz="1400" dirty="0">
                <a:latin typeface="+mn-lt"/>
              </a:rPr>
              <a:t>Allows authors to publish open access in high quality, indexed journals</a:t>
            </a:r>
            <a:endParaRPr lang="en-GB" sz="1400" dirty="0">
              <a:latin typeface="+mn-lt"/>
            </a:endParaRPr>
          </a:p>
          <a:p>
            <a:pPr marL="347980" lvl="2" indent="-182880" defTabSz="912495" eaLnBrk="0" hangingPunct="0">
              <a:spcBef>
                <a:spcPts val="200"/>
              </a:spcBef>
              <a:buClr>
                <a:schemeClr val="tx1"/>
              </a:buClr>
              <a:buSzPct val="90000"/>
              <a:buFont typeface="Lucida Grande"/>
              <a:buChar char="-"/>
              <a:defRPr/>
            </a:pPr>
            <a:r>
              <a:rPr lang="en-GB" sz="1400" dirty="0">
                <a:latin typeface="+mn-lt"/>
              </a:rPr>
              <a:t>Agreements with Welcome Trust and the UK Medical Research Council to reimburse fees</a:t>
            </a:r>
            <a:endParaRPr lang="en-GB" sz="1400" dirty="0">
              <a:latin typeface="+mn-lt"/>
            </a:endParaRPr>
          </a:p>
        </p:txBody>
      </p:sp>
      <p:sp>
        <p:nvSpPr>
          <p:cNvPr id="16" name="Rectangle 15"/>
          <p:cNvSpPr>
            <a:spLocks noChangeArrowheads="1"/>
          </p:cNvSpPr>
          <p:nvPr>
            <p:custDataLst>
              <p:tags r:id="rId8"/>
            </p:custDataLst>
          </p:nvPr>
        </p:nvSpPr>
        <p:spPr bwMode="auto">
          <a:xfrm>
            <a:off x="377778" y="3446615"/>
            <a:ext cx="3630168" cy="456535"/>
          </a:xfrm>
          <a:prstGeom prst="rect">
            <a:avLst/>
          </a:prstGeom>
          <a:noFill/>
          <a:ln w="9525">
            <a:noFill/>
            <a:miter lim="800000"/>
          </a:ln>
        </p:spPr>
        <p:txBody>
          <a:bodyPr wrap="square" lIns="0" tIns="0" rIns="0" bIns="0">
            <a:spAutoFit/>
          </a:bodyPr>
          <a:lstStyle/>
          <a:p>
            <a:pPr marL="179705" lvl="1" indent="-128905" defTabSz="912495" eaLnBrk="0" hangingPunct="0">
              <a:spcBef>
                <a:spcPts val="200"/>
              </a:spcBef>
              <a:buClr>
                <a:schemeClr val="tx1"/>
              </a:buClr>
              <a:buFontTx/>
              <a:buChar char="•"/>
            </a:pPr>
            <a:r>
              <a:rPr lang="en-GB" sz="1400" b="1" dirty="0">
                <a:solidFill>
                  <a:schemeClr val="tx2"/>
                </a:solidFill>
                <a:cs typeface="Arial" panose="020B0604020202020204" pitchFamily="34" charset="0"/>
              </a:rPr>
              <a:t>Launch of </a:t>
            </a:r>
            <a:r>
              <a:rPr lang="en-GB" sz="1400" b="1" dirty="0" err="1">
                <a:solidFill>
                  <a:schemeClr val="tx2"/>
                </a:solidFill>
                <a:cs typeface="Arial" panose="020B0604020202020204" pitchFamily="34" charset="0"/>
              </a:rPr>
              <a:t>Heliyon</a:t>
            </a:r>
            <a:endParaRPr lang="en-GB" sz="1400" b="1" dirty="0">
              <a:solidFill>
                <a:schemeClr val="tx2"/>
              </a:solidFill>
              <a:cs typeface="Arial" panose="020B0604020202020204" pitchFamily="34" charset="0"/>
            </a:endParaRPr>
          </a:p>
          <a:p>
            <a:pPr marL="285750" lvl="1" indent="-165100" defTabSz="912495" eaLnBrk="0" hangingPunct="0">
              <a:spcBef>
                <a:spcPts val="200"/>
              </a:spcBef>
              <a:buClr>
                <a:schemeClr val="tx1"/>
              </a:buClr>
              <a:buSzPct val="80000"/>
              <a:buFont typeface="Lucida Grande"/>
              <a:buChar char="-"/>
              <a:defRPr/>
            </a:pPr>
            <a:r>
              <a:rPr lang="en-GB" sz="1400" dirty="0"/>
              <a:t>Elsevier’s Open Access </a:t>
            </a:r>
            <a:r>
              <a:rPr lang="en-GB" sz="1400" dirty="0" err="1"/>
              <a:t>megajournal</a:t>
            </a:r>
            <a:r>
              <a:rPr lang="en-GB" sz="1400" dirty="0"/>
              <a:t> </a:t>
            </a:r>
            <a:endParaRPr lang="en-GB" sz="1400" dirty="0"/>
          </a:p>
        </p:txBody>
      </p:sp>
      <p:sp>
        <p:nvSpPr>
          <p:cNvPr id="27" name="Rectangle 26"/>
          <p:cNvSpPr>
            <a:spLocks noChangeArrowheads="1"/>
          </p:cNvSpPr>
          <p:nvPr>
            <p:custDataLst>
              <p:tags r:id="rId9"/>
            </p:custDataLst>
          </p:nvPr>
        </p:nvSpPr>
        <p:spPr bwMode="auto">
          <a:xfrm>
            <a:off x="352120" y="4163945"/>
            <a:ext cx="4282864" cy="697627"/>
          </a:xfrm>
          <a:prstGeom prst="rect">
            <a:avLst/>
          </a:prstGeom>
          <a:noFill/>
          <a:ln w="9525">
            <a:noFill/>
            <a:miter lim="800000"/>
          </a:ln>
        </p:spPr>
        <p:txBody>
          <a:bodyPr wrap="square" lIns="0" tIns="0" rIns="0" bIns="0">
            <a:spAutoFit/>
          </a:bodyPr>
          <a:lstStyle/>
          <a:p>
            <a:pPr marL="179705" lvl="1" indent="-91440" defTabSz="912495" eaLnBrk="0" hangingPunct="0">
              <a:spcBef>
                <a:spcPts val="200"/>
              </a:spcBef>
              <a:buClr>
                <a:schemeClr val="tx1"/>
              </a:buClr>
              <a:buFontTx/>
              <a:buChar char="•"/>
            </a:pPr>
            <a:r>
              <a:rPr lang="en-GB" sz="1400" b="1" dirty="0">
                <a:solidFill>
                  <a:schemeClr val="tx2"/>
                </a:solidFill>
                <a:latin typeface="+mn-lt"/>
                <a:cs typeface="Arial" panose="020B0604020202020204" pitchFamily="34" charset="0"/>
              </a:rPr>
              <a:t>Cell Press</a:t>
            </a:r>
            <a:endParaRPr lang="en-GB" sz="1400" b="1" dirty="0">
              <a:solidFill>
                <a:schemeClr val="tx2"/>
              </a:solidFill>
              <a:latin typeface="+mn-lt"/>
              <a:cs typeface="Arial" panose="020B0604020202020204" pitchFamily="34" charset="0"/>
            </a:endParaRPr>
          </a:p>
          <a:p>
            <a:pPr marL="347980" lvl="2" indent="-165100" defTabSz="972820" eaLnBrk="0" hangingPunct="0">
              <a:spcBef>
                <a:spcPts val="200"/>
              </a:spcBef>
              <a:buClr>
                <a:schemeClr val="tx1"/>
              </a:buClr>
              <a:buSzPct val="80000"/>
              <a:buFont typeface="Lucida Grande"/>
              <a:buChar char="-"/>
              <a:defRPr/>
            </a:pPr>
            <a:r>
              <a:rPr lang="en-GB" sz="1400" dirty="0">
                <a:latin typeface="+mn-lt"/>
              </a:rPr>
              <a:t>Unrestricted access after 12-months</a:t>
            </a:r>
            <a:endParaRPr lang="en-GB" sz="1400" dirty="0">
              <a:latin typeface="+mn-lt"/>
            </a:endParaRPr>
          </a:p>
          <a:p>
            <a:pPr marL="347980" lvl="2" indent="-165100" defTabSz="972820" eaLnBrk="0" hangingPunct="0">
              <a:spcBef>
                <a:spcPts val="200"/>
              </a:spcBef>
              <a:buClr>
                <a:schemeClr val="tx1"/>
              </a:buClr>
              <a:buSzPct val="80000"/>
              <a:buFont typeface="Lucida Grande"/>
              <a:buChar char="-"/>
              <a:defRPr/>
            </a:pPr>
            <a:r>
              <a:rPr lang="en-GB" sz="1400" dirty="0">
                <a:latin typeface="+mn-lt"/>
              </a:rPr>
              <a:t>Launch of </a:t>
            </a:r>
            <a:r>
              <a:rPr lang="en-GB" sz="1400" dirty="0">
                <a:latin typeface="+mn-lt"/>
                <a:cs typeface="Arial" panose="020B0604020202020204" pitchFamily="34" charset="0"/>
              </a:rPr>
              <a:t>Open Access Cell Reports in 2011</a:t>
            </a:r>
            <a:endParaRPr lang="en-GB" sz="1400" dirty="0">
              <a:latin typeface="+mn-lt"/>
              <a:cs typeface="Arial" panose="020B0604020202020204" pitchFamily="34" charset="0"/>
            </a:endParaRPr>
          </a:p>
        </p:txBody>
      </p:sp>
      <p:sp>
        <p:nvSpPr>
          <p:cNvPr id="28" name="Rectangle 27"/>
          <p:cNvSpPr>
            <a:spLocks noChangeArrowheads="1"/>
          </p:cNvSpPr>
          <p:nvPr>
            <p:custDataLst>
              <p:tags r:id="rId10"/>
            </p:custDataLst>
          </p:nvPr>
        </p:nvSpPr>
        <p:spPr bwMode="auto">
          <a:xfrm>
            <a:off x="231441" y="5075161"/>
            <a:ext cx="4583430" cy="1128514"/>
          </a:xfrm>
          <a:prstGeom prst="rect">
            <a:avLst/>
          </a:prstGeom>
          <a:noFill/>
          <a:ln w="9525">
            <a:noFill/>
            <a:miter lim="800000"/>
          </a:ln>
        </p:spPr>
        <p:txBody>
          <a:bodyPr wrap="square" lIns="0" tIns="0" rIns="0" bIns="0">
            <a:spAutoFit/>
          </a:bodyPr>
          <a:lstStyle/>
          <a:p>
            <a:pPr marL="285750" lvl="1" indent="-91440" defTabSz="912495" eaLnBrk="0" hangingPunct="0">
              <a:spcBef>
                <a:spcPts val="200"/>
              </a:spcBef>
              <a:buClr>
                <a:schemeClr val="tx1"/>
              </a:buClr>
              <a:buFont typeface="Arial" panose="020B0604020202020204" pitchFamily="34" charset="0"/>
              <a:buChar char="•"/>
            </a:pPr>
            <a:r>
              <a:rPr lang="en-GB" sz="1400" b="1" dirty="0">
                <a:solidFill>
                  <a:schemeClr val="tx2"/>
                </a:solidFill>
                <a:cs typeface="Arial" panose="020B0604020202020204" pitchFamily="34" charset="0"/>
              </a:rPr>
              <a:t>96 Journals offer “delayed open access”</a:t>
            </a:r>
            <a:r>
              <a:rPr lang="en-GB" sz="1400" dirty="0">
                <a:solidFill>
                  <a:schemeClr val="tx2"/>
                </a:solidFill>
                <a:cs typeface="Arial" panose="020B0604020202020204" pitchFamily="34" charset="0"/>
              </a:rPr>
              <a:t> </a:t>
            </a:r>
            <a:endParaRPr lang="en-GB" sz="1400" dirty="0">
              <a:solidFill>
                <a:schemeClr val="tx2"/>
              </a:solidFill>
              <a:cs typeface="Arial" panose="020B0604020202020204" pitchFamily="34" charset="0"/>
            </a:endParaRPr>
          </a:p>
          <a:p>
            <a:pPr marL="460375" lvl="2" indent="-192405" defTabSz="912495" eaLnBrk="0" hangingPunct="0">
              <a:spcBef>
                <a:spcPts val="200"/>
              </a:spcBef>
              <a:buClr>
                <a:schemeClr val="tx1"/>
              </a:buClr>
              <a:buSzPct val="80000"/>
              <a:buFont typeface="Lucida Grande"/>
              <a:buChar char="-"/>
              <a:defRPr/>
            </a:pPr>
            <a:r>
              <a:rPr lang="en-GB" sz="1400" dirty="0"/>
              <a:t>After a period of time specific to each journal</a:t>
            </a:r>
            <a:endParaRPr lang="en-GB" sz="1400" dirty="0"/>
          </a:p>
          <a:p>
            <a:pPr marL="460375" lvl="2" indent="-192405" defTabSz="912495" eaLnBrk="0" hangingPunct="0">
              <a:spcBef>
                <a:spcPts val="200"/>
              </a:spcBef>
              <a:buClr>
                <a:schemeClr val="tx1"/>
              </a:buClr>
              <a:buSzPct val="80000"/>
              <a:buFont typeface="Lucida Grande"/>
              <a:buChar char="-"/>
              <a:defRPr/>
            </a:pPr>
            <a:r>
              <a:rPr lang="en-GB" sz="1400" dirty="0"/>
              <a:t>Elsevier Authors can post the peer-reviewed AAMs on their institutional repositories and on their own website immediately and voluntarily</a:t>
            </a:r>
            <a:endParaRPr lang="en-GB" sz="1400" dirty="0"/>
          </a:p>
        </p:txBody>
      </p:sp>
      <p:pic>
        <p:nvPicPr>
          <p:cNvPr id="3" name="Picture 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217709" y="4278385"/>
            <a:ext cx="1649348" cy="646478"/>
          </a:xfrm>
          <a:prstGeom prst="rect">
            <a:avLst/>
          </a:prstGeom>
        </p:spPr>
      </p:pic>
      <p:pic>
        <p:nvPicPr>
          <p:cNvPr id="4" name="Picture 3"/>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190987" y="4283341"/>
            <a:ext cx="926456" cy="733273"/>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151389" y="1574797"/>
            <a:ext cx="6724002" cy="6724002"/>
          </a:xfrm>
          <a:prstGeom prst="rect">
            <a:avLst/>
          </a:prstGeom>
        </p:spPr>
      </p:pic>
      <p:sp>
        <p:nvSpPr>
          <p:cNvPr id="7" name="Title 2"/>
          <p:cNvSpPr>
            <a:spLocks noGrp="1"/>
          </p:cNvSpPr>
          <p:nvPr>
            <p:ph type="title"/>
          </p:nvPr>
        </p:nvSpPr>
        <p:spPr>
          <a:xfrm>
            <a:off x="324091" y="528554"/>
            <a:ext cx="7465671" cy="748926"/>
          </a:xfrm>
        </p:spPr>
        <p:txBody>
          <a:bodyPr/>
          <a:lstStyle/>
          <a:p>
            <a:r>
              <a:rPr lang="nl-NL" dirty="0"/>
              <a:t>GOA </a:t>
            </a:r>
            <a:r>
              <a:rPr lang="zh-CN" altLang="en-US" dirty="0"/>
              <a:t>文章</a:t>
            </a:r>
            <a:endParaRPr lang="en-US" b="1" dirty="0">
              <a:latin typeface="+mn-lt"/>
              <a:cs typeface="Calibri" panose="020F0502020204030204" pitchFamily="34" charset="0"/>
            </a:endParaRPr>
          </a:p>
        </p:txBody>
      </p:sp>
      <p:pic>
        <p:nvPicPr>
          <p:cNvPr id="16" name="Picture 15"/>
          <p:cNvPicPr>
            <a:picLocks noChangeAspect="1"/>
          </p:cNvPicPr>
          <p:nvPr/>
        </p:nvPicPr>
        <p:blipFill>
          <a:blip r:embed="rId2"/>
          <a:stretch>
            <a:fillRect/>
          </a:stretch>
        </p:blipFill>
        <p:spPr>
          <a:xfrm>
            <a:off x="1903228" y="1845626"/>
            <a:ext cx="5257349" cy="3506592"/>
          </a:xfrm>
          <a:prstGeom prst="rect">
            <a:avLst/>
          </a:prstGeom>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7883" y="510437"/>
            <a:ext cx="8238319" cy="712544"/>
          </a:xfrm>
        </p:spPr>
        <p:txBody>
          <a:bodyPr/>
          <a:lstStyle/>
          <a:p>
            <a:r>
              <a:rPr lang="en-US" dirty="0"/>
              <a:t>ScienceDirect </a:t>
            </a:r>
            <a:r>
              <a:rPr lang="zh-CN" altLang="en-US" dirty="0"/>
              <a:t>确保来自世界的研究成果被世界可见</a:t>
            </a:r>
            <a:endParaRPr lang="en-US" b="1" dirty="0">
              <a:latin typeface="+mn-lt"/>
              <a:cs typeface="Calibri" panose="020F0502020204030204" pitchFamily="34" charset="0"/>
            </a:endParaRPr>
          </a:p>
        </p:txBody>
      </p:sp>
      <p:sp>
        <p:nvSpPr>
          <p:cNvPr id="10" name="Title 1"/>
          <p:cNvSpPr txBox="1"/>
          <p:nvPr/>
        </p:nvSpPr>
        <p:spPr>
          <a:xfrm>
            <a:off x="389942" y="493036"/>
            <a:ext cx="8269613" cy="4186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endParaRPr lang="en-US" dirty="0">
              <a:solidFill>
                <a:srgbClr val="007398"/>
              </a:solidFill>
            </a:endParaRPr>
          </a:p>
        </p:txBody>
      </p:sp>
      <p:sp>
        <p:nvSpPr>
          <p:cNvPr id="26" name="Title Texts2"/>
          <p:cNvSpPr>
            <a:spLocks noGrp="1"/>
          </p:cNvSpPr>
          <p:nvPr>
            <p:ph idx="4294967295"/>
          </p:nvPr>
        </p:nvSpPr>
        <p:spPr>
          <a:xfrm>
            <a:off x="125402" y="6464718"/>
            <a:ext cx="3970182" cy="427038"/>
          </a:xfrm>
        </p:spPr>
        <p:txBody>
          <a:bodyPr>
            <a:normAutofit/>
          </a:bodyPr>
          <a:lstStyle>
            <a:lvl1pPr marL="0" indent="0">
              <a:buNone/>
              <a:defRPr sz="800" baseline="0">
                <a:solidFill>
                  <a:schemeClr val="tx1">
                    <a:lumMod val="75000"/>
                  </a:schemeClr>
                </a:solidFill>
              </a:defRPr>
            </a:lvl1pPr>
          </a:lstStyle>
          <a:p>
            <a:r>
              <a:rPr sz="700" dirty="0"/>
              <a:t>Source: Elsevier Web Analytics Department, ScienceDirect Usage Data 2011–2015</a:t>
            </a:r>
            <a:endParaRPr sz="700" dirty="0"/>
          </a:p>
        </p:txBody>
      </p:sp>
      <p:sp>
        <p:nvSpPr>
          <p:cNvPr id="28" name="Title Texts3"/>
          <p:cNvSpPr>
            <a:spLocks noGrp="1"/>
          </p:cNvSpPr>
          <p:nvPr>
            <p:ph idx="4294967295"/>
          </p:nvPr>
        </p:nvSpPr>
        <p:spPr>
          <a:xfrm>
            <a:off x="360351" y="1202886"/>
            <a:ext cx="6306675" cy="608364"/>
          </a:xfrm>
        </p:spPr>
        <p:txBody>
          <a:bodyPr>
            <a:noAutofit/>
          </a:bodyPr>
          <a:lstStyle>
            <a:lvl1pPr marL="0" indent="0" algn="ctr">
              <a:buNone/>
              <a:defRPr sz="1400"/>
            </a:lvl1pPr>
          </a:lstStyle>
          <a:p>
            <a:pPr algn="l"/>
            <a:r>
              <a:rPr sz="1600" dirty="0"/>
              <a:t>Where in the world have the articles authored by World affiliated researchers been downloaded?</a:t>
            </a:r>
            <a:endParaRPr sz="1600" dirty="0"/>
          </a:p>
        </p:txBody>
      </p:sp>
      <p:grpSp>
        <p:nvGrpSpPr>
          <p:cNvPr id="4" name="Group 3"/>
          <p:cNvGrpSpPr/>
          <p:nvPr/>
        </p:nvGrpSpPr>
        <p:grpSpPr>
          <a:xfrm>
            <a:off x="1770939" y="2094418"/>
            <a:ext cx="4992952" cy="3028221"/>
            <a:chOff x="1445323" y="2110254"/>
            <a:chExt cx="5592510" cy="3391853"/>
          </a:xfrm>
        </p:grpSpPr>
        <p:sp>
          <p:nvSpPr>
            <p:cNvPr id="73" name="Polygon form 38"/>
            <p:cNvSpPr/>
            <p:nvPr/>
          </p:nvSpPr>
          <p:spPr>
            <a:xfrm>
              <a:off x="6894677" y="5142581"/>
              <a:ext cx="143156" cy="200189"/>
            </a:xfrm>
            <a:custGeom>
              <a:avLst/>
              <a:gdLst/>
              <a:ahLst/>
              <a:cxnLst/>
              <a:rect l="0" t="0" r="0" b="0"/>
              <a:pathLst>
                <a:path w="143156" h="200189">
                  <a:moveTo>
                    <a:pt x="116435" y="50839"/>
                  </a:moveTo>
                  <a:lnTo>
                    <a:pt x="105001" y="81352"/>
                  </a:lnTo>
                  <a:lnTo>
                    <a:pt x="120224" y="62916"/>
                  </a:lnTo>
                  <a:lnTo>
                    <a:pt x="121351" y="71556"/>
                  </a:lnTo>
                  <a:lnTo>
                    <a:pt x="106973" y="92426"/>
                  </a:lnTo>
                  <a:lnTo>
                    <a:pt x="112049" y="103467"/>
                  </a:lnTo>
                  <a:lnTo>
                    <a:pt x="120586" y="107536"/>
                  </a:lnTo>
                  <a:lnTo>
                    <a:pt x="138022" y="98874"/>
                  </a:lnTo>
                  <a:lnTo>
                    <a:pt x="143156" y="103446"/>
                  </a:lnTo>
                  <a:lnTo>
                    <a:pt x="118989" y="126642"/>
                  </a:lnTo>
                  <a:lnTo>
                    <a:pt x="100745" y="141384"/>
                  </a:lnTo>
                  <a:lnTo>
                    <a:pt x="89735" y="138638"/>
                  </a:lnTo>
                  <a:lnTo>
                    <a:pt x="78603" y="145977"/>
                  </a:lnTo>
                  <a:lnTo>
                    <a:pt x="69855" y="157682"/>
                  </a:lnTo>
                  <a:lnTo>
                    <a:pt x="63248" y="162194"/>
                  </a:lnTo>
                  <a:lnTo>
                    <a:pt x="44784" y="175358"/>
                  </a:lnTo>
                  <a:lnTo>
                    <a:pt x="20992" y="191956"/>
                  </a:lnTo>
                  <a:lnTo>
                    <a:pt x="0" y="200189"/>
                  </a:lnTo>
                  <a:lnTo>
                    <a:pt x="3813" y="192831"/>
                  </a:lnTo>
                  <a:lnTo>
                    <a:pt x="1122" y="187872"/>
                  </a:lnTo>
                  <a:lnTo>
                    <a:pt x="29221" y="167863"/>
                  </a:lnTo>
                  <a:lnTo>
                    <a:pt x="37220" y="152385"/>
                  </a:lnTo>
                  <a:lnTo>
                    <a:pt x="30203" y="138767"/>
                  </a:lnTo>
                  <a:lnTo>
                    <a:pt x="38880" y="129214"/>
                  </a:lnTo>
                  <a:lnTo>
                    <a:pt x="57807" y="121914"/>
                  </a:lnTo>
                  <a:lnTo>
                    <a:pt x="77695" y="101766"/>
                  </a:lnTo>
                  <a:lnTo>
                    <a:pt x="91281" y="84235"/>
                  </a:lnTo>
                  <a:lnTo>
                    <a:pt x="99523" y="65022"/>
                  </a:lnTo>
                  <a:lnTo>
                    <a:pt x="103733" y="60319"/>
                  </a:lnTo>
                  <a:lnTo>
                    <a:pt x="104983" y="47826"/>
                  </a:lnTo>
                  <a:lnTo>
                    <a:pt x="110888" y="21640"/>
                  </a:lnTo>
                  <a:lnTo>
                    <a:pt x="118531" y="1187"/>
                  </a:lnTo>
                  <a:lnTo>
                    <a:pt x="126106" y="0"/>
                  </a:lnTo>
                  <a:lnTo>
                    <a:pt x="123594" y="16639"/>
                  </a:lnTo>
                  <a:lnTo>
                    <a:pt x="130694" y="25793"/>
                  </a:lnTo>
                  <a:lnTo>
                    <a:pt x="116435" y="50839"/>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89" name="Polygon form 54"/>
            <p:cNvSpPr/>
            <p:nvPr/>
          </p:nvSpPr>
          <p:spPr>
            <a:xfrm>
              <a:off x="7003915" y="4276722"/>
              <a:ext cx="25453" cy="54355"/>
            </a:xfrm>
            <a:custGeom>
              <a:avLst/>
              <a:gdLst/>
              <a:ahLst/>
              <a:cxnLst/>
              <a:rect l="0" t="0" r="0" b="0"/>
              <a:pathLst>
                <a:path w="25453" h="54355">
                  <a:moveTo>
                    <a:pt x="21755" y="51626"/>
                  </a:moveTo>
                  <a:lnTo>
                    <a:pt x="15914" y="54355"/>
                  </a:lnTo>
                  <a:lnTo>
                    <a:pt x="8726" y="43103"/>
                  </a:lnTo>
                  <a:lnTo>
                    <a:pt x="2118" y="24668"/>
                  </a:lnTo>
                  <a:lnTo>
                    <a:pt x="0" y="2722"/>
                  </a:lnTo>
                  <a:lnTo>
                    <a:pt x="2969" y="0"/>
                  </a:lnTo>
                  <a:lnTo>
                    <a:pt x="4307" y="8584"/>
                  </a:lnTo>
                  <a:lnTo>
                    <a:pt x="9641" y="15221"/>
                  </a:lnTo>
                  <a:lnTo>
                    <a:pt x="17281" y="33652"/>
                  </a:lnTo>
                  <a:lnTo>
                    <a:pt x="25453" y="43642"/>
                  </a:lnTo>
                  <a:lnTo>
                    <a:pt x="21755" y="51626"/>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345" name="Polygon form 310"/>
            <p:cNvSpPr/>
            <p:nvPr/>
          </p:nvSpPr>
          <p:spPr>
            <a:xfrm>
              <a:off x="2328885" y="3206853"/>
              <a:ext cx="165448" cy="45009"/>
            </a:xfrm>
            <a:custGeom>
              <a:avLst/>
              <a:gdLst/>
              <a:ahLst/>
              <a:cxnLst/>
              <a:rect l="0" t="0" r="0" b="0"/>
              <a:pathLst>
                <a:path w="165448" h="45009">
                  <a:moveTo>
                    <a:pt x="165448" y="7683"/>
                  </a:moveTo>
                  <a:lnTo>
                    <a:pt x="163975" y="10769"/>
                  </a:lnTo>
                  <a:lnTo>
                    <a:pt x="163012" y="14321"/>
                  </a:lnTo>
                  <a:lnTo>
                    <a:pt x="159044" y="15215"/>
                  </a:lnTo>
                  <a:lnTo>
                    <a:pt x="154949" y="19239"/>
                  </a:lnTo>
                  <a:lnTo>
                    <a:pt x="152044" y="18600"/>
                  </a:lnTo>
                  <a:lnTo>
                    <a:pt x="143951" y="22945"/>
                  </a:lnTo>
                  <a:lnTo>
                    <a:pt x="143226" y="20692"/>
                  </a:lnTo>
                  <a:lnTo>
                    <a:pt x="137655" y="23829"/>
                  </a:lnTo>
                  <a:lnTo>
                    <a:pt x="137160" y="25634"/>
                  </a:lnTo>
                  <a:lnTo>
                    <a:pt x="133121" y="27447"/>
                  </a:lnTo>
                  <a:lnTo>
                    <a:pt x="130643" y="29553"/>
                  </a:lnTo>
                  <a:lnTo>
                    <a:pt x="125872" y="31491"/>
                  </a:lnTo>
                  <a:lnTo>
                    <a:pt x="121313" y="32423"/>
                  </a:lnTo>
                  <a:lnTo>
                    <a:pt x="117486" y="32898"/>
                  </a:lnTo>
                  <a:lnTo>
                    <a:pt x="113973" y="35782"/>
                  </a:lnTo>
                  <a:lnTo>
                    <a:pt x="111865" y="38390"/>
                  </a:lnTo>
                  <a:lnTo>
                    <a:pt x="107577" y="39765"/>
                  </a:lnTo>
                  <a:lnTo>
                    <a:pt x="105468" y="45009"/>
                  </a:lnTo>
                  <a:lnTo>
                    <a:pt x="95857" y="44778"/>
                  </a:lnTo>
                  <a:lnTo>
                    <a:pt x="82160" y="43852"/>
                  </a:lnTo>
                  <a:lnTo>
                    <a:pt x="59345" y="42336"/>
                  </a:lnTo>
                  <a:lnTo>
                    <a:pt x="36924" y="41140"/>
                  </a:lnTo>
                  <a:lnTo>
                    <a:pt x="17556" y="39550"/>
                  </a:lnTo>
                  <a:lnTo>
                    <a:pt x="0" y="38607"/>
                  </a:lnTo>
                  <a:lnTo>
                    <a:pt x="2848" y="36392"/>
                  </a:lnTo>
                  <a:lnTo>
                    <a:pt x="5184" y="29112"/>
                  </a:lnTo>
                  <a:lnTo>
                    <a:pt x="9151" y="25992"/>
                  </a:lnTo>
                  <a:lnTo>
                    <a:pt x="11301" y="21896"/>
                  </a:lnTo>
                  <a:lnTo>
                    <a:pt x="15271" y="19639"/>
                  </a:lnTo>
                  <a:lnTo>
                    <a:pt x="18321" y="16228"/>
                  </a:lnTo>
                  <a:lnTo>
                    <a:pt x="19249" y="14166"/>
                  </a:lnTo>
                  <a:lnTo>
                    <a:pt x="22808" y="8161"/>
                  </a:lnTo>
                  <a:lnTo>
                    <a:pt x="25162" y="4673"/>
                  </a:lnTo>
                  <a:lnTo>
                    <a:pt x="26493" y="2285"/>
                  </a:lnTo>
                  <a:lnTo>
                    <a:pt x="51641" y="3916"/>
                  </a:lnTo>
                  <a:lnTo>
                    <a:pt x="52981" y="0"/>
                  </a:lnTo>
                  <a:lnTo>
                    <a:pt x="56502" y="141"/>
                  </a:lnTo>
                  <a:lnTo>
                    <a:pt x="56668" y="1306"/>
                  </a:lnTo>
                  <a:lnTo>
                    <a:pt x="67959" y="1215"/>
                  </a:lnTo>
                  <a:lnTo>
                    <a:pt x="77427" y="1864"/>
                  </a:lnTo>
                  <a:lnTo>
                    <a:pt x="87697" y="2621"/>
                  </a:lnTo>
                  <a:lnTo>
                    <a:pt x="97594" y="3860"/>
                  </a:lnTo>
                  <a:lnTo>
                    <a:pt x="102788" y="3829"/>
                  </a:lnTo>
                  <a:lnTo>
                    <a:pt x="118007" y="5715"/>
                  </a:lnTo>
                  <a:lnTo>
                    <a:pt x="130260" y="5525"/>
                  </a:lnTo>
                  <a:lnTo>
                    <a:pt x="156306" y="7715"/>
                  </a:lnTo>
                  <a:lnTo>
                    <a:pt x="165448" y="7683"/>
                  </a:lnTo>
                  <a:close/>
                </a:path>
              </a:pathLst>
            </a:custGeom>
            <a:solidFill>
              <a:srgbClr val="00441B">
                <a:alpha val="100000"/>
              </a:srgbClr>
            </a:solidFill>
            <a:ln w="5400">
              <a:solidFill>
                <a:srgbClr val="7F7F7F">
                  <a:alpha val="100000"/>
                </a:srgbClr>
              </a:solidFill>
              <a:prstDash val="solid"/>
              <a:round/>
            </a:ln>
          </p:spPr>
          <p:txBody>
            <a:bodyPr/>
            <a:lstStyle/>
            <a:p/>
          </p:txBody>
        </p:sp>
        <p:grpSp>
          <p:nvGrpSpPr>
            <p:cNvPr id="3" name="Group 2"/>
            <p:cNvGrpSpPr/>
            <p:nvPr/>
          </p:nvGrpSpPr>
          <p:grpSpPr>
            <a:xfrm>
              <a:off x="1445323" y="2110254"/>
              <a:ext cx="5478221" cy="3391853"/>
              <a:chOff x="1500187" y="2110254"/>
              <a:chExt cx="5478221" cy="3391853"/>
            </a:xfrm>
          </p:grpSpPr>
          <p:sp>
            <p:nvSpPr>
              <p:cNvPr id="37" name="Polygon form 7"/>
              <p:cNvSpPr/>
              <p:nvPr/>
            </p:nvSpPr>
            <p:spPr>
              <a:xfrm>
                <a:off x="5066073" y="3176714"/>
                <a:ext cx="240271" cy="231034"/>
              </a:xfrm>
              <a:custGeom>
                <a:avLst/>
                <a:gdLst/>
                <a:ahLst/>
                <a:cxnLst/>
                <a:rect l="0" t="0" r="0" b="0"/>
                <a:pathLst>
                  <a:path w="240271" h="231034">
                    <a:moveTo>
                      <a:pt x="1272" y="76368"/>
                    </a:moveTo>
                    <a:lnTo>
                      <a:pt x="21826" y="85025"/>
                    </a:lnTo>
                    <a:lnTo>
                      <a:pt x="34606" y="81270"/>
                    </a:lnTo>
                    <a:lnTo>
                      <a:pt x="35641" y="70019"/>
                    </a:lnTo>
                    <a:lnTo>
                      <a:pt x="48871" y="65799"/>
                    </a:lnTo>
                    <a:lnTo>
                      <a:pt x="57068" y="57959"/>
                    </a:lnTo>
                    <a:lnTo>
                      <a:pt x="55543" y="38201"/>
                    </a:lnTo>
                    <a:lnTo>
                      <a:pt x="69272" y="32871"/>
                    </a:lnTo>
                    <a:lnTo>
                      <a:pt x="69699" y="24027"/>
                    </a:lnTo>
                    <a:lnTo>
                      <a:pt x="79849" y="30254"/>
                    </a:lnTo>
                    <a:lnTo>
                      <a:pt x="85404" y="30801"/>
                    </a:lnTo>
                    <a:lnTo>
                      <a:pt x="95341" y="30565"/>
                    </a:lnTo>
                    <a:lnTo>
                      <a:pt x="110165" y="35206"/>
                    </a:lnTo>
                    <a:lnTo>
                      <a:pt x="116424" y="37979"/>
                    </a:lnTo>
                    <a:lnTo>
                      <a:pt x="127077" y="29552"/>
                    </a:lnTo>
                    <a:lnTo>
                      <a:pt x="134395" y="34052"/>
                    </a:lnTo>
                    <a:lnTo>
                      <a:pt x="136912" y="22554"/>
                    </a:lnTo>
                    <a:lnTo>
                      <a:pt x="147644" y="22613"/>
                    </a:lnTo>
                    <a:lnTo>
                      <a:pt x="149319" y="18882"/>
                    </a:lnTo>
                    <a:lnTo>
                      <a:pt x="148278" y="8886"/>
                    </a:lnTo>
                    <a:lnTo>
                      <a:pt x="153317" y="0"/>
                    </a:lnTo>
                    <a:lnTo>
                      <a:pt x="164530" y="5168"/>
                    </a:lnTo>
                    <a:lnTo>
                      <a:pt x="164861" y="12771"/>
                    </a:lnTo>
                    <a:lnTo>
                      <a:pt x="170550" y="13703"/>
                    </a:lnTo>
                    <a:lnTo>
                      <a:pt x="174990" y="34453"/>
                    </a:lnTo>
                    <a:lnTo>
                      <a:pt x="184363" y="42213"/>
                    </a:lnTo>
                    <a:lnTo>
                      <a:pt x="189048" y="36768"/>
                    </a:lnTo>
                    <a:lnTo>
                      <a:pt x="196208" y="33976"/>
                    </a:lnTo>
                    <a:lnTo>
                      <a:pt x="203953" y="22454"/>
                    </a:lnTo>
                    <a:lnTo>
                      <a:pt x="216686" y="23718"/>
                    </a:lnTo>
                    <a:lnTo>
                      <a:pt x="234940" y="22920"/>
                    </a:lnTo>
                    <a:lnTo>
                      <a:pt x="240271" y="29853"/>
                    </a:lnTo>
                    <a:lnTo>
                      <a:pt x="230799" y="33093"/>
                    </a:lnTo>
                    <a:lnTo>
                      <a:pt x="223152" y="38055"/>
                    </a:lnTo>
                    <a:lnTo>
                      <a:pt x="203615" y="41826"/>
                    </a:lnTo>
                    <a:lnTo>
                      <a:pt x="186014" y="47834"/>
                    </a:lnTo>
                    <a:lnTo>
                      <a:pt x="178651" y="59008"/>
                    </a:lnTo>
                    <a:lnTo>
                      <a:pt x="185801" y="69274"/>
                    </a:lnTo>
                    <a:lnTo>
                      <a:pt x="191241" y="81449"/>
                    </a:lnTo>
                    <a:lnTo>
                      <a:pt x="185104" y="92174"/>
                    </a:lnTo>
                    <a:lnTo>
                      <a:pt x="188391" y="101619"/>
                    </a:lnTo>
                    <a:lnTo>
                      <a:pt x="185769" y="110698"/>
                    </a:lnTo>
                    <a:lnTo>
                      <a:pt x="168374" y="110604"/>
                    </a:lnTo>
                    <a:lnTo>
                      <a:pt x="179675" y="126642"/>
                    </a:lnTo>
                    <a:lnTo>
                      <a:pt x="169694" y="133325"/>
                    </a:lnTo>
                    <a:lnTo>
                      <a:pt x="165638" y="148501"/>
                    </a:lnTo>
                    <a:lnTo>
                      <a:pt x="170217" y="163278"/>
                    </a:lnTo>
                    <a:lnTo>
                      <a:pt x="164705" y="170475"/>
                    </a:lnTo>
                    <a:lnTo>
                      <a:pt x="157396" y="168421"/>
                    </a:lnTo>
                    <a:lnTo>
                      <a:pt x="144149" y="172132"/>
                    </a:lnTo>
                    <a:lnTo>
                      <a:pt x="143727" y="179100"/>
                    </a:lnTo>
                    <a:lnTo>
                      <a:pt x="130057" y="179529"/>
                    </a:lnTo>
                    <a:lnTo>
                      <a:pt x="122914" y="193825"/>
                    </a:lnTo>
                    <a:lnTo>
                      <a:pt x="126797" y="214820"/>
                    </a:lnTo>
                    <a:lnTo>
                      <a:pt x="104896" y="225835"/>
                    </a:lnTo>
                    <a:lnTo>
                      <a:pt x="91558" y="224074"/>
                    </a:lnTo>
                    <a:lnTo>
                      <a:pt x="88901" y="229588"/>
                    </a:lnTo>
                    <a:lnTo>
                      <a:pt x="77195" y="226789"/>
                    </a:lnTo>
                    <a:lnTo>
                      <a:pt x="59383" y="231034"/>
                    </a:lnTo>
                    <a:lnTo>
                      <a:pt x="25894" y="219401"/>
                    </a:lnTo>
                    <a:lnTo>
                      <a:pt x="38215" y="196621"/>
                    </a:lnTo>
                    <a:lnTo>
                      <a:pt x="33456" y="180854"/>
                    </a:lnTo>
                    <a:lnTo>
                      <a:pt x="18689" y="177149"/>
                    </a:lnTo>
                    <a:lnTo>
                      <a:pt x="14004" y="161610"/>
                    </a:lnTo>
                    <a:lnTo>
                      <a:pt x="3850" y="142212"/>
                    </a:lnTo>
                    <a:lnTo>
                      <a:pt x="8708" y="128528"/>
                    </a:lnTo>
                    <a:lnTo>
                      <a:pt x="0" y="125167"/>
                    </a:lnTo>
                    <a:lnTo>
                      <a:pt x="999" y="107161"/>
                    </a:lnTo>
                    <a:lnTo>
                      <a:pt x="1272" y="76368"/>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39" name="Polygon form 8"/>
              <p:cNvSpPr/>
              <p:nvPr/>
            </p:nvSpPr>
            <p:spPr>
              <a:xfrm>
                <a:off x="4186056" y="4273466"/>
                <a:ext cx="245144" cy="292158"/>
              </a:xfrm>
              <a:custGeom>
                <a:avLst/>
                <a:gdLst/>
                <a:ahLst/>
                <a:cxnLst/>
                <a:rect l="0" t="0" r="0" b="0"/>
                <a:pathLst>
                  <a:path w="245144" h="292158">
                    <a:moveTo>
                      <a:pt x="95813" y="398"/>
                    </a:moveTo>
                    <a:lnTo>
                      <a:pt x="100482" y="18414"/>
                    </a:lnTo>
                    <a:lnTo>
                      <a:pt x="105960" y="32915"/>
                    </a:lnTo>
                    <a:lnTo>
                      <a:pt x="110381" y="40740"/>
                    </a:lnTo>
                    <a:lnTo>
                      <a:pt x="117739" y="53393"/>
                    </a:lnTo>
                    <a:lnTo>
                      <a:pt x="130769" y="51467"/>
                    </a:lnTo>
                    <a:lnTo>
                      <a:pt x="137307" y="48081"/>
                    </a:lnTo>
                    <a:lnTo>
                      <a:pt x="148121" y="51521"/>
                    </a:lnTo>
                    <a:lnTo>
                      <a:pt x="151160" y="45481"/>
                    </a:lnTo>
                    <a:lnTo>
                      <a:pt x="156302" y="31401"/>
                    </a:lnTo>
                    <a:lnTo>
                      <a:pt x="168520" y="30483"/>
                    </a:lnTo>
                    <a:lnTo>
                      <a:pt x="169641" y="26295"/>
                    </a:lnTo>
                    <a:lnTo>
                      <a:pt x="179684" y="26226"/>
                    </a:lnTo>
                    <a:lnTo>
                      <a:pt x="177841" y="34937"/>
                    </a:lnTo>
                    <a:lnTo>
                      <a:pt x="201717" y="34783"/>
                    </a:lnTo>
                    <a:lnTo>
                      <a:pt x="201821" y="50008"/>
                    </a:lnTo>
                    <a:lnTo>
                      <a:pt x="205637" y="59355"/>
                    </a:lnTo>
                    <a:lnTo>
                      <a:pt x="202461" y="73932"/>
                    </a:lnTo>
                    <a:lnTo>
                      <a:pt x="203597" y="88817"/>
                    </a:lnTo>
                    <a:lnTo>
                      <a:pt x="209946" y="97818"/>
                    </a:lnTo>
                    <a:lnTo>
                      <a:pt x="208213" y="126610"/>
                    </a:lnTo>
                    <a:lnTo>
                      <a:pt x="213118" y="124409"/>
                    </a:lnTo>
                    <a:lnTo>
                      <a:pt x="221615" y="125036"/>
                    </a:lnTo>
                    <a:lnTo>
                      <a:pt x="233845" y="121459"/>
                    </a:lnTo>
                    <a:lnTo>
                      <a:pt x="242731" y="122923"/>
                    </a:lnTo>
                    <a:lnTo>
                      <a:pt x="244597" y="130448"/>
                    </a:lnTo>
                    <a:lnTo>
                      <a:pt x="242039" y="142179"/>
                    </a:lnTo>
                    <a:lnTo>
                      <a:pt x="245144" y="153549"/>
                    </a:lnTo>
                    <a:lnTo>
                      <a:pt x="241956" y="162604"/>
                    </a:lnTo>
                    <a:lnTo>
                      <a:pt x="243359" y="170969"/>
                    </a:lnTo>
                    <a:lnTo>
                      <a:pt x="202696" y="170475"/>
                    </a:lnTo>
                    <a:lnTo>
                      <a:pt x="199291" y="247453"/>
                    </a:lnTo>
                    <a:lnTo>
                      <a:pt x="211633" y="267323"/>
                    </a:lnTo>
                    <a:lnTo>
                      <a:pt x="223661" y="282517"/>
                    </a:lnTo>
                    <a:lnTo>
                      <a:pt x="187700" y="292158"/>
                    </a:lnTo>
                    <a:lnTo>
                      <a:pt x="140998" y="288474"/>
                    </a:lnTo>
                    <a:lnTo>
                      <a:pt x="127975" y="276823"/>
                    </a:lnTo>
                    <a:lnTo>
                      <a:pt x="49434" y="277524"/>
                    </a:lnTo>
                    <a:lnTo>
                      <a:pt x="46463" y="279210"/>
                    </a:lnTo>
                    <a:lnTo>
                      <a:pt x="35179" y="268247"/>
                    </a:lnTo>
                    <a:lnTo>
                      <a:pt x="22629" y="267483"/>
                    </a:lnTo>
                    <a:lnTo>
                      <a:pt x="10936" y="271557"/>
                    </a:lnTo>
                    <a:lnTo>
                      <a:pt x="1514" y="276120"/>
                    </a:lnTo>
                    <a:lnTo>
                      <a:pt x="0" y="260934"/>
                    </a:lnTo>
                    <a:lnTo>
                      <a:pt x="3102" y="239712"/>
                    </a:lnTo>
                    <a:lnTo>
                      <a:pt x="10229" y="217626"/>
                    </a:lnTo>
                    <a:lnTo>
                      <a:pt x="11432" y="207266"/>
                    </a:lnTo>
                    <a:lnTo>
                      <a:pt x="18144" y="185517"/>
                    </a:lnTo>
                    <a:lnTo>
                      <a:pt x="22968" y="175633"/>
                    </a:lnTo>
                    <a:lnTo>
                      <a:pt x="34461" y="159862"/>
                    </a:lnTo>
                    <a:lnTo>
                      <a:pt x="40916" y="149131"/>
                    </a:lnTo>
                    <a:lnTo>
                      <a:pt x="43263" y="131245"/>
                    </a:lnTo>
                    <a:lnTo>
                      <a:pt x="42449" y="117554"/>
                    </a:lnTo>
                    <a:lnTo>
                      <a:pt x="36712" y="108906"/>
                    </a:lnTo>
                    <a:lnTo>
                      <a:pt x="31687" y="94244"/>
                    </a:lnTo>
                    <a:lnTo>
                      <a:pt x="27047" y="79746"/>
                    </a:lnTo>
                    <a:lnTo>
                      <a:pt x="28161" y="74729"/>
                    </a:lnTo>
                    <a:lnTo>
                      <a:pt x="34312" y="65165"/>
                    </a:lnTo>
                    <a:lnTo>
                      <a:pt x="28599" y="41824"/>
                    </a:lnTo>
                    <a:lnTo>
                      <a:pt x="24723" y="25652"/>
                    </a:lnTo>
                    <a:lnTo>
                      <a:pt x="14989" y="10362"/>
                    </a:lnTo>
                    <a:lnTo>
                      <a:pt x="16898" y="5671"/>
                    </a:lnTo>
                    <a:lnTo>
                      <a:pt x="25053" y="2435"/>
                    </a:lnTo>
                    <a:lnTo>
                      <a:pt x="30755" y="2893"/>
                    </a:lnTo>
                    <a:lnTo>
                      <a:pt x="37687" y="0"/>
                    </a:lnTo>
                    <a:lnTo>
                      <a:pt x="95813" y="398"/>
                    </a:lnTo>
                    <a:close/>
                  </a:path>
                </a:pathLst>
              </a:custGeom>
              <a:solidFill>
                <a:srgbClr val="74C476">
                  <a:alpha val="100000"/>
                </a:srgbClr>
              </a:solidFill>
              <a:ln w="5400">
                <a:solidFill>
                  <a:srgbClr val="7F7F7F">
                    <a:alpha val="100000"/>
                  </a:srgbClr>
                </a:solidFill>
                <a:prstDash val="solid"/>
                <a:round/>
              </a:ln>
            </p:spPr>
            <p:txBody>
              <a:bodyPr/>
              <a:lstStyle/>
              <a:p/>
            </p:txBody>
          </p:sp>
          <p:sp>
            <p:nvSpPr>
              <p:cNvPr id="43" name="Polygon form 9"/>
              <p:cNvSpPr/>
              <p:nvPr/>
            </p:nvSpPr>
            <p:spPr>
              <a:xfrm>
                <a:off x="4195102" y="4239007"/>
                <a:ext cx="21338" cy="32637"/>
              </a:xfrm>
              <a:custGeom>
                <a:avLst/>
                <a:gdLst/>
                <a:ahLst/>
                <a:cxnLst/>
                <a:rect l="0" t="0" r="0" b="0"/>
                <a:pathLst>
                  <a:path w="21338" h="32637">
                    <a:moveTo>
                      <a:pt x="10177" y="30092"/>
                    </a:moveTo>
                    <a:lnTo>
                      <a:pt x="5148" y="32637"/>
                    </a:lnTo>
                    <a:lnTo>
                      <a:pt x="0" y="14475"/>
                    </a:lnTo>
                    <a:lnTo>
                      <a:pt x="8019" y="4057"/>
                    </a:lnTo>
                    <a:lnTo>
                      <a:pt x="13999" y="0"/>
                    </a:lnTo>
                    <a:lnTo>
                      <a:pt x="21338" y="8292"/>
                    </a:lnTo>
                    <a:lnTo>
                      <a:pt x="14132" y="13360"/>
                    </a:lnTo>
                    <a:lnTo>
                      <a:pt x="10867" y="19565"/>
                    </a:lnTo>
                    <a:lnTo>
                      <a:pt x="10177" y="30092"/>
                    </a:lnTo>
                    <a:close/>
                  </a:path>
                </a:pathLst>
              </a:custGeom>
              <a:solidFill>
                <a:srgbClr val="74C476">
                  <a:alpha val="100000"/>
                </a:srgbClr>
              </a:solidFill>
              <a:ln w="5400">
                <a:solidFill>
                  <a:srgbClr val="7F7F7F">
                    <a:alpha val="100000"/>
                  </a:srgbClr>
                </a:solidFill>
                <a:prstDash val="solid"/>
                <a:round/>
              </a:ln>
            </p:spPr>
            <p:txBody>
              <a:bodyPr/>
              <a:lstStyle/>
              <a:p/>
            </p:txBody>
          </p:sp>
          <p:sp>
            <p:nvSpPr>
              <p:cNvPr id="45" name="Polygon form 10"/>
              <p:cNvSpPr/>
              <p:nvPr/>
            </p:nvSpPr>
            <p:spPr>
              <a:xfrm>
                <a:off x="4749206" y="3110136"/>
                <a:ext cx="100030" cy="86155"/>
              </a:xfrm>
              <a:custGeom>
                <a:avLst/>
                <a:gdLst/>
                <a:ahLst/>
                <a:cxnLst/>
                <a:rect l="0" t="0" r="0" b="0"/>
                <a:pathLst>
                  <a:path w="100030" h="86155">
                    <a:moveTo>
                      <a:pt x="42061" y="15070"/>
                    </a:moveTo>
                    <a:lnTo>
                      <a:pt x="50142" y="16497"/>
                    </a:lnTo>
                    <a:lnTo>
                      <a:pt x="51789" y="10222"/>
                    </a:lnTo>
                    <a:lnTo>
                      <a:pt x="60011" y="103"/>
                    </a:lnTo>
                    <a:lnTo>
                      <a:pt x="72030" y="12620"/>
                    </a:lnTo>
                    <a:lnTo>
                      <a:pt x="84755" y="29597"/>
                    </a:lnTo>
                    <a:lnTo>
                      <a:pt x="93168" y="30480"/>
                    </a:lnTo>
                    <a:lnTo>
                      <a:pt x="100030" y="36871"/>
                    </a:lnTo>
                    <a:lnTo>
                      <a:pt x="86006" y="39280"/>
                    </a:lnTo>
                    <a:lnTo>
                      <a:pt x="87021" y="58273"/>
                    </a:lnTo>
                    <a:lnTo>
                      <a:pt x="85786" y="66890"/>
                    </a:lnTo>
                    <a:lnTo>
                      <a:pt x="80483" y="72771"/>
                    </a:lnTo>
                    <a:lnTo>
                      <a:pt x="83435" y="84813"/>
                    </a:lnTo>
                    <a:lnTo>
                      <a:pt x="79261" y="86155"/>
                    </a:lnTo>
                    <a:lnTo>
                      <a:pt x="65607" y="73731"/>
                    </a:lnTo>
                    <a:lnTo>
                      <a:pt x="69232" y="61515"/>
                    </a:lnTo>
                    <a:lnTo>
                      <a:pt x="62534" y="54529"/>
                    </a:lnTo>
                    <a:lnTo>
                      <a:pt x="56292" y="56519"/>
                    </a:lnTo>
                    <a:lnTo>
                      <a:pt x="39047" y="75058"/>
                    </a:lnTo>
                    <a:lnTo>
                      <a:pt x="35304" y="58204"/>
                    </a:lnTo>
                    <a:lnTo>
                      <a:pt x="26584" y="54444"/>
                    </a:lnTo>
                    <a:lnTo>
                      <a:pt x="17784" y="48043"/>
                    </a:lnTo>
                    <a:lnTo>
                      <a:pt x="21190" y="40163"/>
                    </a:lnTo>
                    <a:lnTo>
                      <a:pt x="10152" y="32093"/>
                    </a:lnTo>
                    <a:lnTo>
                      <a:pt x="12441" y="25899"/>
                    </a:lnTo>
                    <a:lnTo>
                      <a:pt x="4919" y="21885"/>
                    </a:lnTo>
                    <a:lnTo>
                      <a:pt x="0" y="15605"/>
                    </a:lnTo>
                    <a:lnTo>
                      <a:pt x="3462" y="11516"/>
                    </a:lnTo>
                    <a:lnTo>
                      <a:pt x="17918" y="18127"/>
                    </a:lnTo>
                    <a:lnTo>
                      <a:pt x="27639" y="19296"/>
                    </a:lnTo>
                    <a:lnTo>
                      <a:pt x="29419" y="16377"/>
                    </a:lnTo>
                    <a:lnTo>
                      <a:pt x="18050" y="3483"/>
                    </a:lnTo>
                    <a:lnTo>
                      <a:pt x="21851" y="0"/>
                    </a:lnTo>
                    <a:lnTo>
                      <a:pt x="26914" y="669"/>
                    </a:lnTo>
                    <a:lnTo>
                      <a:pt x="42061" y="15070"/>
                    </a:lnTo>
                    <a:close/>
                  </a:path>
                </a:pathLst>
              </a:custGeom>
              <a:solidFill>
                <a:srgbClr val="74C476">
                  <a:alpha val="100000"/>
                </a:srgbClr>
              </a:solidFill>
              <a:ln w="5400">
                <a:solidFill>
                  <a:srgbClr val="7F7F7F">
                    <a:alpha val="100000"/>
                  </a:srgbClr>
                </a:solidFill>
                <a:prstDash val="solid"/>
                <a:round/>
              </a:ln>
            </p:spPr>
            <p:txBody>
              <a:bodyPr/>
              <a:lstStyle/>
              <a:p/>
            </p:txBody>
          </p:sp>
          <p:sp>
            <p:nvSpPr>
              <p:cNvPr id="46" name="Polygon form 11"/>
              <p:cNvSpPr/>
              <p:nvPr/>
            </p:nvSpPr>
            <p:spPr>
              <a:xfrm>
                <a:off x="4753504" y="3162364"/>
                <a:ext cx="28469" cy="23722"/>
              </a:xfrm>
              <a:custGeom>
                <a:avLst/>
                <a:gdLst/>
                <a:ahLst/>
                <a:cxnLst/>
                <a:rect l="0" t="0" r="0" b="0"/>
                <a:pathLst>
                  <a:path w="28469" h="23722">
                    <a:moveTo>
                      <a:pt x="3540" y="0"/>
                    </a:moveTo>
                    <a:lnTo>
                      <a:pt x="10040" y="6375"/>
                    </a:lnTo>
                    <a:lnTo>
                      <a:pt x="17831" y="6104"/>
                    </a:lnTo>
                    <a:lnTo>
                      <a:pt x="18489" y="9857"/>
                    </a:lnTo>
                    <a:lnTo>
                      <a:pt x="28469" y="23722"/>
                    </a:lnTo>
                    <a:lnTo>
                      <a:pt x="15682" y="20824"/>
                    </a:lnTo>
                    <a:lnTo>
                      <a:pt x="4579" y="9847"/>
                    </a:lnTo>
                    <a:lnTo>
                      <a:pt x="0" y="757"/>
                    </a:lnTo>
                    <a:lnTo>
                      <a:pt x="3540" y="0"/>
                    </a:lnTo>
                    <a:close/>
                  </a:path>
                </a:pathLst>
              </a:custGeom>
              <a:solidFill>
                <a:srgbClr val="74C476">
                  <a:alpha val="100000"/>
                </a:srgbClr>
              </a:solidFill>
              <a:ln w="5400">
                <a:solidFill>
                  <a:srgbClr val="7F7F7F">
                    <a:alpha val="100000"/>
                  </a:srgbClr>
                </a:solidFill>
                <a:prstDash val="solid"/>
                <a:round/>
              </a:ln>
            </p:spPr>
            <p:txBody>
              <a:bodyPr/>
              <a:lstStyle/>
              <a:p/>
            </p:txBody>
          </p:sp>
          <p:sp>
            <p:nvSpPr>
              <p:cNvPr id="47" name="Polygon form 12"/>
              <p:cNvSpPr/>
              <p:nvPr/>
            </p:nvSpPr>
            <p:spPr>
              <a:xfrm>
                <a:off x="4405647" y="2958157"/>
                <a:ext cx="63756" cy="71760"/>
              </a:xfrm>
              <a:custGeom>
                <a:avLst/>
                <a:gdLst/>
                <a:ahLst/>
                <a:cxnLst/>
                <a:rect l="0" t="0" r="0" b="0"/>
                <a:pathLst>
                  <a:path w="63756" h="71760">
                    <a:moveTo>
                      <a:pt x="0" y="6241"/>
                    </a:moveTo>
                    <a:lnTo>
                      <a:pt x="3462" y="2603"/>
                    </a:lnTo>
                    <a:lnTo>
                      <a:pt x="14187" y="0"/>
                    </a:lnTo>
                    <a:lnTo>
                      <a:pt x="27623" y="7286"/>
                    </a:lnTo>
                    <a:lnTo>
                      <a:pt x="34632" y="8052"/>
                    </a:lnTo>
                    <a:lnTo>
                      <a:pt x="43199" y="14401"/>
                    </a:lnTo>
                    <a:lnTo>
                      <a:pt x="43271" y="22615"/>
                    </a:lnTo>
                    <a:lnTo>
                      <a:pt x="50002" y="26444"/>
                    </a:lnTo>
                    <a:lnTo>
                      <a:pt x="54008" y="36500"/>
                    </a:lnTo>
                    <a:lnTo>
                      <a:pt x="60855" y="42524"/>
                    </a:lnTo>
                    <a:lnTo>
                      <a:pt x="60223" y="46152"/>
                    </a:lnTo>
                    <a:lnTo>
                      <a:pt x="63756" y="48538"/>
                    </a:lnTo>
                    <a:lnTo>
                      <a:pt x="59555" y="50418"/>
                    </a:lnTo>
                    <a:lnTo>
                      <a:pt x="49472" y="49911"/>
                    </a:lnTo>
                    <a:lnTo>
                      <a:pt x="47299" y="46598"/>
                    </a:lnTo>
                    <a:lnTo>
                      <a:pt x="44052" y="48597"/>
                    </a:lnTo>
                    <a:lnTo>
                      <a:pt x="45897" y="52902"/>
                    </a:lnTo>
                    <a:lnTo>
                      <a:pt x="42396" y="60701"/>
                    </a:lnTo>
                    <a:lnTo>
                      <a:pt x="40633" y="69052"/>
                    </a:lnTo>
                    <a:lnTo>
                      <a:pt x="36723" y="71760"/>
                    </a:lnTo>
                    <a:lnTo>
                      <a:pt x="32095" y="60787"/>
                    </a:lnTo>
                    <a:lnTo>
                      <a:pt x="32392" y="50433"/>
                    </a:lnTo>
                    <a:lnTo>
                      <a:pt x="30297" y="39835"/>
                    </a:lnTo>
                    <a:lnTo>
                      <a:pt x="18473" y="25651"/>
                    </a:lnTo>
                    <a:lnTo>
                      <a:pt x="11660" y="15565"/>
                    </a:lnTo>
                    <a:lnTo>
                      <a:pt x="5433" y="8499"/>
                    </a:lnTo>
                    <a:lnTo>
                      <a:pt x="0" y="6241"/>
                    </a:lnTo>
                    <a:close/>
                  </a:path>
                </a:pathLst>
              </a:custGeom>
              <a:solidFill>
                <a:srgbClr val="A1D99B">
                  <a:alpha val="100000"/>
                </a:srgbClr>
              </a:solidFill>
              <a:ln w="5400">
                <a:solidFill>
                  <a:srgbClr val="7F7F7F">
                    <a:alpha val="100000"/>
                  </a:srgbClr>
                </a:solidFill>
                <a:prstDash val="solid"/>
                <a:round/>
              </a:ln>
            </p:spPr>
            <p:txBody>
              <a:bodyPr/>
              <a:lstStyle/>
              <a:p/>
            </p:txBody>
          </p:sp>
          <p:sp>
            <p:nvSpPr>
              <p:cNvPr id="48" name="Polygon form 13"/>
              <p:cNvSpPr/>
              <p:nvPr/>
            </p:nvSpPr>
            <p:spPr>
              <a:xfrm>
                <a:off x="4787595" y="4426807"/>
                <a:ext cx="154350" cy="330411"/>
              </a:xfrm>
              <a:custGeom>
                <a:avLst/>
                <a:gdLst/>
                <a:ahLst/>
                <a:cxnLst/>
                <a:rect l="0" t="0" r="0" b="0"/>
                <a:pathLst>
                  <a:path w="154350" h="330411">
                    <a:moveTo>
                      <a:pt x="141003" y="10580"/>
                    </a:moveTo>
                    <a:lnTo>
                      <a:pt x="145510" y="21054"/>
                    </a:lnTo>
                    <a:lnTo>
                      <a:pt x="149236" y="37285"/>
                    </a:lnTo>
                    <a:lnTo>
                      <a:pt x="150207" y="66793"/>
                    </a:lnTo>
                    <a:lnTo>
                      <a:pt x="154350" y="78312"/>
                    </a:lnTo>
                    <a:lnTo>
                      <a:pt x="151470" y="90036"/>
                    </a:lnTo>
                    <a:lnTo>
                      <a:pt x="147443" y="97198"/>
                    </a:lnTo>
                    <a:lnTo>
                      <a:pt x="142016" y="82763"/>
                    </a:lnTo>
                    <a:lnTo>
                      <a:pt x="137784" y="89964"/>
                    </a:lnTo>
                    <a:lnTo>
                      <a:pt x="139980" y="108152"/>
                    </a:lnTo>
                    <a:lnTo>
                      <a:pt x="137367" y="118511"/>
                    </a:lnTo>
                    <a:lnTo>
                      <a:pt x="131530" y="124093"/>
                    </a:lnTo>
                    <a:lnTo>
                      <a:pt x="128446" y="144809"/>
                    </a:lnTo>
                    <a:lnTo>
                      <a:pt x="118145" y="173222"/>
                    </a:lnTo>
                    <a:lnTo>
                      <a:pt x="105272" y="206782"/>
                    </a:lnTo>
                    <a:lnTo>
                      <a:pt x="88451" y="252899"/>
                    </a:lnTo>
                    <a:lnTo>
                      <a:pt x="77240" y="286741"/>
                    </a:lnTo>
                    <a:lnTo>
                      <a:pt x="65247" y="314902"/>
                    </a:lnTo>
                    <a:lnTo>
                      <a:pt x="49156" y="320397"/>
                    </a:lnTo>
                    <a:lnTo>
                      <a:pt x="31402" y="330411"/>
                    </a:lnTo>
                    <a:lnTo>
                      <a:pt x="21277" y="323986"/>
                    </a:lnTo>
                    <a:lnTo>
                      <a:pt x="7291" y="314998"/>
                    </a:lnTo>
                    <a:lnTo>
                      <a:pt x="3529" y="302045"/>
                    </a:lnTo>
                    <a:lnTo>
                      <a:pt x="4654" y="280412"/>
                    </a:lnTo>
                    <a:lnTo>
                      <a:pt x="0" y="260871"/>
                    </a:lnTo>
                    <a:lnTo>
                      <a:pt x="32" y="243304"/>
                    </a:lnTo>
                    <a:lnTo>
                      <a:pt x="5181" y="225778"/>
                    </a:lnTo>
                    <a:lnTo>
                      <a:pt x="14406" y="221685"/>
                    </a:lnTo>
                    <a:lnTo>
                      <a:pt x="15237" y="213568"/>
                    </a:lnTo>
                    <a:lnTo>
                      <a:pt x="26148" y="195206"/>
                    </a:lnTo>
                    <a:lnTo>
                      <a:pt x="29298" y="179689"/>
                    </a:lnTo>
                    <a:lnTo>
                      <a:pt x="25852" y="168075"/>
                    </a:lnTo>
                    <a:lnTo>
                      <a:pt x="23512" y="152640"/>
                    </a:lnTo>
                    <a:lnTo>
                      <a:pt x="23801" y="130136"/>
                    </a:lnTo>
                    <a:lnTo>
                      <a:pt x="31633" y="116565"/>
                    </a:lnTo>
                    <a:lnTo>
                      <a:pt x="35407" y="101113"/>
                    </a:lnTo>
                    <a:lnTo>
                      <a:pt x="45142" y="100325"/>
                    </a:lnTo>
                    <a:lnTo>
                      <a:pt x="56342" y="95444"/>
                    </a:lnTo>
                    <a:lnTo>
                      <a:pt x="63860" y="91108"/>
                    </a:lnTo>
                    <a:lnTo>
                      <a:pt x="72413" y="90879"/>
                    </a:lnTo>
                    <a:lnTo>
                      <a:pt x="84524" y="77079"/>
                    </a:lnTo>
                    <a:lnTo>
                      <a:pt x="101626" y="62200"/>
                    </a:lnTo>
                    <a:lnTo>
                      <a:pt x="108341" y="49958"/>
                    </a:lnTo>
                    <a:lnTo>
                      <a:pt x="106406" y="39474"/>
                    </a:lnTo>
                    <a:lnTo>
                      <a:pt x="114486" y="42503"/>
                    </a:lnTo>
                    <a:lnTo>
                      <a:pt x="126382" y="25608"/>
                    </a:lnTo>
                    <a:lnTo>
                      <a:pt x="127691" y="10890"/>
                    </a:lnTo>
                    <a:lnTo>
                      <a:pt x="134842" y="0"/>
                    </a:lnTo>
                    <a:lnTo>
                      <a:pt x="141003" y="10580"/>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49" name="Polygon form 14"/>
              <p:cNvSpPr/>
              <p:nvPr/>
            </p:nvSpPr>
            <p:spPr>
              <a:xfrm>
                <a:off x="1814918" y="3276089"/>
                <a:ext cx="484315" cy="484942"/>
              </a:xfrm>
              <a:custGeom>
                <a:avLst/>
                <a:gdLst/>
                <a:ahLst/>
                <a:cxnLst/>
                <a:rect l="0" t="0" r="0" b="0"/>
                <a:pathLst>
                  <a:path w="484315" h="484942">
                    <a:moveTo>
                      <a:pt x="316498" y="193502"/>
                    </a:moveTo>
                    <a:lnTo>
                      <a:pt x="303268" y="215482"/>
                    </a:lnTo>
                    <a:lnTo>
                      <a:pt x="295227" y="233647"/>
                    </a:lnTo>
                    <a:lnTo>
                      <a:pt x="285354" y="267704"/>
                    </a:lnTo>
                    <a:lnTo>
                      <a:pt x="280556" y="280076"/>
                    </a:lnTo>
                    <a:lnTo>
                      <a:pt x="280590" y="294115"/>
                    </a:lnTo>
                    <a:lnTo>
                      <a:pt x="283647" y="306776"/>
                    </a:lnTo>
                    <a:lnTo>
                      <a:pt x="283096" y="326698"/>
                    </a:lnTo>
                    <a:lnTo>
                      <a:pt x="291756" y="346140"/>
                    </a:lnTo>
                    <a:lnTo>
                      <a:pt x="293272" y="360845"/>
                    </a:lnTo>
                    <a:lnTo>
                      <a:pt x="298301" y="373651"/>
                    </a:lnTo>
                    <a:lnTo>
                      <a:pt x="317371" y="381073"/>
                    </a:lnTo>
                    <a:lnTo>
                      <a:pt x="323331" y="391978"/>
                    </a:lnTo>
                    <a:lnTo>
                      <a:pt x="341476" y="385388"/>
                    </a:lnTo>
                    <a:lnTo>
                      <a:pt x="356583" y="383274"/>
                    </a:lnTo>
                    <a:lnTo>
                      <a:pt x="371786" y="379153"/>
                    </a:lnTo>
                    <a:lnTo>
                      <a:pt x="384658" y="375174"/>
                    </a:lnTo>
                    <a:lnTo>
                      <a:pt x="398762" y="365207"/>
                    </a:lnTo>
                    <a:lnTo>
                      <a:pt x="406117" y="350574"/>
                    </a:lnTo>
                    <a:lnTo>
                      <a:pt x="411851" y="329356"/>
                    </a:lnTo>
                    <a:lnTo>
                      <a:pt x="416634" y="322068"/>
                    </a:lnTo>
                    <a:lnTo>
                      <a:pt x="430872" y="315881"/>
                    </a:lnTo>
                    <a:lnTo>
                      <a:pt x="452181" y="310701"/>
                    </a:lnTo>
                    <a:lnTo>
                      <a:pt x="468847" y="312143"/>
                    </a:lnTo>
                    <a:lnTo>
                      <a:pt x="480812" y="310389"/>
                    </a:lnTo>
                    <a:lnTo>
                      <a:pt x="484315" y="315883"/>
                    </a:lnTo>
                    <a:lnTo>
                      <a:pt x="481300" y="328003"/>
                    </a:lnTo>
                    <a:lnTo>
                      <a:pt x="468185" y="342672"/>
                    </a:lnTo>
                    <a:lnTo>
                      <a:pt x="460784" y="357901"/>
                    </a:lnTo>
                    <a:lnTo>
                      <a:pt x="463512" y="362404"/>
                    </a:lnTo>
                    <a:lnTo>
                      <a:pt x="458686" y="373234"/>
                    </a:lnTo>
                    <a:lnTo>
                      <a:pt x="450449" y="392810"/>
                    </a:lnTo>
                    <a:lnTo>
                      <a:pt x="446694" y="386178"/>
                    </a:lnTo>
                    <a:lnTo>
                      <a:pt x="442599" y="386483"/>
                    </a:lnTo>
                    <a:lnTo>
                      <a:pt x="438891" y="386710"/>
                    </a:lnTo>
                    <a:lnTo>
                      <a:pt x="429389" y="401784"/>
                    </a:lnTo>
                    <a:lnTo>
                      <a:pt x="426405" y="398690"/>
                    </a:lnTo>
                    <a:lnTo>
                      <a:pt x="423878" y="399789"/>
                    </a:lnTo>
                    <a:lnTo>
                      <a:pt x="423398" y="403519"/>
                    </a:lnTo>
                    <a:lnTo>
                      <a:pt x="405650" y="402734"/>
                    </a:lnTo>
                    <a:lnTo>
                      <a:pt x="387681" y="402260"/>
                    </a:lnTo>
                    <a:lnTo>
                      <a:pt x="385244" y="416543"/>
                    </a:lnTo>
                    <a:lnTo>
                      <a:pt x="376530" y="416361"/>
                    </a:lnTo>
                    <a:lnTo>
                      <a:pt x="382303" y="425033"/>
                    </a:lnTo>
                    <a:lnTo>
                      <a:pt x="388488" y="431091"/>
                    </a:lnTo>
                    <a:lnTo>
                      <a:pt x="389753" y="436648"/>
                    </a:lnTo>
                    <a:lnTo>
                      <a:pt x="392639" y="438271"/>
                    </a:lnTo>
                    <a:lnTo>
                      <a:pt x="390798" y="446899"/>
                    </a:lnTo>
                    <a:lnTo>
                      <a:pt x="365974" y="446324"/>
                    </a:lnTo>
                    <a:lnTo>
                      <a:pt x="353494" y="466809"/>
                    </a:lnTo>
                    <a:lnTo>
                      <a:pt x="355541" y="471632"/>
                    </a:lnTo>
                    <a:lnTo>
                      <a:pt x="352421" y="477541"/>
                    </a:lnTo>
                    <a:lnTo>
                      <a:pt x="350882" y="484942"/>
                    </a:lnTo>
                    <a:lnTo>
                      <a:pt x="333022" y="456978"/>
                    </a:lnTo>
                    <a:lnTo>
                      <a:pt x="324346" y="448438"/>
                    </a:lnTo>
                    <a:lnTo>
                      <a:pt x="309640" y="441356"/>
                    </a:lnTo>
                    <a:lnTo>
                      <a:pt x="298547" y="442909"/>
                    </a:lnTo>
                    <a:lnTo>
                      <a:pt x="281465" y="452085"/>
                    </a:lnTo>
                    <a:lnTo>
                      <a:pt x="271312" y="454336"/>
                    </a:lnTo>
                    <a:lnTo>
                      <a:pt x="258759" y="447212"/>
                    </a:lnTo>
                    <a:lnTo>
                      <a:pt x="245094" y="441926"/>
                    </a:lnTo>
                    <a:lnTo>
                      <a:pt x="229075" y="429637"/>
                    </a:lnTo>
                    <a:lnTo>
                      <a:pt x="215255" y="425602"/>
                    </a:lnTo>
                    <a:lnTo>
                      <a:pt x="195620" y="412981"/>
                    </a:lnTo>
                    <a:lnTo>
                      <a:pt x="181852" y="400171"/>
                    </a:lnTo>
                    <a:lnTo>
                      <a:pt x="178337" y="393142"/>
                    </a:lnTo>
                    <a:lnTo>
                      <a:pt x="167898" y="391240"/>
                    </a:lnTo>
                    <a:lnTo>
                      <a:pt x="149915" y="382406"/>
                    </a:lnTo>
                    <a:lnTo>
                      <a:pt x="144365" y="370364"/>
                    </a:lnTo>
                    <a:lnTo>
                      <a:pt x="126957" y="354968"/>
                    </a:lnTo>
                    <a:lnTo>
                      <a:pt x="121027" y="338332"/>
                    </a:lnTo>
                    <a:lnTo>
                      <a:pt x="119386" y="325581"/>
                    </a:lnTo>
                    <a:lnTo>
                      <a:pt x="126318" y="323323"/>
                    </a:lnTo>
                    <a:lnTo>
                      <a:pt x="126095" y="315892"/>
                    </a:lnTo>
                    <a:lnTo>
                      <a:pt x="132055" y="309391"/>
                    </a:lnTo>
                    <a:lnTo>
                      <a:pt x="134305" y="300488"/>
                    </a:lnTo>
                    <a:lnTo>
                      <a:pt x="130777" y="288652"/>
                    </a:lnTo>
                    <a:lnTo>
                      <a:pt x="131661" y="278332"/>
                    </a:lnTo>
                    <a:lnTo>
                      <a:pt x="128698" y="265057"/>
                    </a:lnTo>
                    <a:lnTo>
                      <a:pt x="119026" y="238696"/>
                    </a:lnTo>
                    <a:lnTo>
                      <a:pt x="105895" y="217661"/>
                    </a:lnTo>
                    <a:lnTo>
                      <a:pt x="101537" y="201147"/>
                    </a:lnTo>
                    <a:lnTo>
                      <a:pt x="88748" y="189794"/>
                    </a:lnTo>
                    <a:lnTo>
                      <a:pt x="87272" y="183319"/>
                    </a:lnTo>
                    <a:lnTo>
                      <a:pt x="95086" y="167559"/>
                    </a:lnTo>
                    <a:lnTo>
                      <a:pt x="87578" y="161034"/>
                    </a:lnTo>
                    <a:lnTo>
                      <a:pt x="80763" y="147910"/>
                    </a:lnTo>
                    <a:lnTo>
                      <a:pt x="82193" y="129687"/>
                    </a:lnTo>
                    <a:lnTo>
                      <a:pt x="73037" y="127011"/>
                    </a:lnTo>
                    <a:lnTo>
                      <a:pt x="67110" y="112815"/>
                    </a:lnTo>
                    <a:lnTo>
                      <a:pt x="63008" y="99770"/>
                    </a:lnTo>
                    <a:lnTo>
                      <a:pt x="65124" y="91682"/>
                    </a:lnTo>
                    <a:lnTo>
                      <a:pt x="62540" y="71662"/>
                    </a:lnTo>
                    <a:lnTo>
                      <a:pt x="63658" y="51564"/>
                    </a:lnTo>
                    <a:lnTo>
                      <a:pt x="67782" y="41720"/>
                    </a:lnTo>
                    <a:lnTo>
                      <a:pt x="58840" y="30654"/>
                    </a:lnTo>
                    <a:lnTo>
                      <a:pt x="52404" y="31360"/>
                    </a:lnTo>
                    <a:lnTo>
                      <a:pt x="45047" y="23573"/>
                    </a:lnTo>
                    <a:lnTo>
                      <a:pt x="37943" y="33807"/>
                    </a:lnTo>
                    <a:lnTo>
                      <a:pt x="35985" y="46353"/>
                    </a:lnTo>
                    <a:lnTo>
                      <a:pt x="30191" y="65803"/>
                    </a:lnTo>
                    <a:lnTo>
                      <a:pt x="32345" y="76833"/>
                    </a:lnTo>
                    <a:lnTo>
                      <a:pt x="39220" y="95452"/>
                    </a:lnTo>
                    <a:lnTo>
                      <a:pt x="40013" y="101710"/>
                    </a:lnTo>
                    <a:lnTo>
                      <a:pt x="42121" y="103724"/>
                    </a:lnTo>
                    <a:lnTo>
                      <a:pt x="41357" y="112729"/>
                    </a:lnTo>
                    <a:lnTo>
                      <a:pt x="44733" y="112571"/>
                    </a:lnTo>
                    <a:lnTo>
                      <a:pt x="42575" y="129427"/>
                    </a:lnTo>
                    <a:lnTo>
                      <a:pt x="45893" y="136323"/>
                    </a:lnTo>
                    <a:lnTo>
                      <a:pt x="46713" y="145690"/>
                    </a:lnTo>
                    <a:lnTo>
                      <a:pt x="53941" y="159490"/>
                    </a:lnTo>
                    <a:lnTo>
                      <a:pt x="52375" y="183846"/>
                    </a:lnTo>
                    <a:lnTo>
                      <a:pt x="54368" y="195457"/>
                    </a:lnTo>
                    <a:lnTo>
                      <a:pt x="55855" y="207837"/>
                    </a:lnTo>
                    <a:lnTo>
                      <a:pt x="52824" y="221520"/>
                    </a:lnTo>
                    <a:lnTo>
                      <a:pt x="61585" y="222836"/>
                    </a:lnTo>
                    <a:lnTo>
                      <a:pt x="65698" y="234953"/>
                    </a:lnTo>
                    <a:lnTo>
                      <a:pt x="69245" y="246825"/>
                    </a:lnTo>
                    <a:lnTo>
                      <a:pt x="67504" y="251430"/>
                    </a:lnTo>
                    <a:lnTo>
                      <a:pt x="56981" y="260546"/>
                    </a:lnTo>
                    <a:lnTo>
                      <a:pt x="53682" y="260262"/>
                    </a:lnTo>
                    <a:lnTo>
                      <a:pt x="53099" y="244294"/>
                    </a:lnTo>
                    <a:lnTo>
                      <a:pt x="45066" y="228934"/>
                    </a:lnTo>
                    <a:lnTo>
                      <a:pt x="35288" y="215727"/>
                    </a:lnTo>
                    <a:lnTo>
                      <a:pt x="27735" y="208647"/>
                    </a:lnTo>
                    <a:lnTo>
                      <a:pt x="34201" y="189748"/>
                    </a:lnTo>
                    <a:lnTo>
                      <a:pt x="35836" y="175582"/>
                    </a:lnTo>
                    <a:lnTo>
                      <a:pt x="29615" y="167070"/>
                    </a:lnTo>
                    <a:lnTo>
                      <a:pt x="20743" y="154798"/>
                    </a:lnTo>
                    <a:lnTo>
                      <a:pt x="17194" y="157984"/>
                    </a:lnTo>
                    <a:lnTo>
                      <a:pt x="14809" y="150970"/>
                    </a:lnTo>
                    <a:lnTo>
                      <a:pt x="5589" y="144031"/>
                    </a:lnTo>
                    <a:lnTo>
                      <a:pt x="0" y="128346"/>
                    </a:lnTo>
                    <a:lnTo>
                      <a:pt x="2026" y="126477"/>
                    </a:lnTo>
                    <a:lnTo>
                      <a:pt x="9057" y="128409"/>
                    </a:lnTo>
                    <a:lnTo>
                      <a:pt x="19266" y="119176"/>
                    </a:lnTo>
                    <a:lnTo>
                      <a:pt x="24123" y="107571"/>
                    </a:lnTo>
                    <a:lnTo>
                      <a:pt x="16874" y="88264"/>
                    </a:lnTo>
                    <a:lnTo>
                      <a:pt x="8916" y="80420"/>
                    </a:lnTo>
                    <a:lnTo>
                      <a:pt x="8446" y="63862"/>
                    </a:lnTo>
                    <a:lnTo>
                      <a:pt x="8442" y="46497"/>
                    </a:lnTo>
                    <a:lnTo>
                      <a:pt x="8517" y="25320"/>
                    </a:lnTo>
                    <a:lnTo>
                      <a:pt x="11016" y="1644"/>
                    </a:lnTo>
                    <a:lnTo>
                      <a:pt x="32067" y="1147"/>
                    </a:lnTo>
                    <a:lnTo>
                      <a:pt x="55831" y="0"/>
                    </a:lnTo>
                    <a:lnTo>
                      <a:pt x="52060" y="4895"/>
                    </a:lnTo>
                    <a:lnTo>
                      <a:pt x="73873" y="19260"/>
                    </a:lnTo>
                    <a:lnTo>
                      <a:pt x="107645" y="40069"/>
                    </a:lnTo>
                    <a:lnTo>
                      <a:pt x="143515" y="42211"/>
                    </a:lnTo>
                    <a:lnTo>
                      <a:pt x="157807" y="43115"/>
                    </a:lnTo>
                    <a:lnTo>
                      <a:pt x="161834" y="32589"/>
                    </a:lnTo>
                    <a:lnTo>
                      <a:pt x="192990" y="34576"/>
                    </a:lnTo>
                    <a:lnTo>
                      <a:pt x="196201" y="44014"/>
                    </a:lnTo>
                    <a:lnTo>
                      <a:pt x="202486" y="52630"/>
                    </a:lnTo>
                    <a:lnTo>
                      <a:pt x="209219" y="64477"/>
                    </a:lnTo>
                    <a:lnTo>
                      <a:pt x="210563" y="78134"/>
                    </a:lnTo>
                    <a:lnTo>
                      <a:pt x="210278" y="92404"/>
                    </a:lnTo>
                    <a:lnTo>
                      <a:pt x="217123" y="100635"/>
                    </a:lnTo>
                    <a:lnTo>
                      <a:pt x="229779" y="109122"/>
                    </a:lnTo>
                    <a:lnTo>
                      <a:pt x="247962" y="89657"/>
                    </a:lnTo>
                    <a:lnTo>
                      <a:pt x="263044" y="89997"/>
                    </a:lnTo>
                    <a:lnTo>
                      <a:pt x="272592" y="100827"/>
                    </a:lnTo>
                    <a:lnTo>
                      <a:pt x="276217" y="118708"/>
                    </a:lnTo>
                    <a:lnTo>
                      <a:pt x="277940" y="133932"/>
                    </a:lnTo>
                    <a:lnTo>
                      <a:pt x="284435" y="148969"/>
                    </a:lnTo>
                    <a:lnTo>
                      <a:pt x="283267" y="166965"/>
                    </a:lnTo>
                    <a:lnTo>
                      <a:pt x="285035" y="179167"/>
                    </a:lnTo>
                    <a:lnTo>
                      <a:pt x="297332" y="187731"/>
                    </a:lnTo>
                    <a:lnTo>
                      <a:pt x="309019" y="193932"/>
                    </a:lnTo>
                    <a:lnTo>
                      <a:pt x="316498" y="193502"/>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50" name="Polygon form 15"/>
              <p:cNvSpPr/>
              <p:nvPr/>
            </p:nvSpPr>
            <p:spPr>
              <a:xfrm>
                <a:off x="4319274" y="3108149"/>
                <a:ext cx="44070" cy="36021"/>
              </a:xfrm>
              <a:custGeom>
                <a:avLst/>
                <a:gdLst/>
                <a:ahLst/>
                <a:cxnLst/>
                <a:rect l="0" t="0" r="0" b="0"/>
                <a:pathLst>
                  <a:path w="44070" h="36021">
                    <a:moveTo>
                      <a:pt x="1455" y="11652"/>
                    </a:moveTo>
                    <a:lnTo>
                      <a:pt x="3697" y="11824"/>
                    </a:lnTo>
                    <a:lnTo>
                      <a:pt x="4009" y="6867"/>
                    </a:lnTo>
                    <a:lnTo>
                      <a:pt x="13955" y="2988"/>
                    </a:lnTo>
                    <a:lnTo>
                      <a:pt x="17770" y="2007"/>
                    </a:lnTo>
                    <a:lnTo>
                      <a:pt x="23565" y="514"/>
                    </a:lnTo>
                    <a:lnTo>
                      <a:pt x="31604" y="0"/>
                    </a:lnTo>
                    <a:lnTo>
                      <a:pt x="41156" y="7631"/>
                    </a:lnTo>
                    <a:lnTo>
                      <a:pt x="44070" y="23595"/>
                    </a:lnTo>
                    <a:lnTo>
                      <a:pt x="40809" y="24444"/>
                    </a:lnTo>
                    <a:lnTo>
                      <a:pt x="38352" y="28697"/>
                    </a:lnTo>
                    <a:lnTo>
                      <a:pt x="28786" y="28359"/>
                    </a:lnTo>
                    <a:lnTo>
                      <a:pt x="22603" y="33731"/>
                    </a:lnTo>
                    <a:lnTo>
                      <a:pt x="11297" y="36021"/>
                    </a:lnTo>
                    <a:lnTo>
                      <a:pt x="3453" y="30231"/>
                    </a:lnTo>
                    <a:lnTo>
                      <a:pt x="0" y="19901"/>
                    </a:lnTo>
                    <a:lnTo>
                      <a:pt x="1455" y="11652"/>
                    </a:lnTo>
                    <a:close/>
                  </a:path>
                </a:pathLst>
              </a:custGeom>
              <a:solidFill>
                <a:srgbClr val="74C476">
                  <a:alpha val="100000"/>
                </a:srgbClr>
              </a:solidFill>
              <a:ln w="5400">
                <a:solidFill>
                  <a:srgbClr val="7F7F7F">
                    <a:alpha val="100000"/>
                  </a:srgbClr>
                </a:solidFill>
                <a:prstDash val="solid"/>
                <a:round/>
              </a:ln>
            </p:spPr>
            <p:txBody>
              <a:bodyPr/>
              <a:lstStyle/>
              <a:p/>
            </p:txBody>
          </p:sp>
          <p:sp>
            <p:nvSpPr>
              <p:cNvPr id="51" name="Polygon form 16"/>
              <p:cNvSpPr/>
              <p:nvPr/>
            </p:nvSpPr>
            <p:spPr>
              <a:xfrm>
                <a:off x="3723199" y="3529255"/>
                <a:ext cx="319865" cy="358957"/>
              </a:xfrm>
              <a:custGeom>
                <a:avLst/>
                <a:gdLst/>
                <a:ahLst/>
                <a:cxnLst/>
                <a:rect l="0" t="0" r="0" b="0"/>
                <a:pathLst>
                  <a:path w="319865" h="358957">
                    <a:moveTo>
                      <a:pt x="0" y="249634"/>
                    </a:moveTo>
                    <a:lnTo>
                      <a:pt x="6633" y="245251"/>
                    </a:lnTo>
                    <a:lnTo>
                      <a:pt x="10164" y="231037"/>
                    </a:lnTo>
                    <a:lnTo>
                      <a:pt x="16339" y="230497"/>
                    </a:lnTo>
                    <a:lnTo>
                      <a:pt x="29807" y="237256"/>
                    </a:lnTo>
                    <a:lnTo>
                      <a:pt x="40856" y="232510"/>
                    </a:lnTo>
                    <a:lnTo>
                      <a:pt x="48351" y="234130"/>
                    </a:lnTo>
                    <a:lnTo>
                      <a:pt x="51350" y="228768"/>
                    </a:lnTo>
                    <a:lnTo>
                      <a:pt x="129378" y="228543"/>
                    </a:lnTo>
                    <a:lnTo>
                      <a:pt x="133850" y="211654"/>
                    </a:lnTo>
                    <a:lnTo>
                      <a:pt x="130513" y="208676"/>
                    </a:lnTo>
                    <a:lnTo>
                      <a:pt x="122328" y="104527"/>
                    </a:lnTo>
                    <a:lnTo>
                      <a:pt x="114644" y="371"/>
                    </a:lnTo>
                    <a:lnTo>
                      <a:pt x="143679" y="0"/>
                    </a:lnTo>
                    <a:lnTo>
                      <a:pt x="207458" y="52717"/>
                    </a:lnTo>
                    <a:lnTo>
                      <a:pt x="272096" y="105350"/>
                    </a:lnTo>
                    <a:lnTo>
                      <a:pt x="276714" y="116652"/>
                    </a:lnTo>
                    <a:lnTo>
                      <a:pt x="288731" y="123543"/>
                    </a:lnTo>
                    <a:lnTo>
                      <a:pt x="297672" y="127459"/>
                    </a:lnTo>
                    <a:lnTo>
                      <a:pt x="297990" y="142808"/>
                    </a:lnTo>
                    <a:lnTo>
                      <a:pt x="319371" y="140422"/>
                    </a:lnTo>
                    <a:lnTo>
                      <a:pt x="319865" y="195987"/>
                    </a:lnTo>
                    <a:lnTo>
                      <a:pt x="309364" y="212113"/>
                    </a:lnTo>
                    <a:lnTo>
                      <a:pt x="307798" y="226980"/>
                    </a:lnTo>
                    <a:lnTo>
                      <a:pt x="290545" y="230820"/>
                    </a:lnTo>
                    <a:lnTo>
                      <a:pt x="264012" y="232907"/>
                    </a:lnTo>
                    <a:lnTo>
                      <a:pt x="256833" y="241482"/>
                    </a:lnTo>
                    <a:lnTo>
                      <a:pt x="244359" y="242432"/>
                    </a:lnTo>
                    <a:lnTo>
                      <a:pt x="231877" y="242543"/>
                    </a:lnTo>
                    <a:lnTo>
                      <a:pt x="227022" y="237914"/>
                    </a:lnTo>
                    <a:lnTo>
                      <a:pt x="216304" y="241346"/>
                    </a:lnTo>
                    <a:lnTo>
                      <a:pt x="198080" y="251347"/>
                    </a:lnTo>
                    <a:lnTo>
                      <a:pt x="194339" y="258886"/>
                    </a:lnTo>
                    <a:lnTo>
                      <a:pt x="179170" y="269692"/>
                    </a:lnTo>
                    <a:lnTo>
                      <a:pt x="176490" y="275888"/>
                    </a:lnTo>
                    <a:lnTo>
                      <a:pt x="168287" y="280794"/>
                    </a:lnTo>
                    <a:lnTo>
                      <a:pt x="158864" y="277534"/>
                    </a:lnTo>
                    <a:lnTo>
                      <a:pt x="153481" y="283418"/>
                    </a:lnTo>
                    <a:lnTo>
                      <a:pt x="150519" y="299961"/>
                    </a:lnTo>
                    <a:lnTo>
                      <a:pt x="134874" y="319944"/>
                    </a:lnTo>
                    <a:lnTo>
                      <a:pt x="135276" y="328117"/>
                    </a:lnTo>
                    <a:lnTo>
                      <a:pt x="129871" y="338340"/>
                    </a:lnTo>
                    <a:lnTo>
                      <a:pt x="131087" y="352348"/>
                    </a:lnTo>
                    <a:lnTo>
                      <a:pt x="122974" y="355916"/>
                    </a:lnTo>
                    <a:lnTo>
                      <a:pt x="118375" y="358957"/>
                    </a:lnTo>
                    <a:lnTo>
                      <a:pt x="115407" y="348634"/>
                    </a:lnTo>
                    <a:lnTo>
                      <a:pt x="109727" y="351349"/>
                    </a:lnTo>
                    <a:lnTo>
                      <a:pt x="106348" y="350875"/>
                    </a:lnTo>
                    <a:lnTo>
                      <a:pt x="102689" y="357913"/>
                    </a:lnTo>
                    <a:lnTo>
                      <a:pt x="87543" y="357696"/>
                    </a:lnTo>
                    <a:lnTo>
                      <a:pt x="82143" y="354066"/>
                    </a:lnTo>
                    <a:lnTo>
                      <a:pt x="79568" y="356255"/>
                    </a:lnTo>
                    <a:lnTo>
                      <a:pt x="73639" y="349290"/>
                    </a:lnTo>
                    <a:lnTo>
                      <a:pt x="74743" y="342105"/>
                    </a:lnTo>
                    <a:lnTo>
                      <a:pt x="72320" y="339286"/>
                    </a:lnTo>
                    <a:lnTo>
                      <a:pt x="68124" y="341654"/>
                    </a:lnTo>
                    <a:lnTo>
                      <a:pt x="68964" y="333803"/>
                    </a:lnTo>
                    <a:lnTo>
                      <a:pt x="73039" y="327596"/>
                    </a:lnTo>
                    <a:lnTo>
                      <a:pt x="65120" y="317473"/>
                    </a:lnTo>
                    <a:lnTo>
                      <a:pt x="62861" y="310813"/>
                    </a:lnTo>
                    <a:lnTo>
                      <a:pt x="58574" y="305503"/>
                    </a:lnTo>
                    <a:lnTo>
                      <a:pt x="54668" y="304863"/>
                    </a:lnTo>
                    <a:lnTo>
                      <a:pt x="49929" y="308235"/>
                    </a:lnTo>
                    <a:lnTo>
                      <a:pt x="43571" y="311452"/>
                    </a:lnTo>
                    <a:lnTo>
                      <a:pt x="38141" y="316665"/>
                    </a:lnTo>
                    <a:lnTo>
                      <a:pt x="29791" y="314721"/>
                    </a:lnTo>
                    <a:lnTo>
                      <a:pt x="24441" y="308580"/>
                    </a:lnTo>
                    <a:lnTo>
                      <a:pt x="21211" y="307768"/>
                    </a:lnTo>
                    <a:lnTo>
                      <a:pt x="16061" y="310975"/>
                    </a:lnTo>
                    <a:lnTo>
                      <a:pt x="12958" y="310996"/>
                    </a:lnTo>
                    <a:lnTo>
                      <a:pt x="11956" y="302153"/>
                    </a:lnTo>
                    <a:lnTo>
                      <a:pt x="12967" y="294634"/>
                    </a:lnTo>
                    <a:lnTo>
                      <a:pt x="11439" y="285294"/>
                    </a:lnTo>
                    <a:lnTo>
                      <a:pt x="4240" y="278495"/>
                    </a:lnTo>
                    <a:lnTo>
                      <a:pt x="626" y="264658"/>
                    </a:lnTo>
                    <a:lnTo>
                      <a:pt x="0" y="249634"/>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52" name="Polygon form 17"/>
              <p:cNvSpPr/>
              <p:nvPr/>
            </p:nvSpPr>
            <p:spPr>
              <a:xfrm>
                <a:off x="5724987" y="3406342"/>
                <a:ext cx="182007" cy="469866"/>
              </a:xfrm>
              <a:custGeom>
                <a:avLst/>
                <a:gdLst/>
                <a:ahLst/>
                <a:cxnLst/>
                <a:rect l="0" t="0" r="0" b="0"/>
                <a:pathLst>
                  <a:path w="182007" h="469866">
                    <a:moveTo>
                      <a:pt x="144837" y="206263"/>
                    </a:moveTo>
                    <a:lnTo>
                      <a:pt x="136064" y="217763"/>
                    </a:lnTo>
                    <a:lnTo>
                      <a:pt x="122823" y="219390"/>
                    </a:lnTo>
                    <a:lnTo>
                      <a:pt x="119663" y="247325"/>
                    </a:lnTo>
                    <a:lnTo>
                      <a:pt x="112472" y="252236"/>
                    </a:lnTo>
                    <a:lnTo>
                      <a:pt x="125970" y="274373"/>
                    </a:lnTo>
                    <a:lnTo>
                      <a:pt x="141561" y="292685"/>
                    </a:lnTo>
                    <a:lnTo>
                      <a:pt x="152405" y="309363"/>
                    </a:lnTo>
                    <a:lnTo>
                      <a:pt x="149027" y="331856"/>
                    </a:lnTo>
                    <a:lnTo>
                      <a:pt x="143098" y="336777"/>
                    </a:lnTo>
                    <a:lnTo>
                      <a:pt x="149728" y="349515"/>
                    </a:lnTo>
                    <a:lnTo>
                      <a:pt x="165720" y="369570"/>
                    </a:lnTo>
                    <a:lnTo>
                      <a:pt x="169991" y="383853"/>
                    </a:lnTo>
                    <a:lnTo>
                      <a:pt x="171329" y="395796"/>
                    </a:lnTo>
                    <a:lnTo>
                      <a:pt x="182007" y="419069"/>
                    </a:lnTo>
                    <a:lnTo>
                      <a:pt x="174176" y="443268"/>
                    </a:lnTo>
                    <a:lnTo>
                      <a:pt x="167591" y="469866"/>
                    </a:lnTo>
                    <a:lnTo>
                      <a:pt x="163652" y="450825"/>
                    </a:lnTo>
                    <a:lnTo>
                      <a:pt x="167379" y="431020"/>
                    </a:lnTo>
                    <a:lnTo>
                      <a:pt x="158951" y="415961"/>
                    </a:lnTo>
                    <a:lnTo>
                      <a:pt x="156851" y="387955"/>
                    </a:lnTo>
                    <a:lnTo>
                      <a:pt x="147098" y="374853"/>
                    </a:lnTo>
                    <a:lnTo>
                      <a:pt x="136220" y="344334"/>
                    </a:lnTo>
                    <a:lnTo>
                      <a:pt x="127515" y="312078"/>
                    </a:lnTo>
                    <a:lnTo>
                      <a:pt x="115536" y="291135"/>
                    </a:lnTo>
                    <a:lnTo>
                      <a:pt x="105040" y="304331"/>
                    </a:lnTo>
                    <a:lnTo>
                      <a:pt x="86075" y="323159"/>
                    </a:lnTo>
                    <a:lnTo>
                      <a:pt x="74865" y="321181"/>
                    </a:lnTo>
                    <a:lnTo>
                      <a:pt x="61931" y="315529"/>
                    </a:lnTo>
                    <a:lnTo>
                      <a:pt x="63296" y="283753"/>
                    </a:lnTo>
                    <a:lnTo>
                      <a:pt x="55022" y="260024"/>
                    </a:lnTo>
                    <a:lnTo>
                      <a:pt x="34469" y="231169"/>
                    </a:lnTo>
                    <a:lnTo>
                      <a:pt x="35016" y="221929"/>
                    </a:lnTo>
                    <a:lnTo>
                      <a:pt x="23193" y="219044"/>
                    </a:lnTo>
                    <a:lnTo>
                      <a:pt x="5491" y="198796"/>
                    </a:lnTo>
                    <a:lnTo>
                      <a:pt x="0" y="178437"/>
                    </a:lnTo>
                    <a:lnTo>
                      <a:pt x="7448" y="182041"/>
                    </a:lnTo>
                    <a:lnTo>
                      <a:pt x="3922" y="163842"/>
                    </a:lnTo>
                    <a:lnTo>
                      <a:pt x="11946" y="157482"/>
                    </a:lnTo>
                    <a:lnTo>
                      <a:pt x="7522" y="146791"/>
                    </a:lnTo>
                    <a:lnTo>
                      <a:pt x="9819" y="137995"/>
                    </a:lnTo>
                    <a:lnTo>
                      <a:pt x="4350" y="111744"/>
                    </a:lnTo>
                    <a:lnTo>
                      <a:pt x="20453" y="116924"/>
                    </a:lnTo>
                    <a:lnTo>
                      <a:pt x="23674" y="95677"/>
                    </a:lnTo>
                    <a:lnTo>
                      <a:pt x="21479" y="83287"/>
                    </a:lnTo>
                    <a:lnTo>
                      <a:pt x="26209" y="61584"/>
                    </a:lnTo>
                    <a:lnTo>
                      <a:pt x="21716" y="47115"/>
                    </a:lnTo>
                    <a:lnTo>
                      <a:pt x="40847" y="28497"/>
                    </a:lnTo>
                    <a:lnTo>
                      <a:pt x="55402" y="32452"/>
                    </a:lnTo>
                    <a:lnTo>
                      <a:pt x="49370" y="16926"/>
                    </a:lnTo>
                    <a:lnTo>
                      <a:pt x="54479" y="11959"/>
                    </a:lnTo>
                    <a:lnTo>
                      <a:pt x="50225" y="2422"/>
                    </a:lnTo>
                    <a:lnTo>
                      <a:pt x="60434" y="0"/>
                    </a:lnTo>
                    <a:lnTo>
                      <a:pt x="71077" y="14624"/>
                    </a:lnTo>
                    <a:lnTo>
                      <a:pt x="80937" y="20277"/>
                    </a:lnTo>
                    <a:lnTo>
                      <a:pt x="87148" y="39691"/>
                    </a:lnTo>
                    <a:lnTo>
                      <a:pt x="92322" y="60697"/>
                    </a:lnTo>
                    <a:lnTo>
                      <a:pt x="80407" y="82739"/>
                    </a:lnTo>
                    <a:lnTo>
                      <a:pt x="85966" y="113015"/>
                    </a:lnTo>
                    <a:lnTo>
                      <a:pt x="104727" y="107940"/>
                    </a:lnTo>
                    <a:lnTo>
                      <a:pt x="115128" y="131217"/>
                    </a:lnTo>
                    <a:lnTo>
                      <a:pt x="128291" y="135660"/>
                    </a:lnTo>
                    <a:lnTo>
                      <a:pt x="127917" y="157099"/>
                    </a:lnTo>
                    <a:lnTo>
                      <a:pt x="144240" y="166128"/>
                    </a:lnTo>
                    <a:lnTo>
                      <a:pt x="153551" y="170509"/>
                    </a:lnTo>
                    <a:lnTo>
                      <a:pt x="165692" y="162495"/>
                    </a:lnTo>
                    <a:lnTo>
                      <a:pt x="168761" y="173059"/>
                    </a:lnTo>
                    <a:lnTo>
                      <a:pt x="156419" y="190352"/>
                    </a:lnTo>
                    <a:lnTo>
                      <a:pt x="154458" y="199936"/>
                    </a:lnTo>
                    <a:lnTo>
                      <a:pt x="144837" y="206263"/>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53" name="Polygon form 18"/>
              <p:cNvSpPr/>
              <p:nvPr/>
            </p:nvSpPr>
            <p:spPr>
              <a:xfrm>
                <a:off x="4282003" y="3079802"/>
                <a:ext cx="31962" cy="39729"/>
              </a:xfrm>
              <a:custGeom>
                <a:avLst/>
                <a:gdLst/>
                <a:ahLst/>
                <a:cxnLst/>
                <a:rect l="0" t="0" r="0" b="0"/>
                <a:pathLst>
                  <a:path w="31962" h="39729">
                    <a:moveTo>
                      <a:pt x="23505" y="24600"/>
                    </a:moveTo>
                    <a:lnTo>
                      <a:pt x="21978" y="20069"/>
                    </a:lnTo>
                    <a:lnTo>
                      <a:pt x="15504" y="32058"/>
                    </a:lnTo>
                    <a:lnTo>
                      <a:pt x="17365" y="39729"/>
                    </a:lnTo>
                    <a:lnTo>
                      <a:pt x="13539" y="37902"/>
                    </a:lnTo>
                    <a:lnTo>
                      <a:pt x="7951" y="30075"/>
                    </a:lnTo>
                    <a:lnTo>
                      <a:pt x="0" y="25369"/>
                    </a:lnTo>
                    <a:lnTo>
                      <a:pt x="1561" y="21241"/>
                    </a:lnTo>
                    <a:lnTo>
                      <a:pt x="2937" y="7926"/>
                    </a:lnTo>
                    <a:lnTo>
                      <a:pt x="8067" y="2245"/>
                    </a:lnTo>
                    <a:lnTo>
                      <a:pt x="11099" y="0"/>
                    </a:lnTo>
                    <a:lnTo>
                      <a:pt x="16078" y="4086"/>
                    </a:lnTo>
                    <a:lnTo>
                      <a:pt x="18922" y="7399"/>
                    </a:lnTo>
                    <a:lnTo>
                      <a:pt x="24865" y="9930"/>
                    </a:lnTo>
                    <a:lnTo>
                      <a:pt x="31962" y="14857"/>
                    </a:lnTo>
                    <a:lnTo>
                      <a:pt x="30731" y="16947"/>
                    </a:lnTo>
                    <a:lnTo>
                      <a:pt x="27992" y="22402"/>
                    </a:lnTo>
                    <a:lnTo>
                      <a:pt x="23505" y="24600"/>
                    </a:lnTo>
                    <a:close/>
                  </a:path>
                </a:pathLst>
              </a:custGeom>
              <a:solidFill>
                <a:srgbClr val="74C476">
                  <a:alpha val="100000"/>
                </a:srgbClr>
              </a:solidFill>
              <a:ln w="5400">
                <a:solidFill>
                  <a:srgbClr val="7F7F7F">
                    <a:alpha val="100000"/>
                  </a:srgbClr>
                </a:solidFill>
                <a:prstDash val="solid"/>
                <a:round/>
              </a:ln>
            </p:spPr>
            <p:txBody>
              <a:bodyPr/>
              <a:lstStyle/>
              <a:p/>
            </p:txBody>
          </p:sp>
          <p:sp>
            <p:nvSpPr>
              <p:cNvPr id="54" name="Polygon form 19"/>
              <p:cNvSpPr/>
              <p:nvPr/>
            </p:nvSpPr>
            <p:spPr>
              <a:xfrm>
                <a:off x="5399558" y="2814730"/>
                <a:ext cx="543889" cy="249504"/>
              </a:xfrm>
              <a:custGeom>
                <a:avLst/>
                <a:gdLst/>
                <a:ahLst/>
                <a:cxnLst/>
                <a:rect l="0" t="0" r="0" b="0"/>
                <a:pathLst>
                  <a:path w="543889" h="249504">
                    <a:moveTo>
                      <a:pt x="0" y="80545"/>
                    </a:moveTo>
                    <a:lnTo>
                      <a:pt x="14664" y="75118"/>
                    </a:lnTo>
                    <a:lnTo>
                      <a:pt x="33894" y="51890"/>
                    </a:lnTo>
                    <a:lnTo>
                      <a:pt x="51564" y="38618"/>
                    </a:lnTo>
                    <a:lnTo>
                      <a:pt x="69318" y="45050"/>
                    </a:lnTo>
                    <a:lnTo>
                      <a:pt x="85881" y="44137"/>
                    </a:lnTo>
                    <a:lnTo>
                      <a:pt x="102734" y="54714"/>
                    </a:lnTo>
                    <a:lnTo>
                      <a:pt x="118925" y="54350"/>
                    </a:lnTo>
                    <a:lnTo>
                      <a:pt x="145137" y="58669"/>
                    </a:lnTo>
                    <a:lnTo>
                      <a:pt x="150571" y="40409"/>
                    </a:lnTo>
                    <a:lnTo>
                      <a:pt x="135823" y="26575"/>
                    </a:lnTo>
                    <a:lnTo>
                      <a:pt x="136640" y="0"/>
                    </a:lnTo>
                    <a:lnTo>
                      <a:pt x="159999" y="8583"/>
                    </a:lnTo>
                    <a:lnTo>
                      <a:pt x="175712" y="10228"/>
                    </a:lnTo>
                    <a:lnTo>
                      <a:pt x="197678" y="14904"/>
                    </a:lnTo>
                    <a:lnTo>
                      <a:pt x="211897" y="32928"/>
                    </a:lnTo>
                    <a:lnTo>
                      <a:pt x="240262" y="41264"/>
                    </a:lnTo>
                    <a:lnTo>
                      <a:pt x="252128" y="35422"/>
                    </a:lnTo>
                    <a:lnTo>
                      <a:pt x="269697" y="30450"/>
                    </a:lnTo>
                    <a:lnTo>
                      <a:pt x="287231" y="32243"/>
                    </a:lnTo>
                    <a:lnTo>
                      <a:pt x="309894" y="42597"/>
                    </a:lnTo>
                    <a:lnTo>
                      <a:pt x="327288" y="54248"/>
                    </a:lnTo>
                    <a:lnTo>
                      <a:pt x="341560" y="52637"/>
                    </a:lnTo>
                    <a:lnTo>
                      <a:pt x="363718" y="54771"/>
                    </a:lnTo>
                    <a:lnTo>
                      <a:pt x="374033" y="47308"/>
                    </a:lnTo>
                    <a:lnTo>
                      <a:pt x="391705" y="41245"/>
                    </a:lnTo>
                    <a:lnTo>
                      <a:pt x="402506" y="21708"/>
                    </a:lnTo>
                    <a:lnTo>
                      <a:pt x="413493" y="23417"/>
                    </a:lnTo>
                    <a:lnTo>
                      <a:pt x="427166" y="30806"/>
                    </a:lnTo>
                    <a:lnTo>
                      <a:pt x="444011" y="26868"/>
                    </a:lnTo>
                    <a:lnTo>
                      <a:pt x="449294" y="46157"/>
                    </a:lnTo>
                    <a:lnTo>
                      <a:pt x="454829" y="71878"/>
                    </a:lnTo>
                    <a:lnTo>
                      <a:pt x="465487" y="81566"/>
                    </a:lnTo>
                    <a:lnTo>
                      <a:pt x="472285" y="77541"/>
                    </a:lnTo>
                    <a:lnTo>
                      <a:pt x="490252" y="79820"/>
                    </a:lnTo>
                    <a:lnTo>
                      <a:pt x="496133" y="69471"/>
                    </a:lnTo>
                    <a:lnTo>
                      <a:pt x="513956" y="76069"/>
                    </a:lnTo>
                    <a:lnTo>
                      <a:pt x="539746" y="91894"/>
                    </a:lnTo>
                    <a:lnTo>
                      <a:pt x="543889" y="100887"/>
                    </a:lnTo>
                    <a:lnTo>
                      <a:pt x="529626" y="99372"/>
                    </a:lnTo>
                    <a:lnTo>
                      <a:pt x="508874" y="104994"/>
                    </a:lnTo>
                    <a:lnTo>
                      <a:pt x="502274" y="113166"/>
                    </a:lnTo>
                    <a:lnTo>
                      <a:pt x="500967" y="130730"/>
                    </a:lnTo>
                    <a:lnTo>
                      <a:pt x="482463" y="142712"/>
                    </a:lnTo>
                    <a:lnTo>
                      <a:pt x="474333" y="157432"/>
                    </a:lnTo>
                    <a:lnTo>
                      <a:pt x="454726" y="153921"/>
                    </a:lnTo>
                    <a:lnTo>
                      <a:pt x="444304" y="152506"/>
                    </a:lnTo>
                    <a:lnTo>
                      <a:pt x="445129" y="169315"/>
                    </a:lnTo>
                    <a:lnTo>
                      <a:pt x="455826" y="178421"/>
                    </a:lnTo>
                    <a:lnTo>
                      <a:pt x="463161" y="186415"/>
                    </a:lnTo>
                    <a:lnTo>
                      <a:pt x="456408" y="195823"/>
                    </a:lnTo>
                    <a:lnTo>
                      <a:pt x="451976" y="210228"/>
                    </a:lnTo>
                    <a:lnTo>
                      <a:pt x="437379" y="220667"/>
                    </a:lnTo>
                    <a:lnTo>
                      <a:pt x="412983" y="223691"/>
                    </a:lnTo>
                    <a:lnTo>
                      <a:pt x="390560" y="234551"/>
                    </a:lnTo>
                    <a:lnTo>
                      <a:pt x="377837" y="249504"/>
                    </a:lnTo>
                    <a:lnTo>
                      <a:pt x="366525" y="242322"/>
                    </a:lnTo>
                    <a:lnTo>
                      <a:pt x="346237" y="243918"/>
                    </a:lnTo>
                    <a:lnTo>
                      <a:pt x="313963" y="230688"/>
                    </a:lnTo>
                    <a:lnTo>
                      <a:pt x="295626" y="228237"/>
                    </a:lnTo>
                    <a:lnTo>
                      <a:pt x="275046" y="233360"/>
                    </a:lnTo>
                    <a:lnTo>
                      <a:pt x="237782" y="230323"/>
                    </a:lnTo>
                    <a:lnTo>
                      <a:pt x="219565" y="232225"/>
                    </a:lnTo>
                    <a:lnTo>
                      <a:pt x="202802" y="218210"/>
                    </a:lnTo>
                    <a:lnTo>
                      <a:pt x="184313" y="195948"/>
                    </a:lnTo>
                    <a:lnTo>
                      <a:pt x="172743" y="193942"/>
                    </a:lnTo>
                    <a:lnTo>
                      <a:pt x="145344" y="179990"/>
                    </a:lnTo>
                    <a:lnTo>
                      <a:pt x="121455" y="178120"/>
                    </a:lnTo>
                    <a:lnTo>
                      <a:pt x="99837" y="175274"/>
                    </a:lnTo>
                    <a:lnTo>
                      <a:pt x="88854" y="165013"/>
                    </a:lnTo>
                    <a:lnTo>
                      <a:pt x="81267" y="135856"/>
                    </a:lnTo>
                    <a:lnTo>
                      <a:pt x="60291" y="116896"/>
                    </a:lnTo>
                    <a:lnTo>
                      <a:pt x="32685" y="109327"/>
                    </a:lnTo>
                    <a:lnTo>
                      <a:pt x="12724" y="97300"/>
                    </a:lnTo>
                    <a:lnTo>
                      <a:pt x="0" y="80545"/>
                    </a:lnTo>
                    <a:close/>
                  </a:path>
                </a:pathLst>
              </a:custGeom>
              <a:solidFill>
                <a:srgbClr val="74C476">
                  <a:alpha val="100000"/>
                </a:srgbClr>
              </a:solidFill>
              <a:ln w="5400">
                <a:solidFill>
                  <a:srgbClr val="7F7F7F">
                    <a:alpha val="100000"/>
                  </a:srgbClr>
                </a:solidFill>
                <a:prstDash val="solid"/>
                <a:round/>
              </a:ln>
            </p:spPr>
            <p:txBody>
              <a:bodyPr/>
              <a:lstStyle/>
              <a:p/>
            </p:txBody>
          </p:sp>
          <p:sp>
            <p:nvSpPr>
              <p:cNvPr id="55" name="Polygon form 20"/>
              <p:cNvSpPr/>
              <p:nvPr/>
            </p:nvSpPr>
            <p:spPr>
              <a:xfrm>
                <a:off x="4547832" y="4383309"/>
                <a:ext cx="206369" cy="397845"/>
              </a:xfrm>
              <a:custGeom>
                <a:avLst/>
                <a:gdLst/>
                <a:ahLst/>
                <a:cxnLst/>
                <a:rect l="0" t="0" r="0" b="0"/>
                <a:pathLst>
                  <a:path w="206369" h="397845">
                    <a:moveTo>
                      <a:pt x="88978" y="28543"/>
                    </a:moveTo>
                    <a:lnTo>
                      <a:pt x="103786" y="26671"/>
                    </a:lnTo>
                    <a:lnTo>
                      <a:pt x="127010" y="33678"/>
                    </a:lnTo>
                    <a:lnTo>
                      <a:pt x="132253" y="30638"/>
                    </a:lnTo>
                    <a:lnTo>
                      <a:pt x="145904" y="30104"/>
                    </a:lnTo>
                    <a:lnTo>
                      <a:pt x="153201" y="22851"/>
                    </a:lnTo>
                    <a:lnTo>
                      <a:pt x="164929" y="23331"/>
                    </a:lnTo>
                    <a:lnTo>
                      <a:pt x="186762" y="14021"/>
                    </a:lnTo>
                    <a:lnTo>
                      <a:pt x="202965" y="0"/>
                    </a:lnTo>
                    <a:lnTo>
                      <a:pt x="205659" y="10948"/>
                    </a:lnTo>
                    <a:lnTo>
                      <a:pt x="203717" y="35222"/>
                    </a:lnTo>
                    <a:lnTo>
                      <a:pt x="205046" y="56624"/>
                    </a:lnTo>
                    <a:lnTo>
                      <a:pt x="203668" y="94713"/>
                    </a:lnTo>
                    <a:lnTo>
                      <a:pt x="206369" y="106681"/>
                    </a:lnTo>
                    <a:lnTo>
                      <a:pt x="199472" y="124034"/>
                    </a:lnTo>
                    <a:lnTo>
                      <a:pt x="190829" y="140876"/>
                    </a:lnTo>
                    <a:lnTo>
                      <a:pt x="177463" y="155850"/>
                    </a:lnTo>
                    <a:lnTo>
                      <a:pt x="159122" y="164919"/>
                    </a:lnTo>
                    <a:lnTo>
                      <a:pt x="136502" y="176500"/>
                    </a:lnTo>
                    <a:lnTo>
                      <a:pt x="112871" y="202370"/>
                    </a:lnTo>
                    <a:lnTo>
                      <a:pt x="105138" y="206729"/>
                    </a:lnTo>
                    <a:lnTo>
                      <a:pt x="90466" y="223852"/>
                    </a:lnTo>
                    <a:lnTo>
                      <a:pt x="82135" y="229383"/>
                    </a:lnTo>
                    <a:lnTo>
                      <a:pt x="79254" y="246686"/>
                    </a:lnTo>
                    <a:lnTo>
                      <a:pt x="86958" y="265187"/>
                    </a:lnTo>
                    <a:lnTo>
                      <a:pt x="89609" y="279480"/>
                    </a:lnTo>
                    <a:lnTo>
                      <a:pt x="89258" y="286751"/>
                    </a:lnTo>
                    <a:lnTo>
                      <a:pt x="92734" y="285578"/>
                    </a:lnTo>
                    <a:lnTo>
                      <a:pt x="90196" y="309398"/>
                    </a:lnTo>
                    <a:lnTo>
                      <a:pt x="86135" y="320644"/>
                    </a:lnTo>
                    <a:lnTo>
                      <a:pt x="90255" y="324861"/>
                    </a:lnTo>
                    <a:lnTo>
                      <a:pt x="86531" y="334930"/>
                    </a:lnTo>
                    <a:lnTo>
                      <a:pt x="77823" y="343463"/>
                    </a:lnTo>
                    <a:lnTo>
                      <a:pt x="61449" y="351460"/>
                    </a:lnTo>
                    <a:lnTo>
                      <a:pt x="37519" y="364297"/>
                    </a:lnTo>
                    <a:lnTo>
                      <a:pt x="28441" y="373160"/>
                    </a:lnTo>
                    <a:lnTo>
                      <a:pt x="29153" y="383401"/>
                    </a:lnTo>
                    <a:lnTo>
                      <a:pt x="33827" y="385098"/>
                    </a:lnTo>
                    <a:lnTo>
                      <a:pt x="31043" y="397845"/>
                    </a:lnTo>
                    <a:lnTo>
                      <a:pt x="16784" y="397450"/>
                    </a:lnTo>
                    <a:lnTo>
                      <a:pt x="16121" y="386707"/>
                    </a:lnTo>
                    <a:lnTo>
                      <a:pt x="14276" y="375794"/>
                    </a:lnTo>
                    <a:lnTo>
                      <a:pt x="13407" y="367066"/>
                    </a:lnTo>
                    <a:lnTo>
                      <a:pt x="19028" y="340065"/>
                    </a:lnTo>
                    <a:lnTo>
                      <a:pt x="15456" y="322773"/>
                    </a:lnTo>
                    <a:lnTo>
                      <a:pt x="8888" y="288531"/>
                    </a:lnTo>
                    <a:lnTo>
                      <a:pt x="31024" y="261211"/>
                    </a:lnTo>
                    <a:lnTo>
                      <a:pt x="37305" y="243762"/>
                    </a:lnTo>
                    <a:lnTo>
                      <a:pt x="40359" y="241583"/>
                    </a:lnTo>
                    <a:lnTo>
                      <a:pt x="43501" y="227316"/>
                    </a:lnTo>
                    <a:lnTo>
                      <a:pt x="40883" y="220095"/>
                    </a:lnTo>
                    <a:lnTo>
                      <a:pt x="42877" y="201964"/>
                    </a:lnTo>
                    <a:lnTo>
                      <a:pt x="47686" y="185175"/>
                    </a:lnTo>
                    <a:lnTo>
                      <a:pt x="49451" y="154447"/>
                    </a:lnTo>
                    <a:lnTo>
                      <a:pt x="39812" y="146560"/>
                    </a:lnTo>
                    <a:lnTo>
                      <a:pt x="30668" y="144721"/>
                    </a:lnTo>
                    <a:lnTo>
                      <a:pt x="26803" y="138682"/>
                    </a:lnTo>
                    <a:lnTo>
                      <a:pt x="18069" y="133490"/>
                    </a:lnTo>
                    <a:lnTo>
                      <a:pt x="1844" y="133848"/>
                    </a:lnTo>
                    <a:lnTo>
                      <a:pt x="1030" y="124790"/>
                    </a:lnTo>
                    <a:lnTo>
                      <a:pt x="0" y="107513"/>
                    </a:lnTo>
                    <a:lnTo>
                      <a:pt x="60046" y="87931"/>
                    </a:lnTo>
                    <a:lnTo>
                      <a:pt x="70692" y="99673"/>
                    </a:lnTo>
                    <a:lnTo>
                      <a:pt x="76163" y="97482"/>
                    </a:lnTo>
                    <a:lnTo>
                      <a:pt x="83537" y="103691"/>
                    </a:lnTo>
                    <a:lnTo>
                      <a:pt x="84155" y="113436"/>
                    </a:lnTo>
                    <a:lnTo>
                      <a:pt x="79454" y="124699"/>
                    </a:lnTo>
                    <a:lnTo>
                      <a:pt x="79931" y="141837"/>
                    </a:lnTo>
                    <a:lnTo>
                      <a:pt x="91700" y="156961"/>
                    </a:lnTo>
                    <a:lnTo>
                      <a:pt x="98627" y="140152"/>
                    </a:lnTo>
                    <a:lnTo>
                      <a:pt x="107331" y="135109"/>
                    </a:lnTo>
                    <a:lnTo>
                      <a:pt x="107432" y="103836"/>
                    </a:lnTo>
                    <a:lnTo>
                      <a:pt x="100186" y="86191"/>
                    </a:lnTo>
                    <a:lnTo>
                      <a:pt x="93538" y="78301"/>
                    </a:lnTo>
                    <a:lnTo>
                      <a:pt x="86749" y="78604"/>
                    </a:lnTo>
                    <a:lnTo>
                      <a:pt x="82725" y="46977"/>
                    </a:lnTo>
                    <a:lnTo>
                      <a:pt x="88978" y="28543"/>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56" name="Polygon form 21"/>
              <p:cNvSpPr/>
              <p:nvPr/>
            </p:nvSpPr>
            <p:spPr>
              <a:xfrm>
                <a:off x="3632735" y="3470637"/>
                <a:ext cx="234143" cy="308252"/>
              </a:xfrm>
              <a:custGeom>
                <a:avLst/>
                <a:gdLst/>
                <a:ahLst/>
                <a:cxnLst/>
                <a:rect l="0" t="0" r="0" b="0"/>
                <a:pathLst>
                  <a:path w="234143" h="308252">
                    <a:moveTo>
                      <a:pt x="90464" y="308252"/>
                    </a:moveTo>
                    <a:lnTo>
                      <a:pt x="77937" y="291629"/>
                    </a:lnTo>
                    <a:lnTo>
                      <a:pt x="66551" y="273825"/>
                    </a:lnTo>
                    <a:lnTo>
                      <a:pt x="53809" y="267383"/>
                    </a:lnTo>
                    <a:lnTo>
                      <a:pt x="44708" y="260249"/>
                    </a:lnTo>
                    <a:lnTo>
                      <a:pt x="33869" y="260473"/>
                    </a:lnTo>
                    <a:lnTo>
                      <a:pt x="24264" y="265701"/>
                    </a:lnTo>
                    <a:lnTo>
                      <a:pt x="14674" y="263576"/>
                    </a:lnTo>
                    <a:lnTo>
                      <a:pt x="7816" y="271296"/>
                    </a:lnTo>
                    <a:lnTo>
                      <a:pt x="6498" y="258268"/>
                    </a:lnTo>
                    <a:lnTo>
                      <a:pt x="12250" y="246378"/>
                    </a:lnTo>
                    <a:lnTo>
                      <a:pt x="15323" y="223640"/>
                    </a:lnTo>
                    <a:lnTo>
                      <a:pt x="13930" y="199753"/>
                    </a:lnTo>
                    <a:lnTo>
                      <a:pt x="11994" y="187731"/>
                    </a:lnTo>
                    <a:lnTo>
                      <a:pt x="14319" y="175692"/>
                    </a:lnTo>
                    <a:lnTo>
                      <a:pt x="9745" y="164181"/>
                    </a:lnTo>
                    <a:lnTo>
                      <a:pt x="0" y="153691"/>
                    </a:lnTo>
                    <a:lnTo>
                      <a:pt x="4486" y="145654"/>
                    </a:lnTo>
                    <a:lnTo>
                      <a:pt x="79572" y="146173"/>
                    </a:lnTo>
                    <a:lnTo>
                      <a:pt x="76980" y="111285"/>
                    </a:lnTo>
                    <a:lnTo>
                      <a:pt x="82032" y="98904"/>
                    </a:lnTo>
                    <a:lnTo>
                      <a:pt x="99960" y="96816"/>
                    </a:lnTo>
                    <a:lnTo>
                      <a:pt x="101245" y="35038"/>
                    </a:lnTo>
                    <a:lnTo>
                      <a:pt x="163259" y="36555"/>
                    </a:lnTo>
                    <a:lnTo>
                      <a:pt x="164198" y="0"/>
                    </a:lnTo>
                    <a:lnTo>
                      <a:pt x="234143" y="58618"/>
                    </a:lnTo>
                    <a:lnTo>
                      <a:pt x="205108" y="58988"/>
                    </a:lnTo>
                    <a:lnTo>
                      <a:pt x="212792" y="163145"/>
                    </a:lnTo>
                    <a:lnTo>
                      <a:pt x="220977" y="267294"/>
                    </a:lnTo>
                    <a:lnTo>
                      <a:pt x="224313" y="270272"/>
                    </a:lnTo>
                    <a:lnTo>
                      <a:pt x="219841" y="287160"/>
                    </a:lnTo>
                    <a:lnTo>
                      <a:pt x="141814" y="287386"/>
                    </a:lnTo>
                    <a:lnTo>
                      <a:pt x="138815" y="292747"/>
                    </a:lnTo>
                    <a:lnTo>
                      <a:pt x="131319" y="291127"/>
                    </a:lnTo>
                    <a:lnTo>
                      <a:pt x="120271" y="295874"/>
                    </a:lnTo>
                    <a:lnTo>
                      <a:pt x="106802" y="289115"/>
                    </a:lnTo>
                    <a:lnTo>
                      <a:pt x="100628" y="289654"/>
                    </a:lnTo>
                    <a:lnTo>
                      <a:pt x="97097" y="303869"/>
                    </a:lnTo>
                    <a:lnTo>
                      <a:pt x="90464" y="308252"/>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57" name="Polygon form 22"/>
              <p:cNvSpPr/>
              <p:nvPr/>
            </p:nvSpPr>
            <p:spPr>
              <a:xfrm>
                <a:off x="4532954" y="4188815"/>
                <a:ext cx="33959" cy="52175"/>
              </a:xfrm>
              <a:custGeom>
                <a:avLst/>
                <a:gdLst/>
                <a:ahLst/>
                <a:cxnLst/>
                <a:rect l="0" t="0" r="0" b="0"/>
                <a:pathLst>
                  <a:path w="33959" h="52175">
                    <a:moveTo>
                      <a:pt x="5775" y="52175"/>
                    </a:moveTo>
                    <a:lnTo>
                      <a:pt x="4861" y="22918"/>
                    </a:lnTo>
                    <a:lnTo>
                      <a:pt x="0" y="11883"/>
                    </a:lnTo>
                    <a:lnTo>
                      <a:pt x="11965" y="13806"/>
                    </a:lnTo>
                    <a:lnTo>
                      <a:pt x="18117" y="0"/>
                    </a:lnTo>
                    <a:lnTo>
                      <a:pt x="28591" y="1598"/>
                    </a:lnTo>
                    <a:lnTo>
                      <a:pt x="29657" y="11155"/>
                    </a:lnTo>
                    <a:lnTo>
                      <a:pt x="33856" y="16662"/>
                    </a:lnTo>
                    <a:lnTo>
                      <a:pt x="33959" y="24551"/>
                    </a:lnTo>
                    <a:lnTo>
                      <a:pt x="29038" y="29621"/>
                    </a:lnTo>
                    <a:lnTo>
                      <a:pt x="21212" y="42263"/>
                    </a:lnTo>
                    <a:lnTo>
                      <a:pt x="13943" y="51038"/>
                    </a:lnTo>
                    <a:lnTo>
                      <a:pt x="5775" y="52175"/>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58" name="Polygon form 23"/>
              <p:cNvSpPr/>
              <p:nvPr/>
            </p:nvSpPr>
            <p:spPr>
              <a:xfrm>
                <a:off x="4597920" y="4356036"/>
                <a:ext cx="57344" cy="184233"/>
              </a:xfrm>
              <a:custGeom>
                <a:avLst/>
                <a:gdLst/>
                <a:ahLst/>
                <a:cxnLst/>
                <a:rect l="0" t="0" r="0" b="0"/>
                <a:pathLst>
                  <a:path w="57344" h="184233">
                    <a:moveTo>
                      <a:pt x="38890" y="55816"/>
                    </a:moveTo>
                    <a:lnTo>
                      <a:pt x="32637" y="74249"/>
                    </a:lnTo>
                    <a:lnTo>
                      <a:pt x="36661" y="105877"/>
                    </a:lnTo>
                    <a:lnTo>
                      <a:pt x="43450" y="105573"/>
                    </a:lnTo>
                    <a:lnTo>
                      <a:pt x="50098" y="113463"/>
                    </a:lnTo>
                    <a:lnTo>
                      <a:pt x="57344" y="131109"/>
                    </a:lnTo>
                    <a:lnTo>
                      <a:pt x="57243" y="162382"/>
                    </a:lnTo>
                    <a:lnTo>
                      <a:pt x="48539" y="167425"/>
                    </a:lnTo>
                    <a:lnTo>
                      <a:pt x="41612" y="184233"/>
                    </a:lnTo>
                    <a:lnTo>
                      <a:pt x="29843" y="169109"/>
                    </a:lnTo>
                    <a:lnTo>
                      <a:pt x="29366" y="151971"/>
                    </a:lnTo>
                    <a:lnTo>
                      <a:pt x="34067" y="140709"/>
                    </a:lnTo>
                    <a:lnTo>
                      <a:pt x="33449" y="130963"/>
                    </a:lnTo>
                    <a:lnTo>
                      <a:pt x="26075" y="124755"/>
                    </a:lnTo>
                    <a:lnTo>
                      <a:pt x="20604" y="126945"/>
                    </a:lnTo>
                    <a:lnTo>
                      <a:pt x="9958" y="115203"/>
                    </a:lnTo>
                    <a:lnTo>
                      <a:pt x="0" y="108840"/>
                    </a:lnTo>
                    <a:lnTo>
                      <a:pt x="6934" y="86321"/>
                    </a:lnTo>
                    <a:lnTo>
                      <a:pt x="13444" y="77908"/>
                    </a:lnTo>
                    <a:lnTo>
                      <a:pt x="10511" y="57759"/>
                    </a:lnTo>
                    <a:lnTo>
                      <a:pt x="15198" y="38092"/>
                    </a:lnTo>
                    <a:lnTo>
                      <a:pt x="18777" y="31528"/>
                    </a:lnTo>
                    <a:lnTo>
                      <a:pt x="14501" y="10881"/>
                    </a:lnTo>
                    <a:lnTo>
                      <a:pt x="5583" y="0"/>
                    </a:lnTo>
                    <a:lnTo>
                      <a:pt x="24684" y="4626"/>
                    </a:lnTo>
                    <a:lnTo>
                      <a:pt x="28408" y="11365"/>
                    </a:lnTo>
                    <a:lnTo>
                      <a:pt x="34669" y="22732"/>
                    </a:lnTo>
                    <a:lnTo>
                      <a:pt x="38890" y="55816"/>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59" name="Polygon form 24"/>
              <p:cNvSpPr/>
              <p:nvPr/>
            </p:nvSpPr>
            <p:spPr>
              <a:xfrm>
                <a:off x="6124515" y="3948237"/>
                <a:ext cx="183529" cy="163328"/>
              </a:xfrm>
              <a:custGeom>
                <a:avLst/>
                <a:gdLst/>
                <a:ahLst/>
                <a:cxnLst/>
                <a:rect l="0" t="0" r="0" b="0"/>
                <a:pathLst>
                  <a:path w="183529" h="163328">
                    <a:moveTo>
                      <a:pt x="173995" y="64582"/>
                    </a:moveTo>
                    <a:lnTo>
                      <a:pt x="159982" y="73775"/>
                    </a:lnTo>
                    <a:lnTo>
                      <a:pt x="142661" y="69476"/>
                    </a:lnTo>
                    <a:lnTo>
                      <a:pt x="120004" y="69690"/>
                    </a:lnTo>
                    <a:lnTo>
                      <a:pt x="114571" y="99816"/>
                    </a:lnTo>
                    <a:lnTo>
                      <a:pt x="107317" y="109057"/>
                    </a:lnTo>
                    <a:lnTo>
                      <a:pt x="98163" y="145832"/>
                    </a:lnTo>
                    <a:lnTo>
                      <a:pt x="82158" y="151502"/>
                    </a:lnTo>
                    <a:lnTo>
                      <a:pt x="63363" y="144177"/>
                    </a:lnTo>
                    <a:lnTo>
                      <a:pt x="53939" y="146514"/>
                    </a:lnTo>
                    <a:lnTo>
                      <a:pt x="42621" y="159835"/>
                    </a:lnTo>
                    <a:lnTo>
                      <a:pt x="29998" y="157969"/>
                    </a:lnTo>
                    <a:lnTo>
                      <a:pt x="17320" y="163328"/>
                    </a:lnTo>
                    <a:lnTo>
                      <a:pt x="3638" y="148553"/>
                    </a:lnTo>
                    <a:lnTo>
                      <a:pt x="0" y="131064"/>
                    </a:lnTo>
                    <a:lnTo>
                      <a:pt x="14657" y="139985"/>
                    </a:lnTo>
                    <a:lnTo>
                      <a:pt x="29805" y="135026"/>
                    </a:lnTo>
                    <a:lnTo>
                      <a:pt x="33174" y="112783"/>
                    </a:lnTo>
                    <a:lnTo>
                      <a:pt x="41430" y="107780"/>
                    </a:lnTo>
                    <a:lnTo>
                      <a:pt x="64869" y="101931"/>
                    </a:lnTo>
                    <a:lnTo>
                      <a:pt x="78128" y="80988"/>
                    </a:lnTo>
                    <a:lnTo>
                      <a:pt x="86949" y="64229"/>
                    </a:lnTo>
                    <a:lnTo>
                      <a:pt x="96643" y="77812"/>
                    </a:lnTo>
                    <a:lnTo>
                      <a:pt x="100319" y="68782"/>
                    </a:lnTo>
                    <a:lnTo>
                      <a:pt x="109781" y="69525"/>
                    </a:lnTo>
                    <a:lnTo>
                      <a:pt x="109959" y="52643"/>
                    </a:lnTo>
                    <a:lnTo>
                      <a:pt x="110007" y="39623"/>
                    </a:lnTo>
                    <a:lnTo>
                      <a:pt x="123833" y="21040"/>
                    </a:lnTo>
                    <a:lnTo>
                      <a:pt x="132056" y="215"/>
                    </a:lnTo>
                    <a:lnTo>
                      <a:pt x="139997" y="0"/>
                    </a:lnTo>
                    <a:lnTo>
                      <a:pt x="151227" y="13243"/>
                    </a:lnTo>
                    <a:lnTo>
                      <a:pt x="153032" y="24753"/>
                    </a:lnTo>
                    <a:lnTo>
                      <a:pt x="166541" y="31969"/>
                    </a:lnTo>
                    <a:lnTo>
                      <a:pt x="183529" y="39744"/>
                    </a:lnTo>
                    <a:lnTo>
                      <a:pt x="182824" y="50175"/>
                    </a:lnTo>
                    <a:lnTo>
                      <a:pt x="169695" y="51651"/>
                    </a:lnTo>
                    <a:lnTo>
                      <a:pt x="173995" y="64582"/>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60" name="Polygon form 25"/>
              <p:cNvSpPr/>
              <p:nvPr/>
            </p:nvSpPr>
            <p:spPr>
              <a:xfrm>
                <a:off x="5930352" y="3960413"/>
                <a:ext cx="87493" cy="139616"/>
              </a:xfrm>
              <a:custGeom>
                <a:avLst/>
                <a:gdLst/>
                <a:ahLst/>
                <a:cxnLst/>
                <a:rect l="0" t="0" r="0" b="0"/>
                <a:pathLst>
                  <a:path w="87493" h="139616">
                    <a:moveTo>
                      <a:pt x="19924" y="11109"/>
                    </a:moveTo>
                    <a:lnTo>
                      <a:pt x="22319" y="24353"/>
                    </a:lnTo>
                    <a:lnTo>
                      <a:pt x="35121" y="21125"/>
                    </a:lnTo>
                    <a:lnTo>
                      <a:pt x="40863" y="10428"/>
                    </a:lnTo>
                    <a:lnTo>
                      <a:pt x="45550" y="12791"/>
                    </a:lnTo>
                    <a:lnTo>
                      <a:pt x="58166" y="28287"/>
                    </a:lnTo>
                    <a:lnTo>
                      <a:pt x="67414" y="45550"/>
                    </a:lnTo>
                    <a:lnTo>
                      <a:pt x="69410" y="62995"/>
                    </a:lnTo>
                    <a:lnTo>
                      <a:pt x="67823" y="74803"/>
                    </a:lnTo>
                    <a:lnTo>
                      <a:pt x="70089" y="83703"/>
                    </a:lnTo>
                    <a:lnTo>
                      <a:pt x="72050" y="99040"/>
                    </a:lnTo>
                    <a:lnTo>
                      <a:pt x="79207" y="106152"/>
                    </a:lnTo>
                    <a:lnTo>
                      <a:pt x="87493" y="129072"/>
                    </a:lnTo>
                    <a:lnTo>
                      <a:pt x="87258" y="137851"/>
                    </a:lnTo>
                    <a:lnTo>
                      <a:pt x="73285" y="139616"/>
                    </a:lnTo>
                    <a:lnTo>
                      <a:pt x="54278" y="120476"/>
                    </a:lnTo>
                    <a:lnTo>
                      <a:pt x="30412" y="100045"/>
                    </a:lnTo>
                    <a:lnTo>
                      <a:pt x="27676" y="86889"/>
                    </a:lnTo>
                    <a:lnTo>
                      <a:pt x="15610" y="69689"/>
                    </a:lnTo>
                    <a:lnTo>
                      <a:pt x="11898" y="48331"/>
                    </a:lnTo>
                    <a:lnTo>
                      <a:pt x="4039" y="34329"/>
                    </a:lnTo>
                    <a:lnTo>
                      <a:pt x="5064" y="15524"/>
                    </a:lnTo>
                    <a:lnTo>
                      <a:pt x="0" y="4641"/>
                    </a:lnTo>
                    <a:lnTo>
                      <a:pt x="3099" y="0"/>
                    </a:lnTo>
                    <a:lnTo>
                      <a:pt x="19924" y="11109"/>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61" name="Polygon form 26"/>
              <p:cNvSpPr/>
              <p:nvPr/>
            </p:nvSpPr>
            <p:spPr>
              <a:xfrm>
                <a:off x="4187570" y="4540948"/>
                <a:ext cx="258178" cy="292998"/>
              </a:xfrm>
              <a:custGeom>
                <a:avLst/>
                <a:gdLst/>
                <a:ahLst/>
                <a:cxnLst/>
                <a:rect l="0" t="0" r="0" b="0"/>
                <a:pathLst>
                  <a:path w="258178" h="292998">
                    <a:moveTo>
                      <a:pt x="78688" y="281368"/>
                    </a:moveTo>
                    <a:lnTo>
                      <a:pt x="65622" y="263024"/>
                    </a:lnTo>
                    <a:lnTo>
                      <a:pt x="59049" y="245337"/>
                    </a:lnTo>
                    <a:lnTo>
                      <a:pt x="55875" y="221797"/>
                    </a:lnTo>
                    <a:lnTo>
                      <a:pt x="51912" y="204272"/>
                    </a:lnTo>
                    <a:lnTo>
                      <a:pt x="46942" y="167046"/>
                    </a:lnTo>
                    <a:lnTo>
                      <a:pt x="47520" y="138149"/>
                    </a:lnTo>
                    <a:lnTo>
                      <a:pt x="45511" y="124964"/>
                    </a:lnTo>
                    <a:lnTo>
                      <a:pt x="38380" y="114974"/>
                    </a:lnTo>
                    <a:lnTo>
                      <a:pt x="29080" y="94978"/>
                    </a:lnTo>
                    <a:lnTo>
                      <a:pt x="19766" y="65967"/>
                    </a:lnTo>
                    <a:lnTo>
                      <a:pt x="15943" y="50791"/>
                    </a:lnTo>
                    <a:lnTo>
                      <a:pt x="779" y="27166"/>
                    </a:lnTo>
                    <a:lnTo>
                      <a:pt x="0" y="8638"/>
                    </a:lnTo>
                    <a:lnTo>
                      <a:pt x="9422" y="4075"/>
                    </a:lnTo>
                    <a:lnTo>
                      <a:pt x="21114" y="0"/>
                    </a:lnTo>
                    <a:lnTo>
                      <a:pt x="33665" y="765"/>
                    </a:lnTo>
                    <a:lnTo>
                      <a:pt x="44949" y="11727"/>
                    </a:lnTo>
                    <a:lnTo>
                      <a:pt x="47920" y="10041"/>
                    </a:lnTo>
                    <a:lnTo>
                      <a:pt x="126460" y="9341"/>
                    </a:lnTo>
                    <a:lnTo>
                      <a:pt x="139483" y="20991"/>
                    </a:lnTo>
                    <a:lnTo>
                      <a:pt x="186186" y="24676"/>
                    </a:lnTo>
                    <a:lnTo>
                      <a:pt x="222146" y="15034"/>
                    </a:lnTo>
                    <a:lnTo>
                      <a:pt x="238233" y="9635"/>
                    </a:lnTo>
                    <a:lnTo>
                      <a:pt x="250730" y="11111"/>
                    </a:lnTo>
                    <a:lnTo>
                      <a:pt x="258124" y="16621"/>
                    </a:lnTo>
                    <a:lnTo>
                      <a:pt x="258178" y="18631"/>
                    </a:lnTo>
                    <a:lnTo>
                      <a:pt x="247024" y="24011"/>
                    </a:lnTo>
                    <a:lnTo>
                      <a:pt x="241156" y="24025"/>
                    </a:lnTo>
                    <a:lnTo>
                      <a:pt x="228393" y="33428"/>
                    </a:lnTo>
                    <a:lnTo>
                      <a:pt x="221440" y="23403"/>
                    </a:lnTo>
                    <a:lnTo>
                      <a:pt x="191278" y="31687"/>
                    </a:lnTo>
                    <a:lnTo>
                      <a:pt x="176860" y="32400"/>
                    </a:lnTo>
                    <a:lnTo>
                      <a:pt x="172563" y="118544"/>
                    </a:lnTo>
                    <a:lnTo>
                      <a:pt x="153654" y="119257"/>
                    </a:lnTo>
                    <a:lnTo>
                      <a:pt x="150257" y="189819"/>
                    </a:lnTo>
                    <a:lnTo>
                      <a:pt x="145287" y="279101"/>
                    </a:lnTo>
                    <a:lnTo>
                      <a:pt x="127866" y="291317"/>
                    </a:lnTo>
                    <a:lnTo>
                      <a:pt x="117729" y="292998"/>
                    </a:lnTo>
                    <a:lnTo>
                      <a:pt x="106232" y="288335"/>
                    </a:lnTo>
                    <a:lnTo>
                      <a:pt x="97938" y="286509"/>
                    </a:lnTo>
                    <a:lnTo>
                      <a:pt x="95320" y="276155"/>
                    </a:lnTo>
                    <a:lnTo>
                      <a:pt x="88252" y="269486"/>
                    </a:lnTo>
                    <a:lnTo>
                      <a:pt x="78688" y="281368"/>
                    </a:lnTo>
                    <a:close/>
                  </a:path>
                </a:pathLst>
              </a:custGeom>
              <a:solidFill>
                <a:srgbClr val="41AB5D">
                  <a:alpha val="100000"/>
                </a:srgbClr>
              </a:solidFill>
              <a:ln w="5400">
                <a:solidFill>
                  <a:srgbClr val="7F7F7F">
                    <a:alpha val="100000"/>
                  </a:srgbClr>
                </a:solidFill>
                <a:prstDash val="solid"/>
                <a:round/>
              </a:ln>
            </p:spPr>
            <p:txBody>
              <a:bodyPr/>
              <a:lstStyle/>
              <a:p/>
            </p:txBody>
          </p:sp>
          <p:sp>
            <p:nvSpPr>
              <p:cNvPr id="62" name="Polygon form 27"/>
              <p:cNvSpPr/>
              <p:nvPr/>
            </p:nvSpPr>
            <p:spPr>
              <a:xfrm>
                <a:off x="3966020" y="3565105"/>
                <a:ext cx="300001" cy="285415"/>
              </a:xfrm>
              <a:custGeom>
                <a:avLst/>
                <a:gdLst/>
                <a:ahLst/>
                <a:cxnLst/>
                <a:rect l="0" t="0" r="0" b="0"/>
                <a:pathLst>
                  <a:path w="300001" h="285415">
                    <a:moveTo>
                      <a:pt x="36394" y="278675"/>
                    </a:moveTo>
                    <a:lnTo>
                      <a:pt x="36792" y="262152"/>
                    </a:lnTo>
                    <a:lnTo>
                      <a:pt x="14249" y="256688"/>
                    </a:lnTo>
                    <a:lnTo>
                      <a:pt x="13626" y="245014"/>
                    </a:lnTo>
                    <a:lnTo>
                      <a:pt x="2623" y="229262"/>
                    </a:lnTo>
                    <a:lnTo>
                      <a:pt x="0" y="218274"/>
                    </a:lnTo>
                    <a:lnTo>
                      <a:pt x="1537" y="206581"/>
                    </a:lnTo>
                    <a:lnTo>
                      <a:pt x="14012" y="205632"/>
                    </a:lnTo>
                    <a:lnTo>
                      <a:pt x="21191" y="197057"/>
                    </a:lnTo>
                    <a:lnTo>
                      <a:pt x="47724" y="194970"/>
                    </a:lnTo>
                    <a:lnTo>
                      <a:pt x="64977" y="191130"/>
                    </a:lnTo>
                    <a:lnTo>
                      <a:pt x="66543" y="176263"/>
                    </a:lnTo>
                    <a:lnTo>
                      <a:pt x="77044" y="160137"/>
                    </a:lnTo>
                    <a:lnTo>
                      <a:pt x="76550" y="104572"/>
                    </a:lnTo>
                    <a:lnTo>
                      <a:pt x="103627" y="93772"/>
                    </a:lnTo>
                    <a:lnTo>
                      <a:pt x="158544" y="46242"/>
                    </a:lnTo>
                    <a:lnTo>
                      <a:pt x="222923" y="0"/>
                    </a:lnTo>
                    <a:lnTo>
                      <a:pt x="253408" y="10273"/>
                    </a:lnTo>
                    <a:lnTo>
                      <a:pt x="264583" y="23484"/>
                    </a:lnTo>
                    <a:lnTo>
                      <a:pt x="277789" y="14439"/>
                    </a:lnTo>
                    <a:lnTo>
                      <a:pt x="283776" y="51962"/>
                    </a:lnTo>
                    <a:lnTo>
                      <a:pt x="291164" y="58208"/>
                    </a:lnTo>
                    <a:lnTo>
                      <a:pt x="291730" y="65889"/>
                    </a:lnTo>
                    <a:lnTo>
                      <a:pt x="300001" y="74131"/>
                    </a:lnTo>
                    <a:lnTo>
                      <a:pt x="296160" y="84550"/>
                    </a:lnTo>
                    <a:lnTo>
                      <a:pt x="290210" y="133605"/>
                    </a:lnTo>
                    <a:lnTo>
                      <a:pt x="290042" y="165030"/>
                    </a:lnTo>
                    <a:lnTo>
                      <a:pt x="265827" y="187897"/>
                    </a:lnTo>
                    <a:lnTo>
                      <a:pt x="258098" y="219737"/>
                    </a:lnTo>
                    <a:lnTo>
                      <a:pt x="266391" y="228659"/>
                    </a:lnTo>
                    <a:lnTo>
                      <a:pt x="266651" y="244196"/>
                    </a:lnTo>
                    <a:lnTo>
                      <a:pt x="279181" y="244715"/>
                    </a:lnTo>
                    <a:lnTo>
                      <a:pt x="277450" y="256098"/>
                    </a:lnTo>
                    <a:lnTo>
                      <a:pt x="271962" y="257500"/>
                    </a:lnTo>
                    <a:lnTo>
                      <a:pt x="271474" y="265191"/>
                    </a:lnTo>
                    <a:lnTo>
                      <a:pt x="267848" y="265735"/>
                    </a:lnTo>
                    <a:lnTo>
                      <a:pt x="254151" y="239330"/>
                    </a:lnTo>
                    <a:lnTo>
                      <a:pt x="249553" y="238382"/>
                    </a:lnTo>
                    <a:lnTo>
                      <a:pt x="234522" y="251920"/>
                    </a:lnTo>
                    <a:lnTo>
                      <a:pt x="219290" y="244911"/>
                    </a:lnTo>
                    <a:lnTo>
                      <a:pt x="208762" y="243527"/>
                    </a:lnTo>
                    <a:lnTo>
                      <a:pt x="203179" y="246929"/>
                    </a:lnTo>
                    <a:lnTo>
                      <a:pt x="191723" y="246222"/>
                    </a:lnTo>
                    <a:lnTo>
                      <a:pt x="180337" y="256531"/>
                    </a:lnTo>
                    <a:lnTo>
                      <a:pt x="170380" y="257139"/>
                    </a:lnTo>
                    <a:lnTo>
                      <a:pt x="146603" y="244705"/>
                    </a:lnTo>
                    <a:lnTo>
                      <a:pt x="137410" y="250644"/>
                    </a:lnTo>
                    <a:lnTo>
                      <a:pt x="127440" y="250247"/>
                    </a:lnTo>
                    <a:lnTo>
                      <a:pt x="120036" y="241143"/>
                    </a:lnTo>
                    <a:lnTo>
                      <a:pt x="100404" y="232164"/>
                    </a:lnTo>
                    <a:lnTo>
                      <a:pt x="79460" y="235043"/>
                    </a:lnTo>
                    <a:lnTo>
                      <a:pt x="74410" y="240266"/>
                    </a:lnTo>
                    <a:lnTo>
                      <a:pt x="71739" y="254143"/>
                    </a:lnTo>
                    <a:lnTo>
                      <a:pt x="66187" y="263875"/>
                    </a:lnTo>
                    <a:lnTo>
                      <a:pt x="64925" y="285415"/>
                    </a:lnTo>
                    <a:lnTo>
                      <a:pt x="49951" y="271540"/>
                    </a:lnTo>
                    <a:lnTo>
                      <a:pt x="42940" y="271606"/>
                    </a:lnTo>
                    <a:lnTo>
                      <a:pt x="36394" y="278675"/>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63" name="Polygon form 28"/>
              <p:cNvSpPr/>
              <p:nvPr/>
            </p:nvSpPr>
            <p:spPr>
              <a:xfrm>
                <a:off x="4013267" y="3797268"/>
                <a:ext cx="232141" cy="232236"/>
              </a:xfrm>
              <a:custGeom>
                <a:avLst/>
                <a:gdLst/>
                <a:ahLst/>
                <a:cxnLst/>
                <a:rect l="0" t="0" r="0" b="0"/>
                <a:pathLst>
                  <a:path w="232141" h="232236">
                    <a:moveTo>
                      <a:pt x="114560" y="219394"/>
                    </a:moveTo>
                    <a:lnTo>
                      <a:pt x="94124" y="228090"/>
                    </a:lnTo>
                    <a:lnTo>
                      <a:pt x="86637" y="226825"/>
                    </a:lnTo>
                    <a:lnTo>
                      <a:pt x="79072" y="232236"/>
                    </a:lnTo>
                    <a:lnTo>
                      <a:pt x="63297" y="231716"/>
                    </a:lnTo>
                    <a:lnTo>
                      <a:pt x="52703" y="216627"/>
                    </a:lnTo>
                    <a:lnTo>
                      <a:pt x="46166" y="199165"/>
                    </a:lnTo>
                    <a:lnTo>
                      <a:pt x="32176" y="183274"/>
                    </a:lnTo>
                    <a:lnTo>
                      <a:pt x="17379" y="183578"/>
                    </a:lnTo>
                    <a:lnTo>
                      <a:pt x="0" y="183571"/>
                    </a:lnTo>
                    <a:lnTo>
                      <a:pt x="1053" y="144682"/>
                    </a:lnTo>
                    <a:lnTo>
                      <a:pt x="521" y="129336"/>
                    </a:lnTo>
                    <a:lnTo>
                      <a:pt x="4186" y="114117"/>
                    </a:lnTo>
                    <a:lnTo>
                      <a:pt x="10213" y="106719"/>
                    </a:lnTo>
                    <a:lnTo>
                      <a:pt x="19681" y="91778"/>
                    </a:lnTo>
                    <a:lnTo>
                      <a:pt x="17590" y="85290"/>
                    </a:lnTo>
                    <a:lnTo>
                      <a:pt x="21414" y="75576"/>
                    </a:lnTo>
                    <a:lnTo>
                      <a:pt x="16949" y="61267"/>
                    </a:lnTo>
                    <a:lnTo>
                      <a:pt x="17678" y="53251"/>
                    </a:lnTo>
                    <a:lnTo>
                      <a:pt x="18939" y="31712"/>
                    </a:lnTo>
                    <a:lnTo>
                      <a:pt x="24492" y="21980"/>
                    </a:lnTo>
                    <a:lnTo>
                      <a:pt x="27163" y="8102"/>
                    </a:lnTo>
                    <a:lnTo>
                      <a:pt x="32213" y="2880"/>
                    </a:lnTo>
                    <a:lnTo>
                      <a:pt x="53157" y="0"/>
                    </a:lnTo>
                    <a:lnTo>
                      <a:pt x="72789" y="8979"/>
                    </a:lnTo>
                    <a:lnTo>
                      <a:pt x="80193" y="18083"/>
                    </a:lnTo>
                    <a:lnTo>
                      <a:pt x="90163" y="18480"/>
                    </a:lnTo>
                    <a:lnTo>
                      <a:pt x="99356" y="12542"/>
                    </a:lnTo>
                    <a:lnTo>
                      <a:pt x="123133" y="24976"/>
                    </a:lnTo>
                    <a:lnTo>
                      <a:pt x="133090" y="24367"/>
                    </a:lnTo>
                    <a:lnTo>
                      <a:pt x="144476" y="14058"/>
                    </a:lnTo>
                    <a:lnTo>
                      <a:pt x="155931" y="14766"/>
                    </a:lnTo>
                    <a:lnTo>
                      <a:pt x="161515" y="11364"/>
                    </a:lnTo>
                    <a:lnTo>
                      <a:pt x="172043" y="12748"/>
                    </a:lnTo>
                    <a:lnTo>
                      <a:pt x="187275" y="19756"/>
                    </a:lnTo>
                    <a:lnTo>
                      <a:pt x="202306" y="6219"/>
                    </a:lnTo>
                    <a:lnTo>
                      <a:pt x="206903" y="7167"/>
                    </a:lnTo>
                    <a:lnTo>
                      <a:pt x="220600" y="33571"/>
                    </a:lnTo>
                    <a:lnTo>
                      <a:pt x="224226" y="33028"/>
                    </a:lnTo>
                    <a:lnTo>
                      <a:pt x="232141" y="42627"/>
                    </a:lnTo>
                    <a:lnTo>
                      <a:pt x="230086" y="46996"/>
                    </a:lnTo>
                    <a:lnTo>
                      <a:pt x="229192" y="55027"/>
                    </a:lnTo>
                    <a:lnTo>
                      <a:pt x="212990" y="73757"/>
                    </a:lnTo>
                    <a:lnTo>
                      <a:pt x="208031" y="89182"/>
                    </a:lnTo>
                    <a:lnTo>
                      <a:pt x="205431" y="101740"/>
                    </a:lnTo>
                    <a:lnTo>
                      <a:pt x="201335" y="107130"/>
                    </a:lnTo>
                    <a:lnTo>
                      <a:pt x="197573" y="124041"/>
                    </a:lnTo>
                    <a:lnTo>
                      <a:pt x="187171" y="134006"/>
                    </a:lnTo>
                    <a:lnTo>
                      <a:pt x="184246" y="146229"/>
                    </a:lnTo>
                    <a:lnTo>
                      <a:pt x="179918" y="155960"/>
                    </a:lnTo>
                    <a:lnTo>
                      <a:pt x="178164" y="165999"/>
                    </a:lnTo>
                    <a:lnTo>
                      <a:pt x="164705" y="174151"/>
                    </a:lnTo>
                    <a:lnTo>
                      <a:pt x="153580" y="164243"/>
                    </a:lnTo>
                    <a:lnTo>
                      <a:pt x="146123" y="164652"/>
                    </a:lnTo>
                    <a:lnTo>
                      <a:pt x="134494" y="178792"/>
                    </a:lnTo>
                    <a:lnTo>
                      <a:pt x="128794" y="179014"/>
                    </a:lnTo>
                    <a:lnTo>
                      <a:pt x="119553" y="202310"/>
                    </a:lnTo>
                    <a:lnTo>
                      <a:pt x="114560" y="219394"/>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64" name="Polygon form 29"/>
              <p:cNvSpPr/>
              <p:nvPr/>
            </p:nvSpPr>
            <p:spPr>
              <a:xfrm>
                <a:off x="2249049" y="3752853"/>
                <a:ext cx="94510" cy="108009"/>
              </a:xfrm>
              <a:custGeom>
                <a:avLst/>
                <a:gdLst/>
                <a:ahLst/>
                <a:cxnLst/>
                <a:rect l="0" t="0" r="0" b="0"/>
                <a:pathLst>
                  <a:path w="94510" h="108009">
                    <a:moveTo>
                      <a:pt x="33127" y="98294"/>
                    </a:moveTo>
                    <a:lnTo>
                      <a:pt x="27174" y="90213"/>
                    </a:lnTo>
                    <a:lnTo>
                      <a:pt x="19120" y="79844"/>
                    </a:lnTo>
                    <a:lnTo>
                      <a:pt x="15755" y="71235"/>
                    </a:lnTo>
                    <a:lnTo>
                      <a:pt x="8428" y="63123"/>
                    </a:lnTo>
                    <a:lnTo>
                      <a:pt x="0" y="51493"/>
                    </a:lnTo>
                    <a:lnTo>
                      <a:pt x="2632" y="47621"/>
                    </a:lnTo>
                    <a:lnTo>
                      <a:pt x="5391" y="51497"/>
                    </a:lnTo>
                    <a:lnTo>
                      <a:pt x="7080" y="49738"/>
                    </a:lnTo>
                    <a:lnTo>
                      <a:pt x="13260" y="48819"/>
                    </a:lnTo>
                    <a:lnTo>
                      <a:pt x="16394" y="43088"/>
                    </a:lnTo>
                    <a:lnTo>
                      <a:pt x="19278" y="42922"/>
                    </a:lnTo>
                    <a:lnTo>
                      <a:pt x="20401" y="30474"/>
                    </a:lnTo>
                    <a:lnTo>
                      <a:pt x="25034" y="29972"/>
                    </a:lnTo>
                    <a:lnTo>
                      <a:pt x="29068" y="30238"/>
                    </a:lnTo>
                    <a:lnTo>
                      <a:pt x="34117" y="23582"/>
                    </a:lnTo>
                    <a:lnTo>
                      <a:pt x="39207" y="28811"/>
                    </a:lnTo>
                    <a:lnTo>
                      <a:pt x="41596" y="25720"/>
                    </a:lnTo>
                    <a:lnTo>
                      <a:pt x="45558" y="22792"/>
                    </a:lnTo>
                    <a:lnTo>
                      <a:pt x="53229" y="15984"/>
                    </a:lnTo>
                    <a:lnTo>
                      <a:pt x="54226" y="10795"/>
                    </a:lnTo>
                    <a:lnTo>
                      <a:pt x="56060" y="11054"/>
                    </a:lnTo>
                    <a:lnTo>
                      <a:pt x="59343" y="5079"/>
                    </a:lnTo>
                    <a:lnTo>
                      <a:pt x="61468" y="4390"/>
                    </a:lnTo>
                    <a:lnTo>
                      <a:pt x="64268" y="8317"/>
                    </a:lnTo>
                    <a:lnTo>
                      <a:pt x="68007" y="9541"/>
                    </a:lnTo>
                    <a:lnTo>
                      <a:pt x="72715" y="6428"/>
                    </a:lnTo>
                    <a:lnTo>
                      <a:pt x="77620" y="6518"/>
                    </a:lnTo>
                    <a:lnTo>
                      <a:pt x="84788" y="3372"/>
                    </a:lnTo>
                    <a:lnTo>
                      <a:pt x="87928" y="0"/>
                    </a:lnTo>
                    <a:lnTo>
                      <a:pt x="94510" y="660"/>
                    </a:lnTo>
                    <a:lnTo>
                      <a:pt x="92524" y="3041"/>
                    </a:lnTo>
                    <a:lnTo>
                      <a:pt x="90807" y="8642"/>
                    </a:lnTo>
                    <a:lnTo>
                      <a:pt x="91618" y="17901"/>
                    </a:lnTo>
                    <a:lnTo>
                      <a:pt x="86077" y="26390"/>
                    </a:lnTo>
                    <a:lnTo>
                      <a:pt x="82763" y="36489"/>
                    </a:lnTo>
                    <a:lnTo>
                      <a:pt x="80830" y="47584"/>
                    </a:lnTo>
                    <a:lnTo>
                      <a:pt x="81135" y="54102"/>
                    </a:lnTo>
                    <a:lnTo>
                      <a:pt x="80367" y="65462"/>
                    </a:lnTo>
                    <a:lnTo>
                      <a:pt x="77117" y="67885"/>
                    </a:lnTo>
                    <a:lnTo>
                      <a:pt x="74145" y="78640"/>
                    </a:lnTo>
                    <a:lnTo>
                      <a:pt x="74799" y="85325"/>
                    </a:lnTo>
                    <a:lnTo>
                      <a:pt x="70149" y="91708"/>
                    </a:lnTo>
                    <a:lnTo>
                      <a:pt x="70384" y="98543"/>
                    </a:lnTo>
                    <a:lnTo>
                      <a:pt x="72981" y="102736"/>
                    </a:lnTo>
                    <a:lnTo>
                      <a:pt x="67788" y="108009"/>
                    </a:lnTo>
                    <a:lnTo>
                      <a:pt x="62174" y="106236"/>
                    </a:lnTo>
                    <a:lnTo>
                      <a:pt x="59432" y="100988"/>
                    </a:lnTo>
                    <a:lnTo>
                      <a:pt x="53437" y="98779"/>
                    </a:lnTo>
                    <a:lnTo>
                      <a:pt x="48618" y="101998"/>
                    </a:lnTo>
                    <a:lnTo>
                      <a:pt x="36400" y="95091"/>
                    </a:lnTo>
                    <a:lnTo>
                      <a:pt x="33127" y="98294"/>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65" name="Polygon form 30"/>
              <p:cNvSpPr/>
              <p:nvPr/>
            </p:nvSpPr>
            <p:spPr>
              <a:xfrm>
                <a:off x="4014375" y="2840716"/>
                <a:ext cx="59814" cy="65293"/>
              </a:xfrm>
              <a:custGeom>
                <a:avLst/>
                <a:gdLst/>
                <a:ahLst/>
                <a:cxnLst/>
                <a:rect l="0" t="0" r="0" b="0"/>
                <a:pathLst>
                  <a:path w="59814" h="65293">
                    <a:moveTo>
                      <a:pt x="43136" y="0"/>
                    </a:moveTo>
                    <a:lnTo>
                      <a:pt x="56467" y="616"/>
                    </a:lnTo>
                    <a:lnTo>
                      <a:pt x="59814" y="8758"/>
                    </a:lnTo>
                    <a:lnTo>
                      <a:pt x="56724" y="30868"/>
                    </a:lnTo>
                    <a:lnTo>
                      <a:pt x="52975" y="39970"/>
                    </a:lnTo>
                    <a:lnTo>
                      <a:pt x="43213" y="40025"/>
                    </a:lnTo>
                    <a:lnTo>
                      <a:pt x="46852" y="65293"/>
                    </a:lnTo>
                    <a:lnTo>
                      <a:pt x="37656" y="59697"/>
                    </a:lnTo>
                    <a:lnTo>
                      <a:pt x="26990" y="49176"/>
                    </a:lnTo>
                    <a:lnTo>
                      <a:pt x="11995" y="54239"/>
                    </a:lnTo>
                    <a:lnTo>
                      <a:pt x="0" y="52377"/>
                    </a:lnTo>
                    <a:lnTo>
                      <a:pt x="8263" y="45726"/>
                    </a:lnTo>
                    <a:lnTo>
                      <a:pt x="21523" y="10188"/>
                    </a:lnTo>
                    <a:lnTo>
                      <a:pt x="43136" y="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66" name="Polygon form 31"/>
              <p:cNvSpPr/>
              <p:nvPr/>
            </p:nvSpPr>
            <p:spPr>
              <a:xfrm>
                <a:off x="4033261" y="2410435"/>
                <a:ext cx="334539" cy="319991"/>
              </a:xfrm>
              <a:custGeom>
                <a:avLst/>
                <a:gdLst/>
                <a:ahLst/>
                <a:cxnLst/>
                <a:rect l="0" t="0" r="0" b="0"/>
                <a:pathLst>
                  <a:path w="334539" h="319991">
                    <a:moveTo>
                      <a:pt x="286330" y="0"/>
                    </a:moveTo>
                    <a:lnTo>
                      <a:pt x="331033" y="16595"/>
                    </a:lnTo>
                    <a:lnTo>
                      <a:pt x="316219" y="23436"/>
                    </a:lnTo>
                    <a:lnTo>
                      <a:pt x="334539" y="38163"/>
                    </a:lnTo>
                    <a:lnTo>
                      <a:pt x="314844" y="48356"/>
                    </a:lnTo>
                    <a:lnTo>
                      <a:pt x="304790" y="50825"/>
                    </a:lnTo>
                    <a:lnTo>
                      <a:pt x="306049" y="33831"/>
                    </a:lnTo>
                    <a:lnTo>
                      <a:pt x="286990" y="24663"/>
                    </a:lnTo>
                    <a:lnTo>
                      <a:pt x="268814" y="33255"/>
                    </a:lnTo>
                    <a:lnTo>
                      <a:pt x="266428" y="51024"/>
                    </a:lnTo>
                    <a:lnTo>
                      <a:pt x="256163" y="61933"/>
                    </a:lnTo>
                    <a:lnTo>
                      <a:pt x="240723" y="56401"/>
                    </a:lnTo>
                    <a:lnTo>
                      <a:pt x="223688" y="57920"/>
                    </a:lnTo>
                    <a:lnTo>
                      <a:pt x="206611" y="45456"/>
                    </a:lnTo>
                    <a:lnTo>
                      <a:pt x="199892" y="51953"/>
                    </a:lnTo>
                    <a:lnTo>
                      <a:pt x="191883" y="53080"/>
                    </a:lnTo>
                    <a:lnTo>
                      <a:pt x="192679" y="68957"/>
                    </a:lnTo>
                    <a:lnTo>
                      <a:pt x="166935" y="65490"/>
                    </a:lnTo>
                    <a:lnTo>
                      <a:pt x="165453" y="78957"/>
                    </a:lnTo>
                    <a:lnTo>
                      <a:pt x="152545" y="79059"/>
                    </a:lnTo>
                    <a:lnTo>
                      <a:pt x="146017" y="96326"/>
                    </a:lnTo>
                    <a:lnTo>
                      <a:pt x="135784" y="123224"/>
                    </a:lnTo>
                    <a:lnTo>
                      <a:pt x="118061" y="157397"/>
                    </a:lnTo>
                    <a:lnTo>
                      <a:pt x="124098" y="165576"/>
                    </a:lnTo>
                    <a:lnTo>
                      <a:pt x="120194" y="175188"/>
                    </a:lnTo>
                    <a:lnTo>
                      <a:pt x="106044" y="174927"/>
                    </a:lnTo>
                    <a:lnTo>
                      <a:pt x="98898" y="197639"/>
                    </a:lnTo>
                    <a:lnTo>
                      <a:pt x="102685" y="229658"/>
                    </a:lnTo>
                    <a:lnTo>
                      <a:pt x="113185" y="241787"/>
                    </a:lnTo>
                    <a:lnTo>
                      <a:pt x="110846" y="270192"/>
                    </a:lnTo>
                    <a:lnTo>
                      <a:pt x="99765" y="286847"/>
                    </a:lnTo>
                    <a:lnTo>
                      <a:pt x="94202" y="300807"/>
                    </a:lnTo>
                    <a:lnTo>
                      <a:pt x="82960" y="286091"/>
                    </a:lnTo>
                    <a:lnTo>
                      <a:pt x="54865" y="314212"/>
                    </a:lnTo>
                    <a:lnTo>
                      <a:pt x="34804" y="319991"/>
                    </a:lnTo>
                    <a:lnTo>
                      <a:pt x="13177" y="307812"/>
                    </a:lnTo>
                    <a:lnTo>
                      <a:pt x="6774" y="281901"/>
                    </a:lnTo>
                    <a:lnTo>
                      <a:pt x="0" y="226249"/>
                    </a:lnTo>
                    <a:lnTo>
                      <a:pt x="12773" y="210667"/>
                    </a:lnTo>
                    <a:lnTo>
                      <a:pt x="49742" y="190191"/>
                    </a:lnTo>
                    <a:lnTo>
                      <a:pt x="76014" y="165079"/>
                    </a:lnTo>
                    <a:lnTo>
                      <a:pt x="98577" y="131229"/>
                    </a:lnTo>
                    <a:lnTo>
                      <a:pt x="126188" y="84310"/>
                    </a:lnTo>
                    <a:lnTo>
                      <a:pt x="146205" y="65885"/>
                    </a:lnTo>
                    <a:lnTo>
                      <a:pt x="177717" y="35141"/>
                    </a:lnTo>
                    <a:lnTo>
                      <a:pt x="204321" y="24130"/>
                    </a:lnTo>
                    <a:lnTo>
                      <a:pt x="225870" y="25020"/>
                    </a:lnTo>
                    <a:lnTo>
                      <a:pt x="241156" y="4714"/>
                    </a:lnTo>
                    <a:lnTo>
                      <a:pt x="264665" y="5295"/>
                    </a:lnTo>
                    <a:lnTo>
                      <a:pt x="286330" y="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67" name="Polygon form 32"/>
              <p:cNvSpPr/>
              <p:nvPr/>
            </p:nvSpPr>
            <p:spPr>
              <a:xfrm>
                <a:off x="4072410" y="2199664"/>
                <a:ext cx="122893" cy="79070"/>
              </a:xfrm>
              <a:custGeom>
                <a:avLst/>
                <a:gdLst/>
                <a:ahLst/>
                <a:cxnLst/>
                <a:rect l="0" t="0" r="0" b="0"/>
                <a:pathLst>
                  <a:path w="122893" h="79070">
                    <a:moveTo>
                      <a:pt x="83483" y="8238"/>
                    </a:moveTo>
                    <a:lnTo>
                      <a:pt x="122893" y="25674"/>
                    </a:lnTo>
                    <a:lnTo>
                      <a:pt x="97429" y="35516"/>
                    </a:lnTo>
                    <a:lnTo>
                      <a:pt x="94792" y="53293"/>
                    </a:lnTo>
                    <a:lnTo>
                      <a:pt x="85820" y="57960"/>
                    </a:lnTo>
                    <a:lnTo>
                      <a:pt x="84021" y="77964"/>
                    </a:lnTo>
                    <a:lnTo>
                      <a:pt x="70384" y="79070"/>
                    </a:lnTo>
                    <a:lnTo>
                      <a:pt x="43648" y="64651"/>
                    </a:lnTo>
                    <a:lnTo>
                      <a:pt x="52589" y="55990"/>
                    </a:lnTo>
                    <a:lnTo>
                      <a:pt x="34805" y="49191"/>
                    </a:lnTo>
                    <a:lnTo>
                      <a:pt x="10645" y="29034"/>
                    </a:lnTo>
                    <a:lnTo>
                      <a:pt x="0" y="10227"/>
                    </a:lnTo>
                    <a:lnTo>
                      <a:pt x="28002" y="1374"/>
                    </a:lnTo>
                    <a:lnTo>
                      <a:pt x="35097" y="9751"/>
                    </a:lnTo>
                    <a:lnTo>
                      <a:pt x="50312" y="9269"/>
                    </a:lnTo>
                    <a:lnTo>
                      <a:pt x="52976" y="1003"/>
                    </a:lnTo>
                    <a:lnTo>
                      <a:pt x="68417" y="0"/>
                    </a:lnTo>
                    <a:lnTo>
                      <a:pt x="83483" y="8238"/>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68" name="Polygon form 33"/>
              <p:cNvSpPr/>
              <p:nvPr/>
            </p:nvSpPr>
            <p:spPr>
              <a:xfrm>
                <a:off x="4143589" y="2184298"/>
                <a:ext cx="107560" cy="30141"/>
              </a:xfrm>
              <a:custGeom>
                <a:avLst/>
                <a:gdLst/>
                <a:ahLst/>
                <a:cxnLst/>
                <a:rect l="0" t="0" r="0" b="0"/>
                <a:pathLst>
                  <a:path w="107560" h="30141">
                    <a:moveTo>
                      <a:pt x="84451" y="5578"/>
                    </a:moveTo>
                    <a:lnTo>
                      <a:pt x="107560" y="13625"/>
                    </a:lnTo>
                    <a:lnTo>
                      <a:pt x="95559" y="26801"/>
                    </a:lnTo>
                    <a:lnTo>
                      <a:pt x="65162" y="30141"/>
                    </a:lnTo>
                    <a:lnTo>
                      <a:pt x="32524" y="26596"/>
                    </a:lnTo>
                    <a:lnTo>
                      <a:pt x="29169" y="20002"/>
                    </a:lnTo>
                    <a:lnTo>
                      <a:pt x="13785" y="19775"/>
                    </a:lnTo>
                    <a:lnTo>
                      <a:pt x="0" y="8876"/>
                    </a:lnTo>
                    <a:lnTo>
                      <a:pt x="31002" y="1771"/>
                    </a:lnTo>
                    <a:lnTo>
                      <a:pt x="47591" y="7337"/>
                    </a:lnTo>
                    <a:lnTo>
                      <a:pt x="56384" y="0"/>
                    </a:lnTo>
                    <a:lnTo>
                      <a:pt x="84451" y="5578"/>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69" name="Polygon form 34"/>
              <p:cNvSpPr/>
              <p:nvPr/>
            </p:nvSpPr>
            <p:spPr>
              <a:xfrm>
                <a:off x="4191096" y="2237144"/>
                <a:ext cx="45784" cy="24321"/>
              </a:xfrm>
              <a:custGeom>
                <a:avLst/>
                <a:gdLst/>
                <a:ahLst/>
                <a:cxnLst/>
                <a:rect l="0" t="0" r="0" b="0"/>
                <a:pathLst>
                  <a:path w="45784" h="24321">
                    <a:moveTo>
                      <a:pt x="45784" y="14079"/>
                    </a:moveTo>
                    <a:lnTo>
                      <a:pt x="23183" y="24321"/>
                    </a:lnTo>
                    <a:lnTo>
                      <a:pt x="2092" y="19055"/>
                    </a:lnTo>
                    <a:lnTo>
                      <a:pt x="8429" y="12740"/>
                    </a:lnTo>
                    <a:lnTo>
                      <a:pt x="0" y="5163"/>
                    </a:lnTo>
                    <a:lnTo>
                      <a:pt x="21751" y="0"/>
                    </a:lnTo>
                    <a:lnTo>
                      <a:pt x="28356" y="8939"/>
                    </a:lnTo>
                    <a:lnTo>
                      <a:pt x="45784" y="14079"/>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70" name="Polygon form 35"/>
              <p:cNvSpPr/>
              <p:nvPr/>
            </p:nvSpPr>
            <p:spPr>
              <a:xfrm>
                <a:off x="5453198" y="3367847"/>
                <a:ext cx="162978" cy="96339"/>
              </a:xfrm>
              <a:custGeom>
                <a:avLst/>
                <a:gdLst/>
                <a:ahLst/>
                <a:cxnLst/>
                <a:rect l="0" t="0" r="0" b="0"/>
                <a:pathLst>
                  <a:path w="162978" h="96339">
                    <a:moveTo>
                      <a:pt x="154611" y="58502"/>
                    </a:moveTo>
                    <a:lnTo>
                      <a:pt x="156027" y="69383"/>
                    </a:lnTo>
                    <a:lnTo>
                      <a:pt x="162596" y="85250"/>
                    </a:lnTo>
                    <a:lnTo>
                      <a:pt x="162978" y="95289"/>
                    </a:lnTo>
                    <a:lnTo>
                      <a:pt x="147546" y="96339"/>
                    </a:lnTo>
                    <a:lnTo>
                      <a:pt x="123658" y="91386"/>
                    </a:lnTo>
                    <a:lnTo>
                      <a:pt x="108665" y="89571"/>
                    </a:lnTo>
                    <a:lnTo>
                      <a:pt x="94776" y="77250"/>
                    </a:lnTo>
                    <a:lnTo>
                      <a:pt x="68475" y="75016"/>
                    </a:lnTo>
                    <a:lnTo>
                      <a:pt x="40790" y="61947"/>
                    </a:lnTo>
                    <a:lnTo>
                      <a:pt x="20277" y="50388"/>
                    </a:lnTo>
                    <a:lnTo>
                      <a:pt x="0" y="41659"/>
                    </a:lnTo>
                    <a:lnTo>
                      <a:pt x="1257" y="18065"/>
                    </a:lnTo>
                    <a:lnTo>
                      <a:pt x="9969" y="6281"/>
                    </a:lnTo>
                    <a:lnTo>
                      <a:pt x="15988" y="0"/>
                    </a:lnTo>
                    <a:lnTo>
                      <a:pt x="32762" y="7041"/>
                    </a:lnTo>
                    <a:lnTo>
                      <a:pt x="55676" y="22517"/>
                    </a:lnTo>
                    <a:lnTo>
                      <a:pt x="66981" y="25665"/>
                    </a:lnTo>
                    <a:lnTo>
                      <a:pt x="76347" y="37412"/>
                    </a:lnTo>
                    <a:lnTo>
                      <a:pt x="92000" y="41740"/>
                    </a:lnTo>
                    <a:lnTo>
                      <a:pt x="109901" y="52107"/>
                    </a:lnTo>
                    <a:lnTo>
                      <a:pt x="132360" y="56972"/>
                    </a:lnTo>
                    <a:lnTo>
                      <a:pt x="154611" y="58502"/>
                    </a:lnTo>
                    <a:close/>
                  </a:path>
                </a:pathLst>
              </a:custGeom>
              <a:solidFill>
                <a:srgbClr val="41AB5D">
                  <a:alpha val="100000"/>
                </a:srgbClr>
              </a:solidFill>
              <a:ln w="5400">
                <a:solidFill>
                  <a:srgbClr val="7F7F7F">
                    <a:alpha val="100000"/>
                  </a:srgbClr>
                </a:solidFill>
                <a:prstDash val="solid"/>
                <a:round/>
              </a:ln>
            </p:spPr>
            <p:txBody>
              <a:bodyPr/>
              <a:lstStyle/>
              <a:p/>
            </p:txBody>
          </p:sp>
          <p:sp>
            <p:nvSpPr>
              <p:cNvPr id="71" name="Polygon form 36"/>
              <p:cNvSpPr/>
              <p:nvPr/>
            </p:nvSpPr>
            <p:spPr>
              <a:xfrm>
                <a:off x="4001362" y="2889892"/>
                <a:ext cx="59865" cy="46893"/>
              </a:xfrm>
              <a:custGeom>
                <a:avLst/>
                <a:gdLst/>
                <a:ahLst/>
                <a:cxnLst/>
                <a:rect l="0" t="0" r="0" b="0"/>
                <a:pathLst>
                  <a:path w="59865" h="46893">
                    <a:moveTo>
                      <a:pt x="13012" y="3200"/>
                    </a:moveTo>
                    <a:lnTo>
                      <a:pt x="25008" y="5062"/>
                    </a:lnTo>
                    <a:lnTo>
                      <a:pt x="40003" y="0"/>
                    </a:lnTo>
                    <a:lnTo>
                      <a:pt x="50668" y="10520"/>
                    </a:lnTo>
                    <a:lnTo>
                      <a:pt x="59865" y="16117"/>
                    </a:lnTo>
                    <a:lnTo>
                      <a:pt x="58566" y="32426"/>
                    </a:lnTo>
                    <a:lnTo>
                      <a:pt x="54297" y="33354"/>
                    </a:lnTo>
                    <a:lnTo>
                      <a:pt x="52942" y="46893"/>
                    </a:lnTo>
                    <a:lnTo>
                      <a:pt x="38146" y="35948"/>
                    </a:lnTo>
                    <a:lnTo>
                      <a:pt x="29718" y="37854"/>
                    </a:lnTo>
                    <a:lnTo>
                      <a:pt x="17956" y="26512"/>
                    </a:lnTo>
                    <a:lnTo>
                      <a:pt x="10130" y="16848"/>
                    </a:lnTo>
                    <a:lnTo>
                      <a:pt x="2499" y="16466"/>
                    </a:lnTo>
                    <a:lnTo>
                      <a:pt x="0" y="7987"/>
                    </a:lnTo>
                    <a:lnTo>
                      <a:pt x="13012" y="320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72" name="Polygon form 37"/>
              <p:cNvSpPr/>
              <p:nvPr/>
            </p:nvSpPr>
            <p:spPr>
              <a:xfrm>
                <a:off x="6660509" y="5304564"/>
                <a:ext cx="233459" cy="148617"/>
              </a:xfrm>
              <a:custGeom>
                <a:avLst/>
                <a:gdLst/>
                <a:ahLst/>
                <a:cxnLst/>
                <a:rect l="0" t="0" r="0" b="0"/>
                <a:pathLst>
                  <a:path w="233459" h="148617">
                    <a:moveTo>
                      <a:pt x="219665" y="11797"/>
                    </a:moveTo>
                    <a:lnTo>
                      <a:pt x="213326" y="23260"/>
                    </a:lnTo>
                    <a:lnTo>
                      <a:pt x="233459" y="14615"/>
                    </a:lnTo>
                    <a:lnTo>
                      <a:pt x="227724" y="26514"/>
                    </a:lnTo>
                    <a:lnTo>
                      <a:pt x="217655" y="37527"/>
                    </a:lnTo>
                    <a:lnTo>
                      <a:pt x="201024" y="48553"/>
                    </a:lnTo>
                    <a:lnTo>
                      <a:pt x="173587" y="65830"/>
                    </a:lnTo>
                    <a:lnTo>
                      <a:pt x="156339" y="74783"/>
                    </a:lnTo>
                    <a:lnTo>
                      <a:pt x="149776" y="88197"/>
                    </a:lnTo>
                    <a:lnTo>
                      <a:pt x="138403" y="86352"/>
                    </a:lnTo>
                    <a:lnTo>
                      <a:pt x="116828" y="93634"/>
                    </a:lnTo>
                    <a:lnTo>
                      <a:pt x="96769" y="109604"/>
                    </a:lnTo>
                    <a:lnTo>
                      <a:pt x="63335" y="133693"/>
                    </a:lnTo>
                    <a:lnTo>
                      <a:pt x="41023" y="142803"/>
                    </a:lnTo>
                    <a:lnTo>
                      <a:pt x="26815" y="148617"/>
                    </a:lnTo>
                    <a:lnTo>
                      <a:pt x="14477" y="145589"/>
                    </a:lnTo>
                    <a:lnTo>
                      <a:pt x="13626" y="135558"/>
                    </a:lnTo>
                    <a:lnTo>
                      <a:pt x="0" y="130892"/>
                    </a:lnTo>
                    <a:lnTo>
                      <a:pt x="6627" y="121186"/>
                    </a:lnTo>
                    <a:lnTo>
                      <a:pt x="32358" y="103822"/>
                    </a:lnTo>
                    <a:lnTo>
                      <a:pt x="74302" y="82013"/>
                    </a:lnTo>
                    <a:lnTo>
                      <a:pt x="88190" y="78930"/>
                    </a:lnTo>
                    <a:lnTo>
                      <a:pt x="107770" y="71105"/>
                    </a:lnTo>
                    <a:lnTo>
                      <a:pt x="132820" y="59946"/>
                    </a:lnTo>
                    <a:lnTo>
                      <a:pt x="153996" y="48160"/>
                    </a:lnTo>
                    <a:lnTo>
                      <a:pt x="178191" y="29996"/>
                    </a:lnTo>
                    <a:lnTo>
                      <a:pt x="189759" y="24433"/>
                    </a:lnTo>
                    <a:lnTo>
                      <a:pt x="205012" y="10219"/>
                    </a:lnTo>
                    <a:lnTo>
                      <a:pt x="226238" y="0"/>
                    </a:lnTo>
                    <a:lnTo>
                      <a:pt x="219665" y="11797"/>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74" name="Polygon form 39"/>
              <p:cNvSpPr/>
              <p:nvPr/>
            </p:nvSpPr>
            <p:spPr>
              <a:xfrm>
                <a:off x="4962999" y="3518734"/>
                <a:ext cx="139731" cy="204208"/>
              </a:xfrm>
              <a:custGeom>
                <a:avLst/>
                <a:gdLst/>
                <a:ahLst/>
                <a:cxnLst/>
                <a:rect l="0" t="0" r="0" b="0"/>
                <a:pathLst>
                  <a:path w="139731" h="204208">
                    <a:moveTo>
                      <a:pt x="125669" y="92636"/>
                    </a:moveTo>
                    <a:lnTo>
                      <a:pt x="120675" y="109635"/>
                    </a:lnTo>
                    <a:lnTo>
                      <a:pt x="111817" y="108513"/>
                    </a:lnTo>
                    <a:lnTo>
                      <a:pt x="108554" y="114455"/>
                    </a:lnTo>
                    <a:lnTo>
                      <a:pt x="106976" y="126982"/>
                    </a:lnTo>
                    <a:lnTo>
                      <a:pt x="111263" y="143381"/>
                    </a:lnTo>
                    <a:lnTo>
                      <a:pt x="109794" y="146436"/>
                    </a:lnTo>
                    <a:lnTo>
                      <a:pt x="100926" y="146513"/>
                    </a:lnTo>
                    <a:lnTo>
                      <a:pt x="89918" y="155912"/>
                    </a:lnTo>
                    <a:lnTo>
                      <a:pt x="89333" y="167920"/>
                    </a:lnTo>
                    <a:lnTo>
                      <a:pt x="85467" y="173181"/>
                    </a:lnTo>
                    <a:lnTo>
                      <a:pt x="73436" y="173179"/>
                    </a:lnTo>
                    <a:lnTo>
                      <a:pt x="66508" y="179487"/>
                    </a:lnTo>
                    <a:lnTo>
                      <a:pt x="67598" y="189409"/>
                    </a:lnTo>
                    <a:lnTo>
                      <a:pt x="58903" y="196373"/>
                    </a:lnTo>
                    <a:lnTo>
                      <a:pt x="48003" y="194218"/>
                    </a:lnTo>
                    <a:lnTo>
                      <a:pt x="35840" y="202690"/>
                    </a:lnTo>
                    <a:lnTo>
                      <a:pt x="27021" y="204208"/>
                    </a:lnTo>
                    <a:lnTo>
                      <a:pt x="19102" y="187161"/>
                    </a:lnTo>
                    <a:lnTo>
                      <a:pt x="0" y="146932"/>
                    </a:lnTo>
                    <a:lnTo>
                      <a:pt x="55020" y="121428"/>
                    </a:lnTo>
                    <a:lnTo>
                      <a:pt x="61812" y="72087"/>
                    </a:lnTo>
                    <a:lnTo>
                      <a:pt x="50815" y="54877"/>
                    </a:lnTo>
                    <a:lnTo>
                      <a:pt x="50000" y="44987"/>
                    </a:lnTo>
                    <a:lnTo>
                      <a:pt x="54159" y="34715"/>
                    </a:lnTo>
                    <a:lnTo>
                      <a:pt x="52823" y="24685"/>
                    </a:lnTo>
                    <a:lnTo>
                      <a:pt x="60721" y="19666"/>
                    </a:lnTo>
                    <a:lnTo>
                      <a:pt x="56880" y="16327"/>
                    </a:lnTo>
                    <a:lnTo>
                      <a:pt x="56121" y="314"/>
                    </a:lnTo>
                    <a:lnTo>
                      <a:pt x="65755" y="0"/>
                    </a:lnTo>
                    <a:lnTo>
                      <a:pt x="76696" y="16577"/>
                    </a:lnTo>
                    <a:lnTo>
                      <a:pt x="88568" y="25258"/>
                    </a:lnTo>
                    <a:lnTo>
                      <a:pt x="102944" y="28157"/>
                    </a:lnTo>
                    <a:lnTo>
                      <a:pt x="114835" y="32385"/>
                    </a:lnTo>
                    <a:lnTo>
                      <a:pt x="125444" y="46292"/>
                    </a:lnTo>
                    <a:lnTo>
                      <a:pt x="131737" y="54350"/>
                    </a:lnTo>
                    <a:lnTo>
                      <a:pt x="138994" y="57317"/>
                    </a:lnTo>
                    <a:lnTo>
                      <a:pt x="139731" y="62809"/>
                    </a:lnTo>
                    <a:lnTo>
                      <a:pt x="134811" y="77628"/>
                    </a:lnTo>
                    <a:lnTo>
                      <a:pt x="132687" y="84599"/>
                    </a:lnTo>
                    <a:lnTo>
                      <a:pt x="125669" y="92636"/>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75" name="Polygon form 40"/>
              <p:cNvSpPr/>
              <p:nvPr/>
            </p:nvSpPr>
            <p:spPr>
              <a:xfrm>
                <a:off x="5018408" y="3482650"/>
                <a:ext cx="6833" cy="16760"/>
              </a:xfrm>
              <a:custGeom>
                <a:avLst/>
                <a:gdLst/>
                <a:ahLst/>
                <a:cxnLst/>
                <a:rect l="0" t="0" r="0" b="0"/>
                <a:pathLst>
                  <a:path w="6833" h="16760">
                    <a:moveTo>
                      <a:pt x="6638" y="12252"/>
                    </a:moveTo>
                    <a:lnTo>
                      <a:pt x="4866" y="16760"/>
                    </a:lnTo>
                    <a:lnTo>
                      <a:pt x="0" y="8482"/>
                    </a:lnTo>
                    <a:lnTo>
                      <a:pt x="4174" y="0"/>
                    </a:lnTo>
                    <a:lnTo>
                      <a:pt x="6833" y="2074"/>
                    </a:lnTo>
                    <a:lnTo>
                      <a:pt x="6638" y="12252"/>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76" name="Polygon form 41"/>
              <p:cNvSpPr/>
              <p:nvPr/>
            </p:nvSpPr>
            <p:spPr>
              <a:xfrm>
                <a:off x="5091967" y="3206566"/>
                <a:ext cx="274402" cy="337014"/>
              </a:xfrm>
              <a:custGeom>
                <a:avLst/>
                <a:gdLst/>
                <a:ahLst/>
                <a:cxnLst/>
                <a:rect l="0" t="0" r="0" b="0"/>
                <a:pathLst>
                  <a:path w="274402" h="337014">
                    <a:moveTo>
                      <a:pt x="214377" y="0"/>
                    </a:moveTo>
                    <a:lnTo>
                      <a:pt x="231008" y="10903"/>
                    </a:lnTo>
                    <a:lnTo>
                      <a:pt x="242024" y="29644"/>
                    </a:lnTo>
                    <a:lnTo>
                      <a:pt x="274402" y="38301"/>
                    </a:lnTo>
                    <a:lnTo>
                      <a:pt x="263276" y="59885"/>
                    </a:lnTo>
                    <a:lnTo>
                      <a:pt x="244298" y="64444"/>
                    </a:lnTo>
                    <a:lnTo>
                      <a:pt x="215314" y="59590"/>
                    </a:lnTo>
                    <a:lnTo>
                      <a:pt x="209459" y="70617"/>
                    </a:lnTo>
                    <a:lnTo>
                      <a:pt x="221763" y="92008"/>
                    </a:lnTo>
                    <a:lnTo>
                      <a:pt x="232531" y="108486"/>
                    </a:lnTo>
                    <a:lnTo>
                      <a:pt x="250441" y="120115"/>
                    </a:lnTo>
                    <a:lnTo>
                      <a:pt x="238599" y="135063"/>
                    </a:lnTo>
                    <a:lnTo>
                      <a:pt x="243332" y="152708"/>
                    </a:lnTo>
                    <a:lnTo>
                      <a:pt x="231524" y="178239"/>
                    </a:lnTo>
                    <a:lnTo>
                      <a:pt x="225766" y="203799"/>
                    </a:lnTo>
                    <a:lnTo>
                      <a:pt x="212063" y="230440"/>
                    </a:lnTo>
                    <a:lnTo>
                      <a:pt x="190047" y="229275"/>
                    </a:lnTo>
                    <a:lnTo>
                      <a:pt x="174813" y="255874"/>
                    </a:lnTo>
                    <a:lnTo>
                      <a:pt x="189276" y="266609"/>
                    </a:lnTo>
                    <a:lnTo>
                      <a:pt x="195135" y="285605"/>
                    </a:lnTo>
                    <a:lnTo>
                      <a:pt x="208104" y="297855"/>
                    </a:lnTo>
                    <a:lnTo>
                      <a:pt x="215825" y="319033"/>
                    </a:lnTo>
                    <a:lnTo>
                      <a:pt x="174239" y="320151"/>
                    </a:lnTo>
                    <a:lnTo>
                      <a:pt x="164518" y="337014"/>
                    </a:lnTo>
                    <a:lnTo>
                      <a:pt x="149569" y="331129"/>
                    </a:lnTo>
                    <a:lnTo>
                      <a:pt x="140852" y="313506"/>
                    </a:lnTo>
                    <a:lnTo>
                      <a:pt x="122949" y="295089"/>
                    </a:lnTo>
                    <a:lnTo>
                      <a:pt x="89056" y="300682"/>
                    </a:lnTo>
                    <a:lnTo>
                      <a:pt x="58506" y="301951"/>
                    </a:lnTo>
                    <a:lnTo>
                      <a:pt x="32512" y="306084"/>
                    </a:lnTo>
                    <a:lnTo>
                      <a:pt x="34813" y="277298"/>
                    </a:lnTo>
                    <a:lnTo>
                      <a:pt x="59639" y="263842"/>
                    </a:lnTo>
                    <a:lnTo>
                      <a:pt x="56031" y="252541"/>
                    </a:lnTo>
                    <a:lnTo>
                      <a:pt x="46354" y="248806"/>
                    </a:lnTo>
                    <a:lnTo>
                      <a:pt x="41810" y="227140"/>
                    </a:lnTo>
                    <a:lnTo>
                      <a:pt x="21973" y="216837"/>
                    </a:lnTo>
                    <a:lnTo>
                      <a:pt x="11668" y="202205"/>
                    </a:lnTo>
                    <a:lnTo>
                      <a:pt x="0" y="189548"/>
                    </a:lnTo>
                    <a:lnTo>
                      <a:pt x="33489" y="201182"/>
                    </a:lnTo>
                    <a:lnTo>
                      <a:pt x="51301" y="196936"/>
                    </a:lnTo>
                    <a:lnTo>
                      <a:pt x="63007" y="199736"/>
                    </a:lnTo>
                    <a:lnTo>
                      <a:pt x="65664" y="194222"/>
                    </a:lnTo>
                    <a:lnTo>
                      <a:pt x="79002" y="195983"/>
                    </a:lnTo>
                    <a:lnTo>
                      <a:pt x="100903" y="184968"/>
                    </a:lnTo>
                    <a:lnTo>
                      <a:pt x="97020" y="163972"/>
                    </a:lnTo>
                    <a:lnTo>
                      <a:pt x="104163" y="149677"/>
                    </a:lnTo>
                    <a:lnTo>
                      <a:pt x="117833" y="149247"/>
                    </a:lnTo>
                    <a:lnTo>
                      <a:pt x="118255" y="142279"/>
                    </a:lnTo>
                    <a:lnTo>
                      <a:pt x="131502" y="138568"/>
                    </a:lnTo>
                    <a:lnTo>
                      <a:pt x="138811" y="140623"/>
                    </a:lnTo>
                    <a:lnTo>
                      <a:pt x="144324" y="133426"/>
                    </a:lnTo>
                    <a:lnTo>
                      <a:pt x="139744" y="118648"/>
                    </a:lnTo>
                    <a:lnTo>
                      <a:pt x="143800" y="103473"/>
                    </a:lnTo>
                    <a:lnTo>
                      <a:pt x="153781" y="96790"/>
                    </a:lnTo>
                    <a:lnTo>
                      <a:pt x="142480" y="80752"/>
                    </a:lnTo>
                    <a:lnTo>
                      <a:pt x="159875" y="80846"/>
                    </a:lnTo>
                    <a:lnTo>
                      <a:pt x="162497" y="71767"/>
                    </a:lnTo>
                    <a:lnTo>
                      <a:pt x="159210" y="62322"/>
                    </a:lnTo>
                    <a:lnTo>
                      <a:pt x="165347" y="51597"/>
                    </a:lnTo>
                    <a:lnTo>
                      <a:pt x="159907" y="39421"/>
                    </a:lnTo>
                    <a:lnTo>
                      <a:pt x="152757" y="29155"/>
                    </a:lnTo>
                    <a:lnTo>
                      <a:pt x="160120" y="17981"/>
                    </a:lnTo>
                    <a:lnTo>
                      <a:pt x="177721" y="11974"/>
                    </a:lnTo>
                    <a:lnTo>
                      <a:pt x="197259" y="8203"/>
                    </a:lnTo>
                    <a:lnTo>
                      <a:pt x="204905" y="3240"/>
                    </a:lnTo>
                    <a:lnTo>
                      <a:pt x="214377" y="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77" name="Polygon form 42"/>
              <p:cNvSpPr/>
              <p:nvPr/>
            </p:nvSpPr>
            <p:spPr>
              <a:xfrm>
                <a:off x="2329824" y="3890174"/>
                <a:ext cx="111931" cy="60338"/>
              </a:xfrm>
              <a:custGeom>
                <a:avLst/>
                <a:gdLst/>
                <a:ahLst/>
                <a:cxnLst/>
                <a:rect l="0" t="0" r="0" b="0"/>
                <a:pathLst>
                  <a:path w="111931" h="60338">
                    <a:moveTo>
                      <a:pt x="98277" y="60338"/>
                    </a:moveTo>
                    <a:lnTo>
                      <a:pt x="92157" y="53033"/>
                    </a:lnTo>
                    <a:lnTo>
                      <a:pt x="88808" y="39439"/>
                    </a:lnTo>
                    <a:lnTo>
                      <a:pt x="94110" y="32788"/>
                    </a:lnTo>
                    <a:lnTo>
                      <a:pt x="89251" y="31012"/>
                    </a:lnTo>
                    <a:lnTo>
                      <a:pt x="86168" y="22675"/>
                    </a:lnTo>
                    <a:lnTo>
                      <a:pt x="76901" y="15576"/>
                    </a:lnTo>
                    <a:lnTo>
                      <a:pt x="68196" y="17071"/>
                    </a:lnTo>
                    <a:lnTo>
                      <a:pt x="63581" y="25765"/>
                    </a:lnTo>
                    <a:lnTo>
                      <a:pt x="55204" y="31988"/>
                    </a:lnTo>
                    <a:lnTo>
                      <a:pt x="50858" y="32816"/>
                    </a:lnTo>
                    <a:lnTo>
                      <a:pt x="48573" y="38029"/>
                    </a:lnTo>
                    <a:lnTo>
                      <a:pt x="57051" y="51783"/>
                    </a:lnTo>
                    <a:lnTo>
                      <a:pt x="51484" y="54941"/>
                    </a:lnTo>
                    <a:lnTo>
                      <a:pt x="48413" y="58639"/>
                    </a:lnTo>
                    <a:lnTo>
                      <a:pt x="39187" y="59830"/>
                    </a:lnTo>
                    <a:lnTo>
                      <a:pt x="36740" y="44756"/>
                    </a:lnTo>
                    <a:lnTo>
                      <a:pt x="33902" y="49009"/>
                    </a:lnTo>
                    <a:lnTo>
                      <a:pt x="27517" y="47459"/>
                    </a:lnTo>
                    <a:lnTo>
                      <a:pt x="24236" y="37280"/>
                    </a:lnTo>
                    <a:lnTo>
                      <a:pt x="16297" y="35512"/>
                    </a:lnTo>
                    <a:lnTo>
                      <a:pt x="11410" y="32503"/>
                    </a:lnTo>
                    <a:lnTo>
                      <a:pt x="2980" y="32440"/>
                    </a:lnTo>
                    <a:lnTo>
                      <a:pt x="1986" y="37907"/>
                    </a:lnTo>
                    <a:lnTo>
                      <a:pt x="0" y="34066"/>
                    </a:lnTo>
                    <a:lnTo>
                      <a:pt x="1395" y="29072"/>
                    </a:lnTo>
                    <a:lnTo>
                      <a:pt x="3410" y="23978"/>
                    </a:lnTo>
                    <a:lnTo>
                      <a:pt x="2992" y="19404"/>
                    </a:lnTo>
                    <a:lnTo>
                      <a:pt x="6154" y="16455"/>
                    </a:lnTo>
                    <a:lnTo>
                      <a:pt x="2367" y="12654"/>
                    </a:lnTo>
                    <a:lnTo>
                      <a:pt x="3072" y="2502"/>
                    </a:lnTo>
                    <a:lnTo>
                      <a:pt x="10838" y="354"/>
                    </a:lnTo>
                    <a:lnTo>
                      <a:pt x="17147" y="9490"/>
                    </a:lnTo>
                    <a:lnTo>
                      <a:pt x="16328" y="14823"/>
                    </a:lnTo>
                    <a:lnTo>
                      <a:pt x="24069" y="16057"/>
                    </a:lnTo>
                    <a:lnTo>
                      <a:pt x="26079" y="14032"/>
                    </a:lnTo>
                    <a:lnTo>
                      <a:pt x="31002" y="20289"/>
                    </a:lnTo>
                    <a:lnTo>
                      <a:pt x="40793" y="18590"/>
                    </a:lnTo>
                    <a:lnTo>
                      <a:pt x="49621" y="12341"/>
                    </a:lnTo>
                    <a:lnTo>
                      <a:pt x="61925" y="7423"/>
                    </a:lnTo>
                    <a:lnTo>
                      <a:pt x="69209" y="0"/>
                    </a:lnTo>
                    <a:lnTo>
                      <a:pt x="79916" y="1617"/>
                    </a:lnTo>
                    <a:lnTo>
                      <a:pt x="78991" y="4077"/>
                    </a:lnTo>
                    <a:lnTo>
                      <a:pt x="89858" y="5074"/>
                    </a:lnTo>
                    <a:lnTo>
                      <a:pt x="98254" y="9519"/>
                    </a:lnTo>
                    <a:lnTo>
                      <a:pt x="104100" y="17145"/>
                    </a:lnTo>
                    <a:lnTo>
                      <a:pt x="110988" y="24161"/>
                    </a:lnTo>
                    <a:lnTo>
                      <a:pt x="108351" y="27800"/>
                    </a:lnTo>
                    <a:lnTo>
                      <a:pt x="111931" y="42619"/>
                    </a:lnTo>
                    <a:lnTo>
                      <a:pt x="107758" y="50033"/>
                    </a:lnTo>
                    <a:lnTo>
                      <a:pt x="101535" y="48168"/>
                    </a:lnTo>
                    <a:lnTo>
                      <a:pt x="98277" y="60338"/>
                    </a:lnTo>
                    <a:close/>
                  </a:path>
                </a:pathLst>
              </a:custGeom>
              <a:solidFill>
                <a:srgbClr val="41AB5D">
                  <a:alpha val="100000"/>
                </a:srgbClr>
              </a:solidFill>
              <a:ln w="5400">
                <a:solidFill>
                  <a:srgbClr val="7F7F7F">
                    <a:alpha val="100000"/>
                  </a:srgbClr>
                </a:solidFill>
                <a:prstDash val="solid"/>
                <a:round/>
              </a:ln>
            </p:spPr>
            <p:txBody>
              <a:bodyPr/>
              <a:lstStyle/>
              <a:p/>
            </p:txBody>
          </p:sp>
          <p:sp>
            <p:nvSpPr>
              <p:cNvPr id="78" name="Polygon form 43"/>
              <p:cNvSpPr/>
              <p:nvPr/>
            </p:nvSpPr>
            <p:spPr>
              <a:xfrm>
                <a:off x="2355518" y="4133267"/>
                <a:ext cx="267677" cy="455313"/>
              </a:xfrm>
              <a:custGeom>
                <a:avLst/>
                <a:gdLst/>
                <a:ahLst/>
                <a:cxnLst/>
                <a:rect l="0" t="0" r="0" b="0"/>
                <a:pathLst>
                  <a:path w="267677" h="455313">
                    <a:moveTo>
                      <a:pt x="258798" y="435918"/>
                    </a:moveTo>
                    <a:lnTo>
                      <a:pt x="255289" y="448759"/>
                    </a:lnTo>
                    <a:lnTo>
                      <a:pt x="246233" y="455313"/>
                    </a:lnTo>
                    <a:lnTo>
                      <a:pt x="224991" y="441457"/>
                    </a:lnTo>
                    <a:lnTo>
                      <a:pt x="221973" y="431286"/>
                    </a:lnTo>
                    <a:lnTo>
                      <a:pt x="180447" y="407074"/>
                    </a:lnTo>
                    <a:lnTo>
                      <a:pt x="142335" y="380478"/>
                    </a:lnTo>
                    <a:lnTo>
                      <a:pt x="125534" y="365364"/>
                    </a:lnTo>
                    <a:lnTo>
                      <a:pt x="115131" y="344853"/>
                    </a:lnTo>
                    <a:lnTo>
                      <a:pt x="117540" y="337586"/>
                    </a:lnTo>
                    <a:lnTo>
                      <a:pt x="97633" y="305017"/>
                    </a:lnTo>
                    <a:lnTo>
                      <a:pt x="74118" y="259065"/>
                    </a:lnTo>
                    <a:lnTo>
                      <a:pt x="51744" y="209323"/>
                    </a:lnTo>
                    <a:lnTo>
                      <a:pt x="42939" y="197964"/>
                    </a:lnTo>
                    <a:lnTo>
                      <a:pt x="35591" y="179516"/>
                    </a:lnTo>
                    <a:lnTo>
                      <a:pt x="19366" y="163245"/>
                    </a:lnTo>
                    <a:lnTo>
                      <a:pt x="4798" y="153179"/>
                    </a:lnTo>
                    <a:lnTo>
                      <a:pt x="10607" y="141887"/>
                    </a:lnTo>
                    <a:lnTo>
                      <a:pt x="0" y="117934"/>
                    </a:lnTo>
                    <a:lnTo>
                      <a:pt x="5480" y="100252"/>
                    </a:lnTo>
                    <a:lnTo>
                      <a:pt x="20701" y="84268"/>
                    </a:lnTo>
                    <a:lnTo>
                      <a:pt x="23356" y="94733"/>
                    </a:lnTo>
                    <a:lnTo>
                      <a:pt x="17928" y="100757"/>
                    </a:lnTo>
                    <a:lnTo>
                      <a:pt x="18790" y="109977"/>
                    </a:lnTo>
                    <a:lnTo>
                      <a:pt x="26864" y="107924"/>
                    </a:lnTo>
                    <a:lnTo>
                      <a:pt x="34926" y="110594"/>
                    </a:lnTo>
                    <a:lnTo>
                      <a:pt x="43692" y="123235"/>
                    </a:lnTo>
                    <a:lnTo>
                      <a:pt x="54430" y="112826"/>
                    </a:lnTo>
                    <a:lnTo>
                      <a:pt x="57577" y="95858"/>
                    </a:lnTo>
                    <a:lnTo>
                      <a:pt x="69052" y="73954"/>
                    </a:lnTo>
                    <a:lnTo>
                      <a:pt x="92554" y="63973"/>
                    </a:lnTo>
                    <a:lnTo>
                      <a:pt x="113640" y="37677"/>
                    </a:lnTo>
                    <a:lnTo>
                      <a:pt x="119626" y="21387"/>
                    </a:lnTo>
                    <a:lnTo>
                      <a:pt x="116793" y="2375"/>
                    </a:lnTo>
                    <a:lnTo>
                      <a:pt x="122054" y="0"/>
                    </a:lnTo>
                    <a:lnTo>
                      <a:pt x="135210" y="11847"/>
                    </a:lnTo>
                    <a:lnTo>
                      <a:pt x="141580" y="23647"/>
                    </a:lnTo>
                    <a:lnTo>
                      <a:pt x="150773" y="30076"/>
                    </a:lnTo>
                    <a:lnTo>
                      <a:pt x="162756" y="56250"/>
                    </a:lnTo>
                    <a:lnTo>
                      <a:pt x="177505" y="59335"/>
                    </a:lnTo>
                    <a:lnTo>
                      <a:pt x="188265" y="52705"/>
                    </a:lnTo>
                    <a:lnTo>
                      <a:pt x="195464" y="57001"/>
                    </a:lnTo>
                    <a:lnTo>
                      <a:pt x="207271" y="54825"/>
                    </a:lnTo>
                    <a:lnTo>
                      <a:pt x="222593" y="66449"/>
                    </a:lnTo>
                    <a:lnTo>
                      <a:pt x="210468" y="91854"/>
                    </a:lnTo>
                    <a:lnTo>
                      <a:pt x="216374" y="92419"/>
                    </a:lnTo>
                    <a:lnTo>
                      <a:pt x="226629" y="105613"/>
                    </a:lnTo>
                    <a:lnTo>
                      <a:pt x="208827" y="104534"/>
                    </a:lnTo>
                    <a:lnTo>
                      <a:pt x="206303" y="108295"/>
                    </a:lnTo>
                    <a:lnTo>
                      <a:pt x="190307" y="113181"/>
                    </a:lnTo>
                    <a:lnTo>
                      <a:pt x="168402" y="130304"/>
                    </a:lnTo>
                    <a:lnTo>
                      <a:pt x="167458" y="141968"/>
                    </a:lnTo>
                    <a:lnTo>
                      <a:pt x="162823" y="150694"/>
                    </a:lnTo>
                    <a:lnTo>
                      <a:pt x="165438" y="164184"/>
                    </a:lnTo>
                    <a:lnTo>
                      <a:pt x="153918" y="171496"/>
                    </a:lnTo>
                    <a:lnTo>
                      <a:pt x="154516" y="182050"/>
                    </a:lnTo>
                    <a:lnTo>
                      <a:pt x="149590" y="186668"/>
                    </a:lnTo>
                    <a:lnTo>
                      <a:pt x="159144" y="209087"/>
                    </a:lnTo>
                    <a:lnTo>
                      <a:pt x="171063" y="224160"/>
                    </a:lnTo>
                    <a:lnTo>
                      <a:pt x="167672" y="234927"/>
                    </a:lnTo>
                    <a:lnTo>
                      <a:pt x="180791" y="236220"/>
                    </a:lnTo>
                    <a:lnTo>
                      <a:pt x="189184" y="249436"/>
                    </a:lnTo>
                    <a:lnTo>
                      <a:pt x="206525" y="249868"/>
                    </a:lnTo>
                    <a:lnTo>
                      <a:pt x="221552" y="234999"/>
                    </a:lnTo>
                    <a:lnTo>
                      <a:pt x="223086" y="272837"/>
                    </a:lnTo>
                    <a:lnTo>
                      <a:pt x="232219" y="275578"/>
                    </a:lnTo>
                    <a:lnTo>
                      <a:pt x="242913" y="271149"/>
                    </a:lnTo>
                    <a:lnTo>
                      <a:pt x="263192" y="310931"/>
                    </a:lnTo>
                    <a:lnTo>
                      <a:pt x="259764" y="319402"/>
                    </a:lnTo>
                    <a:lnTo>
                      <a:pt x="260468" y="336883"/>
                    </a:lnTo>
                    <a:lnTo>
                      <a:pt x="262217" y="358031"/>
                    </a:lnTo>
                    <a:lnTo>
                      <a:pt x="255942" y="370572"/>
                    </a:lnTo>
                    <a:lnTo>
                      <a:pt x="260430" y="379722"/>
                    </a:lnTo>
                    <a:lnTo>
                      <a:pt x="256916" y="388154"/>
                    </a:lnTo>
                    <a:lnTo>
                      <a:pt x="267677" y="408875"/>
                    </a:lnTo>
                    <a:lnTo>
                      <a:pt x="258798" y="435918"/>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79" name="Polygon form 44"/>
              <p:cNvSpPr/>
              <p:nvPr/>
            </p:nvSpPr>
            <p:spPr>
              <a:xfrm>
                <a:off x="6280720" y="3639106"/>
                <a:ext cx="100585" cy="156689"/>
              </a:xfrm>
              <a:custGeom>
                <a:avLst/>
                <a:gdLst/>
                <a:ahLst/>
                <a:cxnLst/>
                <a:rect l="0" t="0" r="0" b="0"/>
                <a:pathLst>
                  <a:path w="100585" h="156689">
                    <a:moveTo>
                      <a:pt x="14532" y="141"/>
                    </a:moveTo>
                    <a:lnTo>
                      <a:pt x="28142" y="7162"/>
                    </a:lnTo>
                    <a:lnTo>
                      <a:pt x="32334" y="0"/>
                    </a:lnTo>
                    <a:lnTo>
                      <a:pt x="35725" y="6649"/>
                    </a:lnTo>
                    <a:lnTo>
                      <a:pt x="35267" y="17772"/>
                    </a:lnTo>
                    <a:lnTo>
                      <a:pt x="46244" y="36491"/>
                    </a:lnTo>
                    <a:lnTo>
                      <a:pt x="46111" y="58754"/>
                    </a:lnTo>
                    <a:lnTo>
                      <a:pt x="36658" y="68001"/>
                    </a:lnTo>
                    <a:lnTo>
                      <a:pt x="38023" y="89506"/>
                    </a:lnTo>
                    <a:lnTo>
                      <a:pt x="46473" y="110495"/>
                    </a:lnTo>
                    <a:lnTo>
                      <a:pt x="57282" y="113060"/>
                    </a:lnTo>
                    <a:lnTo>
                      <a:pt x="65237" y="109607"/>
                    </a:lnTo>
                    <a:lnTo>
                      <a:pt x="92200" y="123520"/>
                    </a:lnTo>
                    <a:lnTo>
                      <a:pt x="93008" y="138110"/>
                    </a:lnTo>
                    <a:lnTo>
                      <a:pt x="100474" y="144313"/>
                    </a:lnTo>
                    <a:lnTo>
                      <a:pt x="100585" y="156689"/>
                    </a:lnTo>
                    <a:lnTo>
                      <a:pt x="83194" y="144080"/>
                    </a:lnTo>
                    <a:lnTo>
                      <a:pt x="73534" y="130316"/>
                    </a:lnTo>
                    <a:lnTo>
                      <a:pt x="70295" y="140262"/>
                    </a:lnTo>
                    <a:lnTo>
                      <a:pt x="55090" y="124745"/>
                    </a:lnTo>
                    <a:lnTo>
                      <a:pt x="38206" y="129269"/>
                    </a:lnTo>
                    <a:lnTo>
                      <a:pt x="27503" y="123730"/>
                    </a:lnTo>
                    <a:lnTo>
                      <a:pt x="26461" y="112732"/>
                    </a:lnTo>
                    <a:lnTo>
                      <a:pt x="31226" y="105772"/>
                    </a:lnTo>
                    <a:lnTo>
                      <a:pt x="24276" y="99845"/>
                    </a:lnTo>
                    <a:lnTo>
                      <a:pt x="23607" y="109489"/>
                    </a:lnTo>
                    <a:lnTo>
                      <a:pt x="11140" y="94606"/>
                    </a:lnTo>
                    <a:lnTo>
                      <a:pt x="5969" y="83185"/>
                    </a:lnTo>
                    <a:lnTo>
                      <a:pt x="0" y="57893"/>
                    </a:lnTo>
                    <a:lnTo>
                      <a:pt x="9592" y="66293"/>
                    </a:lnTo>
                    <a:lnTo>
                      <a:pt x="2444" y="24844"/>
                    </a:lnTo>
                    <a:lnTo>
                      <a:pt x="2975" y="633"/>
                    </a:lnTo>
                    <a:lnTo>
                      <a:pt x="14532" y="141"/>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80" name="Polygon form 45"/>
              <p:cNvSpPr/>
              <p:nvPr/>
            </p:nvSpPr>
            <p:spPr>
              <a:xfrm>
                <a:off x="6357978" y="3869385"/>
                <a:ext cx="90683" cy="112280"/>
              </a:xfrm>
              <a:custGeom>
                <a:avLst/>
                <a:gdLst/>
                <a:ahLst/>
                <a:cxnLst/>
                <a:rect l="0" t="0" r="0" b="0"/>
                <a:pathLst>
                  <a:path w="90683" h="112280">
                    <a:moveTo>
                      <a:pt x="83989" y="35706"/>
                    </a:moveTo>
                    <a:lnTo>
                      <a:pt x="87973" y="53542"/>
                    </a:lnTo>
                    <a:lnTo>
                      <a:pt x="90683" y="68623"/>
                    </a:lnTo>
                    <a:lnTo>
                      <a:pt x="86271" y="93382"/>
                    </a:lnTo>
                    <a:lnTo>
                      <a:pt x="76542" y="66080"/>
                    </a:lnTo>
                    <a:lnTo>
                      <a:pt x="68670" y="79885"/>
                    </a:lnTo>
                    <a:lnTo>
                      <a:pt x="76681" y="99591"/>
                    </a:lnTo>
                    <a:lnTo>
                      <a:pt x="72042" y="112280"/>
                    </a:lnTo>
                    <a:lnTo>
                      <a:pt x="47654" y="97046"/>
                    </a:lnTo>
                    <a:lnTo>
                      <a:pt x="40425" y="77732"/>
                    </a:lnTo>
                    <a:lnTo>
                      <a:pt x="45191" y="64876"/>
                    </a:lnTo>
                    <a:lnTo>
                      <a:pt x="31464" y="52447"/>
                    </a:lnTo>
                    <a:lnTo>
                      <a:pt x="26433" y="63667"/>
                    </a:lnTo>
                    <a:lnTo>
                      <a:pt x="17093" y="62810"/>
                    </a:lnTo>
                    <a:lnTo>
                      <a:pt x="3980" y="77984"/>
                    </a:lnTo>
                    <a:lnTo>
                      <a:pt x="0" y="70225"/>
                    </a:lnTo>
                    <a:lnTo>
                      <a:pt x="5435" y="47571"/>
                    </a:lnTo>
                    <a:lnTo>
                      <a:pt x="16972" y="39801"/>
                    </a:lnTo>
                    <a:lnTo>
                      <a:pt x="26513" y="29494"/>
                    </a:lnTo>
                    <a:lnTo>
                      <a:pt x="34818" y="41462"/>
                    </a:lnTo>
                    <a:lnTo>
                      <a:pt x="48891" y="33803"/>
                    </a:lnTo>
                    <a:lnTo>
                      <a:pt x="50669" y="21765"/>
                    </a:lnTo>
                    <a:lnTo>
                      <a:pt x="64419" y="20730"/>
                    </a:lnTo>
                    <a:lnTo>
                      <a:pt x="60602" y="0"/>
                    </a:lnTo>
                    <a:lnTo>
                      <a:pt x="78118" y="12342"/>
                    </a:lnTo>
                    <a:lnTo>
                      <a:pt x="81444" y="25844"/>
                    </a:lnTo>
                    <a:lnTo>
                      <a:pt x="83989" y="35706"/>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81" name="Polygon form 46"/>
              <p:cNvSpPr/>
              <p:nvPr/>
            </p:nvSpPr>
            <p:spPr>
              <a:xfrm>
                <a:off x="6384888" y="3795100"/>
                <a:ext cx="36028" cy="64555"/>
              </a:xfrm>
              <a:custGeom>
                <a:avLst/>
                <a:gdLst/>
                <a:ahLst/>
                <a:cxnLst/>
                <a:rect l="0" t="0" r="0" b="0"/>
                <a:pathLst>
                  <a:path w="36028" h="64555">
                    <a:moveTo>
                      <a:pt x="25797" y="9818"/>
                    </a:moveTo>
                    <a:lnTo>
                      <a:pt x="36028" y="39589"/>
                    </a:lnTo>
                    <a:lnTo>
                      <a:pt x="19904" y="32913"/>
                    </a:lnTo>
                    <a:lnTo>
                      <a:pt x="21676" y="41893"/>
                    </a:lnTo>
                    <a:lnTo>
                      <a:pt x="28857" y="58302"/>
                    </a:lnTo>
                    <a:lnTo>
                      <a:pt x="20406" y="64555"/>
                    </a:lnTo>
                    <a:lnTo>
                      <a:pt x="16908" y="45735"/>
                    </a:lnTo>
                    <a:lnTo>
                      <a:pt x="10831" y="44509"/>
                    </a:lnTo>
                    <a:lnTo>
                      <a:pt x="5323" y="28397"/>
                    </a:lnTo>
                    <a:lnTo>
                      <a:pt x="17118" y="30194"/>
                    </a:lnTo>
                    <a:lnTo>
                      <a:pt x="15262" y="20065"/>
                    </a:lnTo>
                    <a:lnTo>
                      <a:pt x="0" y="14"/>
                    </a:lnTo>
                    <a:lnTo>
                      <a:pt x="18756" y="0"/>
                    </a:lnTo>
                    <a:lnTo>
                      <a:pt x="25797" y="9818"/>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82" name="Polygon form 47"/>
              <p:cNvSpPr/>
              <p:nvPr/>
            </p:nvSpPr>
            <p:spPr>
              <a:xfrm>
                <a:off x="6359462" y="3830648"/>
                <a:ext cx="29294" cy="59644"/>
              </a:xfrm>
              <a:custGeom>
                <a:avLst/>
                <a:gdLst/>
                <a:ahLst/>
                <a:cxnLst/>
                <a:rect l="0" t="0" r="0" b="0"/>
                <a:pathLst>
                  <a:path w="29294" h="59644">
                    <a:moveTo>
                      <a:pt x="29294" y="25568"/>
                    </a:moveTo>
                    <a:lnTo>
                      <a:pt x="23472" y="34541"/>
                    </a:lnTo>
                    <a:lnTo>
                      <a:pt x="19529" y="51586"/>
                    </a:lnTo>
                    <a:lnTo>
                      <a:pt x="14353" y="59644"/>
                    </a:lnTo>
                    <a:lnTo>
                      <a:pt x="0" y="41469"/>
                    </a:lnTo>
                    <a:lnTo>
                      <a:pt x="3093" y="34225"/>
                    </a:lnTo>
                    <a:lnTo>
                      <a:pt x="6988" y="26622"/>
                    </a:lnTo>
                    <a:lnTo>
                      <a:pt x="6802" y="9993"/>
                    </a:lnTo>
                    <a:lnTo>
                      <a:pt x="17328" y="8127"/>
                    </a:lnTo>
                    <a:lnTo>
                      <a:pt x="16745" y="26202"/>
                    </a:lnTo>
                    <a:lnTo>
                      <a:pt x="27452" y="0"/>
                    </a:lnTo>
                    <a:lnTo>
                      <a:pt x="29294" y="25568"/>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83" name="Polygon form 48"/>
              <p:cNvSpPr/>
              <p:nvPr/>
            </p:nvSpPr>
            <p:spPr>
              <a:xfrm>
                <a:off x="6261711" y="3829500"/>
                <a:ext cx="42204" cy="80618"/>
              </a:xfrm>
              <a:custGeom>
                <a:avLst/>
                <a:gdLst/>
                <a:ahLst/>
                <a:cxnLst/>
                <a:rect l="0" t="0" r="0" b="0"/>
                <a:pathLst>
                  <a:path w="42204" h="80618">
                    <a:moveTo>
                      <a:pt x="23237" y="54939"/>
                    </a:moveTo>
                    <a:lnTo>
                      <a:pt x="0" y="80618"/>
                    </a:lnTo>
                    <a:lnTo>
                      <a:pt x="7563" y="61908"/>
                    </a:lnTo>
                    <a:lnTo>
                      <a:pt x="19748" y="45234"/>
                    </a:lnTo>
                    <a:lnTo>
                      <a:pt x="29125" y="26614"/>
                    </a:lnTo>
                    <a:lnTo>
                      <a:pt x="35655" y="0"/>
                    </a:lnTo>
                    <a:lnTo>
                      <a:pt x="42204" y="21545"/>
                    </a:lnTo>
                    <a:lnTo>
                      <a:pt x="31245" y="36477"/>
                    </a:lnTo>
                    <a:lnTo>
                      <a:pt x="23237" y="54939"/>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84" name="Polygon form 49"/>
              <p:cNvSpPr/>
              <p:nvPr/>
            </p:nvSpPr>
            <p:spPr>
              <a:xfrm>
                <a:off x="6341456" y="3814310"/>
                <a:ext cx="26682" cy="38585"/>
              </a:xfrm>
              <a:custGeom>
                <a:avLst/>
                <a:gdLst/>
                <a:ahLst/>
                <a:cxnLst/>
                <a:rect l="0" t="0" r="0" b="0"/>
                <a:pathLst>
                  <a:path w="26682" h="38585">
                    <a:moveTo>
                      <a:pt x="0" y="0"/>
                    </a:moveTo>
                    <a:lnTo>
                      <a:pt x="12973" y="7905"/>
                    </a:lnTo>
                    <a:lnTo>
                      <a:pt x="25362" y="7505"/>
                    </a:lnTo>
                    <a:lnTo>
                      <a:pt x="26682" y="18666"/>
                    </a:lnTo>
                    <a:lnTo>
                      <a:pt x="19308" y="30248"/>
                    </a:lnTo>
                    <a:lnTo>
                      <a:pt x="8037" y="38585"/>
                    </a:lnTo>
                    <a:lnTo>
                      <a:pt x="5599" y="26219"/>
                    </a:lnTo>
                    <a:lnTo>
                      <a:pt x="4973" y="12588"/>
                    </a:lnTo>
                    <a:lnTo>
                      <a:pt x="0" y="0"/>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85" name="Polygon form 50"/>
              <p:cNvSpPr/>
              <p:nvPr/>
            </p:nvSpPr>
            <p:spPr>
              <a:xfrm>
                <a:off x="6304165" y="3773410"/>
                <a:ext cx="25193" cy="32910"/>
              </a:xfrm>
              <a:custGeom>
                <a:avLst/>
                <a:gdLst/>
                <a:ahLst/>
                <a:cxnLst/>
                <a:rect l="0" t="0" r="0" b="0"/>
                <a:pathLst>
                  <a:path w="25193" h="32910">
                    <a:moveTo>
                      <a:pt x="25193" y="9777"/>
                    </a:moveTo>
                    <a:lnTo>
                      <a:pt x="23872" y="32910"/>
                    </a:lnTo>
                    <a:lnTo>
                      <a:pt x="13374" y="19906"/>
                    </a:lnTo>
                    <a:lnTo>
                      <a:pt x="0" y="0"/>
                    </a:lnTo>
                    <a:lnTo>
                      <a:pt x="16783" y="428"/>
                    </a:lnTo>
                    <a:lnTo>
                      <a:pt x="25193" y="9777"/>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86" name="Polygon form 51"/>
              <p:cNvSpPr/>
              <p:nvPr/>
            </p:nvSpPr>
            <p:spPr>
              <a:xfrm>
                <a:off x="6726380" y="4204131"/>
                <a:ext cx="185349" cy="229741"/>
              </a:xfrm>
              <a:custGeom>
                <a:avLst/>
                <a:gdLst/>
                <a:ahLst/>
                <a:cxnLst/>
                <a:rect l="0" t="0" r="0" b="0"/>
                <a:pathLst>
                  <a:path w="185349" h="229741">
                    <a:moveTo>
                      <a:pt x="126955" y="135955"/>
                    </a:moveTo>
                    <a:lnTo>
                      <a:pt x="142089" y="154898"/>
                    </a:lnTo>
                    <a:lnTo>
                      <a:pt x="150521" y="185178"/>
                    </a:lnTo>
                    <a:lnTo>
                      <a:pt x="161851" y="184599"/>
                    </a:lnTo>
                    <a:lnTo>
                      <a:pt x="159115" y="197079"/>
                    </a:lnTo>
                    <a:lnTo>
                      <a:pt x="173401" y="202393"/>
                    </a:lnTo>
                    <a:lnTo>
                      <a:pt x="166674" y="207518"/>
                    </a:lnTo>
                    <a:lnTo>
                      <a:pt x="185349" y="220164"/>
                    </a:lnTo>
                    <a:lnTo>
                      <a:pt x="181736" y="228260"/>
                    </a:lnTo>
                    <a:lnTo>
                      <a:pt x="168499" y="229741"/>
                    </a:lnTo>
                    <a:lnTo>
                      <a:pt x="165011" y="222242"/>
                    </a:lnTo>
                    <a:lnTo>
                      <a:pt x="148832" y="218461"/>
                    </a:lnTo>
                    <a:lnTo>
                      <a:pt x="129876" y="213522"/>
                    </a:lnTo>
                    <a:lnTo>
                      <a:pt x="117622" y="195079"/>
                    </a:lnTo>
                    <a:lnTo>
                      <a:pt x="108877" y="179292"/>
                    </a:lnTo>
                    <a:lnTo>
                      <a:pt x="102133" y="154447"/>
                    </a:lnTo>
                    <a:lnTo>
                      <a:pt x="78140" y="141523"/>
                    </a:lnTo>
                    <a:lnTo>
                      <a:pt x="60545" y="149063"/>
                    </a:lnTo>
                    <a:lnTo>
                      <a:pt x="47394" y="157952"/>
                    </a:lnTo>
                    <a:lnTo>
                      <a:pt x="47063" y="178572"/>
                    </a:lnTo>
                    <a:lnTo>
                      <a:pt x="30317" y="187679"/>
                    </a:lnTo>
                    <a:lnTo>
                      <a:pt x="20052" y="182705"/>
                    </a:lnTo>
                    <a:lnTo>
                      <a:pt x="0" y="180955"/>
                    </a:lnTo>
                    <a:lnTo>
                      <a:pt x="10261" y="90551"/>
                    </a:lnTo>
                    <a:lnTo>
                      <a:pt x="15911" y="0"/>
                    </a:lnTo>
                    <a:lnTo>
                      <a:pt x="49238" y="19515"/>
                    </a:lnTo>
                    <a:lnTo>
                      <a:pt x="84764" y="35946"/>
                    </a:lnTo>
                    <a:lnTo>
                      <a:pt x="97386" y="50498"/>
                    </a:lnTo>
                    <a:lnTo>
                      <a:pt x="107286" y="64784"/>
                    </a:lnTo>
                    <a:lnTo>
                      <a:pt x="108886" y="81385"/>
                    </a:lnTo>
                    <a:lnTo>
                      <a:pt x="139992" y="99427"/>
                    </a:lnTo>
                    <a:lnTo>
                      <a:pt x="143195" y="114486"/>
                    </a:lnTo>
                    <a:lnTo>
                      <a:pt x="124797" y="117101"/>
                    </a:lnTo>
                    <a:lnTo>
                      <a:pt x="126955" y="135955"/>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87" name="Polygon form 52"/>
              <p:cNvSpPr/>
              <p:nvPr/>
            </p:nvSpPr>
            <p:spPr>
              <a:xfrm>
                <a:off x="6880487" y="4250294"/>
                <a:ext cx="82549" cy="61000"/>
              </a:xfrm>
              <a:custGeom>
                <a:avLst/>
                <a:gdLst/>
                <a:ahLst/>
                <a:cxnLst/>
                <a:rect l="0" t="0" r="0" b="0"/>
                <a:pathLst>
                  <a:path w="82549" h="61000">
                    <a:moveTo>
                      <a:pt x="72756" y="37857"/>
                    </a:moveTo>
                    <a:lnTo>
                      <a:pt x="62239" y="39990"/>
                    </a:lnTo>
                    <a:lnTo>
                      <a:pt x="58363" y="47907"/>
                    </a:lnTo>
                    <a:lnTo>
                      <a:pt x="46916" y="54583"/>
                    </a:lnTo>
                    <a:lnTo>
                      <a:pt x="36138" y="61000"/>
                    </a:lnTo>
                    <a:lnTo>
                      <a:pt x="25709" y="60728"/>
                    </a:lnTo>
                    <a:lnTo>
                      <a:pt x="10452" y="52154"/>
                    </a:lnTo>
                    <a:lnTo>
                      <a:pt x="0" y="44040"/>
                    </a:lnTo>
                    <a:lnTo>
                      <a:pt x="2442" y="35333"/>
                    </a:lnTo>
                    <a:lnTo>
                      <a:pt x="19693" y="39804"/>
                    </a:lnTo>
                    <a:lnTo>
                      <a:pt x="30658" y="37800"/>
                    </a:lnTo>
                    <a:lnTo>
                      <a:pt x="34827" y="24260"/>
                    </a:lnTo>
                    <a:lnTo>
                      <a:pt x="37710" y="23608"/>
                    </a:lnTo>
                    <a:lnTo>
                      <a:pt x="38283" y="38710"/>
                    </a:lnTo>
                    <a:lnTo>
                      <a:pt x="49704" y="36763"/>
                    </a:lnTo>
                    <a:lnTo>
                      <a:pt x="56127" y="27141"/>
                    </a:lnTo>
                    <a:lnTo>
                      <a:pt x="67965" y="17187"/>
                    </a:lnTo>
                    <a:lnTo>
                      <a:pt x="67076" y="362"/>
                    </a:lnTo>
                    <a:lnTo>
                      <a:pt x="78912" y="0"/>
                    </a:lnTo>
                    <a:lnTo>
                      <a:pt x="82549" y="4748"/>
                    </a:lnTo>
                    <a:lnTo>
                      <a:pt x="80907" y="20573"/>
                    </a:lnTo>
                    <a:lnTo>
                      <a:pt x="72756" y="37857"/>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88" name="Polygon form 53"/>
              <p:cNvSpPr/>
              <p:nvPr/>
            </p:nvSpPr>
            <p:spPr>
              <a:xfrm>
                <a:off x="6932685" y="4203015"/>
                <a:ext cx="45723" cy="65140"/>
              </a:xfrm>
              <a:custGeom>
                <a:avLst/>
                <a:gdLst/>
                <a:ahLst/>
                <a:cxnLst/>
                <a:rect l="0" t="0" r="0" b="0"/>
                <a:pathLst>
                  <a:path w="45723" h="65140">
                    <a:moveTo>
                      <a:pt x="45723" y="57629"/>
                    </a:moveTo>
                    <a:lnTo>
                      <a:pt x="38958" y="65140"/>
                    </a:lnTo>
                    <a:lnTo>
                      <a:pt x="36543" y="48211"/>
                    </a:lnTo>
                    <a:lnTo>
                      <a:pt x="32716" y="37107"/>
                    </a:lnTo>
                    <a:lnTo>
                      <a:pt x="24374" y="27634"/>
                    </a:lnTo>
                    <a:lnTo>
                      <a:pt x="13832" y="15337"/>
                    </a:lnTo>
                    <a:lnTo>
                      <a:pt x="0" y="6819"/>
                    </a:lnTo>
                    <a:lnTo>
                      <a:pt x="5786" y="0"/>
                    </a:lnTo>
                    <a:lnTo>
                      <a:pt x="16079" y="8077"/>
                    </a:lnTo>
                    <a:lnTo>
                      <a:pt x="22475" y="14421"/>
                    </a:lnTo>
                    <a:lnTo>
                      <a:pt x="30390" y="21366"/>
                    </a:lnTo>
                    <a:lnTo>
                      <a:pt x="37564" y="33463"/>
                    </a:lnTo>
                    <a:lnTo>
                      <a:pt x="44448" y="42719"/>
                    </a:lnTo>
                    <a:lnTo>
                      <a:pt x="45723" y="57629"/>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90" name="Polygon form 55"/>
              <p:cNvSpPr/>
              <p:nvPr/>
            </p:nvSpPr>
            <p:spPr>
              <a:xfrm>
                <a:off x="4185740" y="2806706"/>
                <a:ext cx="168594" cy="139327"/>
              </a:xfrm>
              <a:custGeom>
                <a:avLst/>
                <a:gdLst/>
                <a:ahLst/>
                <a:cxnLst/>
                <a:rect l="0" t="0" r="0" b="0"/>
                <a:pathLst>
                  <a:path w="168594" h="139327">
                    <a:moveTo>
                      <a:pt x="20085" y="90876"/>
                    </a:moveTo>
                    <a:lnTo>
                      <a:pt x="12068" y="75541"/>
                    </a:lnTo>
                    <a:lnTo>
                      <a:pt x="12610" y="67208"/>
                    </a:lnTo>
                    <a:lnTo>
                      <a:pt x="7484" y="54344"/>
                    </a:lnTo>
                    <a:lnTo>
                      <a:pt x="896" y="45806"/>
                    </a:lnTo>
                    <a:lnTo>
                      <a:pt x="4813" y="39318"/>
                    </a:lnTo>
                    <a:lnTo>
                      <a:pt x="0" y="27081"/>
                    </a:lnTo>
                    <a:lnTo>
                      <a:pt x="10250" y="19875"/>
                    </a:lnTo>
                    <a:lnTo>
                      <a:pt x="33933" y="8423"/>
                    </a:lnTo>
                    <a:lnTo>
                      <a:pt x="52965" y="0"/>
                    </a:lnTo>
                    <a:lnTo>
                      <a:pt x="69197" y="3857"/>
                    </a:lnTo>
                    <a:lnTo>
                      <a:pt x="71083" y="9725"/>
                    </a:lnTo>
                    <a:lnTo>
                      <a:pt x="86397" y="9805"/>
                    </a:lnTo>
                    <a:lnTo>
                      <a:pt x="106264" y="12243"/>
                    </a:lnTo>
                    <a:lnTo>
                      <a:pt x="135359" y="11395"/>
                    </a:lnTo>
                    <a:lnTo>
                      <a:pt x="143862" y="13833"/>
                    </a:lnTo>
                    <a:lnTo>
                      <a:pt x="148761" y="21200"/>
                    </a:lnTo>
                    <a:lnTo>
                      <a:pt x="151007" y="31864"/>
                    </a:lnTo>
                    <a:lnTo>
                      <a:pt x="156778" y="40965"/>
                    </a:lnTo>
                    <a:lnTo>
                      <a:pt x="158078" y="50589"/>
                    </a:lnTo>
                    <a:lnTo>
                      <a:pt x="149120" y="55686"/>
                    </a:lnTo>
                    <a:lnTo>
                      <a:pt x="155666" y="66784"/>
                    </a:lnTo>
                    <a:lnTo>
                      <a:pt x="157472" y="77525"/>
                    </a:lnTo>
                    <a:lnTo>
                      <a:pt x="168594" y="98460"/>
                    </a:lnTo>
                    <a:lnTo>
                      <a:pt x="167770" y="105264"/>
                    </a:lnTo>
                    <a:lnTo>
                      <a:pt x="160004" y="108214"/>
                    </a:lnTo>
                    <a:lnTo>
                      <a:pt x="147641" y="128545"/>
                    </a:lnTo>
                    <a:lnTo>
                      <a:pt x="153284" y="139327"/>
                    </a:lnTo>
                    <a:lnTo>
                      <a:pt x="149483" y="137976"/>
                    </a:lnTo>
                    <a:lnTo>
                      <a:pt x="132594" y="128944"/>
                    </a:lnTo>
                    <a:lnTo>
                      <a:pt x="121079" y="132537"/>
                    </a:lnTo>
                    <a:lnTo>
                      <a:pt x="112973" y="130174"/>
                    </a:lnTo>
                    <a:lnTo>
                      <a:pt x="103762" y="135488"/>
                    </a:lnTo>
                    <a:lnTo>
                      <a:pt x="94474" y="127048"/>
                    </a:lnTo>
                    <a:lnTo>
                      <a:pt x="88019" y="130418"/>
                    </a:lnTo>
                    <a:lnTo>
                      <a:pt x="86931" y="128973"/>
                    </a:lnTo>
                    <a:lnTo>
                      <a:pt x="78083" y="117189"/>
                    </a:lnTo>
                    <a:lnTo>
                      <a:pt x="65679" y="115889"/>
                    </a:lnTo>
                    <a:lnTo>
                      <a:pt x="63360" y="108352"/>
                    </a:lnTo>
                    <a:lnTo>
                      <a:pt x="51826" y="105793"/>
                    </a:lnTo>
                    <a:lnTo>
                      <a:pt x="49969" y="112056"/>
                    </a:lnTo>
                    <a:lnTo>
                      <a:pt x="40566" y="107169"/>
                    </a:lnTo>
                    <a:lnTo>
                      <a:pt x="40972" y="100517"/>
                    </a:lnTo>
                    <a:lnTo>
                      <a:pt x="28526" y="98559"/>
                    </a:lnTo>
                    <a:lnTo>
                      <a:pt x="20085" y="90876"/>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91" name="Polygon form 56"/>
              <p:cNvSpPr/>
              <p:nvPr/>
            </p:nvSpPr>
            <p:spPr>
              <a:xfrm>
                <a:off x="2661898" y="3672145"/>
                <a:ext cx="31593" cy="14192"/>
              </a:xfrm>
              <a:custGeom>
                <a:avLst/>
                <a:gdLst/>
                <a:ahLst/>
                <a:cxnLst/>
                <a:rect l="0" t="0" r="0" b="0"/>
                <a:pathLst>
                  <a:path w="31593" h="14192">
                    <a:moveTo>
                      <a:pt x="19172" y="469"/>
                    </a:moveTo>
                    <a:lnTo>
                      <a:pt x="28739" y="2850"/>
                    </a:lnTo>
                    <a:lnTo>
                      <a:pt x="31593" y="7836"/>
                    </a:lnTo>
                    <a:lnTo>
                      <a:pt x="25877" y="13978"/>
                    </a:lnTo>
                    <a:lnTo>
                      <a:pt x="11377" y="13544"/>
                    </a:lnTo>
                    <a:lnTo>
                      <a:pt x="0" y="14192"/>
                    </a:lnTo>
                    <a:lnTo>
                      <a:pt x="233" y="3565"/>
                    </a:lnTo>
                    <a:lnTo>
                      <a:pt x="3433" y="0"/>
                    </a:lnTo>
                    <a:lnTo>
                      <a:pt x="19172" y="469"/>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92" name="Polygon form 57"/>
              <p:cNvSpPr/>
              <p:nvPr/>
            </p:nvSpPr>
            <p:spPr>
              <a:xfrm>
                <a:off x="6123175" y="2990786"/>
                <a:ext cx="88772" cy="143299"/>
              </a:xfrm>
              <a:custGeom>
                <a:avLst/>
                <a:gdLst/>
                <a:ahLst/>
                <a:cxnLst/>
                <a:rect l="0" t="0" r="0" b="0"/>
                <a:pathLst>
                  <a:path w="88772" h="143299">
                    <a:moveTo>
                      <a:pt x="66228" y="13786"/>
                    </a:moveTo>
                    <a:lnTo>
                      <a:pt x="71383" y="17971"/>
                    </a:lnTo>
                    <a:lnTo>
                      <a:pt x="64247" y="17128"/>
                    </a:lnTo>
                    <a:lnTo>
                      <a:pt x="62754" y="26483"/>
                    </a:lnTo>
                    <a:lnTo>
                      <a:pt x="63401" y="35643"/>
                    </a:lnTo>
                    <a:lnTo>
                      <a:pt x="75475" y="53838"/>
                    </a:lnTo>
                    <a:lnTo>
                      <a:pt x="70454" y="60362"/>
                    </a:lnTo>
                    <a:lnTo>
                      <a:pt x="70278" y="65160"/>
                    </a:lnTo>
                    <a:lnTo>
                      <a:pt x="68623" y="73339"/>
                    </a:lnTo>
                    <a:lnTo>
                      <a:pt x="60110" y="78662"/>
                    </a:lnTo>
                    <a:lnTo>
                      <a:pt x="56967" y="86241"/>
                    </a:lnTo>
                    <a:lnTo>
                      <a:pt x="62922" y="97343"/>
                    </a:lnTo>
                    <a:lnTo>
                      <a:pt x="62613" y="100359"/>
                    </a:lnTo>
                    <a:lnTo>
                      <a:pt x="71675" y="103851"/>
                    </a:lnTo>
                    <a:lnTo>
                      <a:pt x="87643" y="114133"/>
                    </a:lnTo>
                    <a:lnTo>
                      <a:pt x="88772" y="120569"/>
                    </a:lnTo>
                    <a:lnTo>
                      <a:pt x="82567" y="122962"/>
                    </a:lnTo>
                    <a:lnTo>
                      <a:pt x="71360" y="125363"/>
                    </a:lnTo>
                    <a:lnTo>
                      <a:pt x="71227" y="137563"/>
                    </a:lnTo>
                    <a:lnTo>
                      <a:pt x="63164" y="137371"/>
                    </a:lnTo>
                    <a:lnTo>
                      <a:pt x="63383" y="139796"/>
                    </a:lnTo>
                    <a:lnTo>
                      <a:pt x="52474" y="135700"/>
                    </a:lnTo>
                    <a:lnTo>
                      <a:pt x="53068" y="140705"/>
                    </a:lnTo>
                    <a:lnTo>
                      <a:pt x="49253" y="143299"/>
                    </a:lnTo>
                    <a:lnTo>
                      <a:pt x="46028" y="138536"/>
                    </a:lnTo>
                    <a:lnTo>
                      <a:pt x="40356" y="136604"/>
                    </a:lnTo>
                    <a:lnTo>
                      <a:pt x="33569" y="132951"/>
                    </a:lnTo>
                    <a:lnTo>
                      <a:pt x="31983" y="121265"/>
                    </a:lnTo>
                    <a:lnTo>
                      <a:pt x="34286" y="117888"/>
                    </a:lnTo>
                    <a:lnTo>
                      <a:pt x="30170" y="113366"/>
                    </a:lnTo>
                    <a:lnTo>
                      <a:pt x="26621" y="99196"/>
                    </a:lnTo>
                    <a:lnTo>
                      <a:pt x="23138" y="95138"/>
                    </a:lnTo>
                    <a:lnTo>
                      <a:pt x="11794" y="93312"/>
                    </a:lnTo>
                    <a:lnTo>
                      <a:pt x="0" y="87255"/>
                    </a:lnTo>
                    <a:lnTo>
                      <a:pt x="4036" y="69629"/>
                    </a:lnTo>
                    <a:lnTo>
                      <a:pt x="14075" y="54155"/>
                    </a:lnTo>
                    <a:lnTo>
                      <a:pt x="14312" y="35016"/>
                    </a:lnTo>
                    <a:lnTo>
                      <a:pt x="27000" y="42149"/>
                    </a:lnTo>
                    <a:lnTo>
                      <a:pt x="41721" y="41589"/>
                    </a:lnTo>
                    <a:lnTo>
                      <a:pt x="30786" y="28485"/>
                    </a:lnTo>
                    <a:lnTo>
                      <a:pt x="48871" y="14880"/>
                    </a:lnTo>
                    <a:lnTo>
                      <a:pt x="46013" y="0"/>
                    </a:lnTo>
                    <a:lnTo>
                      <a:pt x="66228" y="13786"/>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93" name="Polygon form 58"/>
              <p:cNvSpPr/>
              <p:nvPr/>
            </p:nvSpPr>
            <p:spPr>
              <a:xfrm>
                <a:off x="3975402" y="3836645"/>
                <a:ext cx="59279" cy="147012"/>
              </a:xfrm>
              <a:custGeom>
                <a:avLst/>
                <a:gdLst/>
                <a:ahLst/>
                <a:cxnLst/>
                <a:rect l="0" t="0" r="0" b="0"/>
                <a:pathLst>
                  <a:path w="59279" h="147012">
                    <a:moveTo>
                      <a:pt x="37865" y="144194"/>
                    </a:moveTo>
                    <a:lnTo>
                      <a:pt x="21593" y="147012"/>
                    </a:lnTo>
                    <a:lnTo>
                      <a:pt x="16724" y="130370"/>
                    </a:lnTo>
                    <a:lnTo>
                      <a:pt x="17546" y="74966"/>
                    </a:lnTo>
                    <a:lnTo>
                      <a:pt x="13583" y="69997"/>
                    </a:lnTo>
                    <a:lnTo>
                      <a:pt x="12821" y="58157"/>
                    </a:lnTo>
                    <a:lnTo>
                      <a:pt x="5997" y="49710"/>
                    </a:lnTo>
                    <a:lnTo>
                      <a:pt x="0" y="42589"/>
                    </a:lnTo>
                    <a:lnTo>
                      <a:pt x="2482" y="29887"/>
                    </a:lnTo>
                    <a:lnTo>
                      <a:pt x="9216" y="27155"/>
                    </a:lnTo>
                    <a:lnTo>
                      <a:pt x="13189" y="16607"/>
                    </a:lnTo>
                    <a:lnTo>
                      <a:pt x="22753" y="14350"/>
                    </a:lnTo>
                    <a:lnTo>
                      <a:pt x="27012" y="7135"/>
                    </a:lnTo>
                    <a:lnTo>
                      <a:pt x="33558" y="66"/>
                    </a:lnTo>
                    <a:lnTo>
                      <a:pt x="40569" y="0"/>
                    </a:lnTo>
                    <a:lnTo>
                      <a:pt x="55543" y="13875"/>
                    </a:lnTo>
                    <a:lnTo>
                      <a:pt x="54814" y="21891"/>
                    </a:lnTo>
                    <a:lnTo>
                      <a:pt x="59279" y="36199"/>
                    </a:lnTo>
                    <a:lnTo>
                      <a:pt x="55455" y="45914"/>
                    </a:lnTo>
                    <a:lnTo>
                      <a:pt x="57546" y="52402"/>
                    </a:lnTo>
                    <a:lnTo>
                      <a:pt x="48078" y="67343"/>
                    </a:lnTo>
                    <a:lnTo>
                      <a:pt x="42051" y="74741"/>
                    </a:lnTo>
                    <a:lnTo>
                      <a:pt x="38386" y="89960"/>
                    </a:lnTo>
                    <a:lnTo>
                      <a:pt x="38918" y="105306"/>
                    </a:lnTo>
                    <a:lnTo>
                      <a:pt x="37865" y="144194"/>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94" name="Polygon form 59"/>
              <p:cNvSpPr/>
              <p:nvPr/>
            </p:nvSpPr>
            <p:spPr>
              <a:xfrm>
                <a:off x="3790275" y="3111479"/>
                <a:ext cx="57752" cy="131354"/>
              </a:xfrm>
              <a:custGeom>
                <a:avLst/>
                <a:gdLst/>
                <a:ahLst/>
                <a:cxnLst/>
                <a:rect l="0" t="0" r="0" b="0"/>
                <a:pathLst>
                  <a:path w="57752" h="131354">
                    <a:moveTo>
                      <a:pt x="11778" y="9577"/>
                    </a:moveTo>
                    <a:lnTo>
                      <a:pt x="18376" y="3480"/>
                    </a:lnTo>
                    <a:lnTo>
                      <a:pt x="25643" y="0"/>
                    </a:lnTo>
                    <a:lnTo>
                      <a:pt x="29586" y="11836"/>
                    </a:lnTo>
                    <a:lnTo>
                      <a:pt x="39934" y="11856"/>
                    </a:lnTo>
                    <a:lnTo>
                      <a:pt x="43035" y="8823"/>
                    </a:lnTo>
                    <a:lnTo>
                      <a:pt x="53209" y="9711"/>
                    </a:lnTo>
                    <a:lnTo>
                      <a:pt x="57752" y="21832"/>
                    </a:lnTo>
                    <a:lnTo>
                      <a:pt x="49435" y="28331"/>
                    </a:lnTo>
                    <a:lnTo>
                      <a:pt x="48635" y="47156"/>
                    </a:lnTo>
                    <a:lnTo>
                      <a:pt x="45656" y="50675"/>
                    </a:lnTo>
                    <a:lnTo>
                      <a:pt x="44595" y="62076"/>
                    </a:lnTo>
                    <a:lnTo>
                      <a:pt x="36866" y="64029"/>
                    </a:lnTo>
                    <a:lnTo>
                      <a:pt x="43539" y="78525"/>
                    </a:lnTo>
                    <a:lnTo>
                      <a:pt x="38132" y="94357"/>
                    </a:lnTo>
                    <a:lnTo>
                      <a:pt x="44089" y="101556"/>
                    </a:lnTo>
                    <a:lnTo>
                      <a:pt x="41439" y="108106"/>
                    </a:lnTo>
                    <a:lnTo>
                      <a:pt x="34516" y="117127"/>
                    </a:lnTo>
                    <a:lnTo>
                      <a:pt x="35775" y="125123"/>
                    </a:lnTo>
                    <a:lnTo>
                      <a:pt x="28344" y="131354"/>
                    </a:lnTo>
                    <a:lnTo>
                      <a:pt x="18953" y="127918"/>
                    </a:lnTo>
                    <a:lnTo>
                      <a:pt x="9562" y="130530"/>
                    </a:lnTo>
                    <a:lnTo>
                      <a:pt x="12978" y="111660"/>
                    </a:lnTo>
                    <a:lnTo>
                      <a:pt x="11830" y="96813"/>
                    </a:lnTo>
                    <a:lnTo>
                      <a:pt x="3912" y="94545"/>
                    </a:lnTo>
                    <a:lnTo>
                      <a:pt x="0" y="85377"/>
                    </a:lnTo>
                    <a:lnTo>
                      <a:pt x="2051" y="69587"/>
                    </a:lnTo>
                    <a:lnTo>
                      <a:pt x="9478" y="60866"/>
                    </a:lnTo>
                    <a:lnTo>
                      <a:pt x="11116" y="51118"/>
                    </a:lnTo>
                    <a:lnTo>
                      <a:pt x="15369" y="36627"/>
                    </a:lnTo>
                    <a:lnTo>
                      <a:pt x="15379" y="26401"/>
                    </a:lnTo>
                    <a:lnTo>
                      <a:pt x="12215" y="17716"/>
                    </a:lnTo>
                    <a:lnTo>
                      <a:pt x="11778" y="9577"/>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95" name="Polygon form 60"/>
              <p:cNvSpPr/>
              <p:nvPr/>
            </p:nvSpPr>
            <p:spPr>
              <a:xfrm>
                <a:off x="2762713" y="4609133"/>
                <a:ext cx="167573" cy="200214"/>
              </a:xfrm>
              <a:custGeom>
                <a:avLst/>
                <a:gdLst/>
                <a:ahLst/>
                <a:cxnLst/>
                <a:rect l="0" t="0" r="0" b="0"/>
                <a:pathLst>
                  <a:path w="167573" h="200214">
                    <a:moveTo>
                      <a:pt x="0" y="72707"/>
                    </a:moveTo>
                    <a:lnTo>
                      <a:pt x="3320" y="43004"/>
                    </a:lnTo>
                    <a:lnTo>
                      <a:pt x="2000" y="29725"/>
                    </a:lnTo>
                    <a:lnTo>
                      <a:pt x="8369" y="7827"/>
                    </a:lnTo>
                    <a:lnTo>
                      <a:pt x="40969" y="0"/>
                    </a:lnTo>
                    <a:lnTo>
                      <a:pt x="58864" y="11"/>
                    </a:lnTo>
                    <a:lnTo>
                      <a:pt x="78278" y="12264"/>
                    </a:lnTo>
                    <a:lnTo>
                      <a:pt x="79530" y="19842"/>
                    </a:lnTo>
                    <a:lnTo>
                      <a:pt x="86897" y="33408"/>
                    </a:lnTo>
                    <a:lnTo>
                      <a:pt x="89964" y="66813"/>
                    </a:lnTo>
                    <a:lnTo>
                      <a:pt x="110726" y="71114"/>
                    </a:lnTo>
                    <a:lnTo>
                      <a:pt x="117876" y="66144"/>
                    </a:lnTo>
                    <a:lnTo>
                      <a:pt x="131625" y="72529"/>
                    </a:lnTo>
                    <a:lnTo>
                      <a:pt x="136158" y="79788"/>
                    </a:lnTo>
                    <a:lnTo>
                      <a:pt x="140962" y="102241"/>
                    </a:lnTo>
                    <a:lnTo>
                      <a:pt x="144489" y="111638"/>
                    </a:lnTo>
                    <a:lnTo>
                      <a:pt x="151710" y="112575"/>
                    </a:lnTo>
                    <a:lnTo>
                      <a:pt x="158277" y="108458"/>
                    </a:lnTo>
                    <a:lnTo>
                      <a:pt x="165712" y="112763"/>
                    </a:lnTo>
                    <a:lnTo>
                      <a:pt x="167573" y="126242"/>
                    </a:lnTo>
                    <a:lnTo>
                      <a:pt x="167077" y="140794"/>
                    </a:lnTo>
                    <a:lnTo>
                      <a:pt x="165444" y="155021"/>
                    </a:lnTo>
                    <a:lnTo>
                      <a:pt x="165641" y="176722"/>
                    </a:lnTo>
                    <a:lnTo>
                      <a:pt x="151600" y="195907"/>
                    </a:lnTo>
                    <a:lnTo>
                      <a:pt x="137443" y="200214"/>
                    </a:lnTo>
                    <a:lnTo>
                      <a:pt x="115809" y="197002"/>
                    </a:lnTo>
                    <a:lnTo>
                      <a:pt x="95806" y="190804"/>
                    </a:lnTo>
                    <a:lnTo>
                      <a:pt x="108246" y="153015"/>
                    </a:lnTo>
                    <a:lnTo>
                      <a:pt x="103862" y="142241"/>
                    </a:lnTo>
                    <a:lnTo>
                      <a:pt x="82934" y="133096"/>
                    </a:lnTo>
                    <a:lnTo>
                      <a:pt x="57036" y="115476"/>
                    </a:lnTo>
                    <a:lnTo>
                      <a:pt x="40971" y="112100"/>
                    </a:lnTo>
                    <a:lnTo>
                      <a:pt x="0" y="72707"/>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96" name="Polygon form 61"/>
              <p:cNvSpPr/>
              <p:nvPr/>
            </p:nvSpPr>
            <p:spPr>
              <a:xfrm>
                <a:off x="4605762" y="3341350"/>
                <a:ext cx="10760" cy="28689"/>
              </a:xfrm>
              <a:custGeom>
                <a:avLst/>
                <a:gdLst/>
                <a:ahLst/>
                <a:cxnLst/>
                <a:rect l="0" t="0" r="0" b="0"/>
                <a:pathLst>
                  <a:path w="10760" h="28689">
                    <a:moveTo>
                      <a:pt x="8965" y="3243"/>
                    </a:moveTo>
                    <a:lnTo>
                      <a:pt x="10760" y="18081"/>
                    </a:lnTo>
                    <a:lnTo>
                      <a:pt x="8885" y="25249"/>
                    </a:lnTo>
                    <a:lnTo>
                      <a:pt x="591" y="28689"/>
                    </a:lnTo>
                    <a:lnTo>
                      <a:pt x="640" y="22286"/>
                    </a:lnTo>
                    <a:lnTo>
                      <a:pt x="4954" y="18867"/>
                    </a:lnTo>
                    <a:lnTo>
                      <a:pt x="0" y="16224"/>
                    </a:lnTo>
                    <a:lnTo>
                      <a:pt x="1907" y="0"/>
                    </a:lnTo>
                    <a:lnTo>
                      <a:pt x="8965" y="3243"/>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97" name="Polygon form 62"/>
              <p:cNvSpPr/>
              <p:nvPr/>
            </p:nvSpPr>
            <p:spPr>
              <a:xfrm>
                <a:off x="4920059" y="3491711"/>
                <a:ext cx="17182" cy="38191"/>
              </a:xfrm>
              <a:custGeom>
                <a:avLst/>
                <a:gdLst/>
                <a:ahLst/>
                <a:cxnLst/>
                <a:rect l="0" t="0" r="0" b="0"/>
                <a:pathLst>
                  <a:path w="17182" h="38191">
                    <a:moveTo>
                      <a:pt x="3640" y="33452"/>
                    </a:moveTo>
                    <a:lnTo>
                      <a:pt x="0" y="15678"/>
                    </a:lnTo>
                    <a:lnTo>
                      <a:pt x="3309" y="2741"/>
                    </a:lnTo>
                    <a:lnTo>
                      <a:pt x="8082" y="0"/>
                    </a:lnTo>
                    <a:lnTo>
                      <a:pt x="14862" y="7547"/>
                    </a:lnTo>
                    <a:lnTo>
                      <a:pt x="17182" y="21866"/>
                    </a:lnTo>
                    <a:lnTo>
                      <a:pt x="15021" y="36347"/>
                    </a:lnTo>
                    <a:lnTo>
                      <a:pt x="10004" y="38191"/>
                    </a:lnTo>
                    <a:lnTo>
                      <a:pt x="3640" y="33452"/>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98" name="Polygon form 63"/>
              <p:cNvSpPr/>
              <p:nvPr/>
            </p:nvSpPr>
            <p:spPr>
              <a:xfrm>
                <a:off x="4304120" y="2964397"/>
                <a:ext cx="163616" cy="109838"/>
              </a:xfrm>
              <a:custGeom>
                <a:avLst/>
                <a:gdLst/>
                <a:ahLst/>
                <a:cxnLst/>
                <a:rect l="0" t="0" r="0" b="0"/>
                <a:pathLst>
                  <a:path w="163616" h="109838">
                    <a:moveTo>
                      <a:pt x="37235" y="9308"/>
                    </a:moveTo>
                    <a:lnTo>
                      <a:pt x="43823" y="4020"/>
                    </a:lnTo>
                    <a:lnTo>
                      <a:pt x="54515" y="6525"/>
                    </a:lnTo>
                    <a:lnTo>
                      <a:pt x="65257" y="6434"/>
                    </a:lnTo>
                    <a:lnTo>
                      <a:pt x="73815" y="12202"/>
                    </a:lnTo>
                    <a:lnTo>
                      <a:pt x="79038" y="8394"/>
                    </a:lnTo>
                    <a:lnTo>
                      <a:pt x="91074" y="5851"/>
                    </a:lnTo>
                    <a:lnTo>
                      <a:pt x="94482" y="127"/>
                    </a:lnTo>
                    <a:lnTo>
                      <a:pt x="101527" y="0"/>
                    </a:lnTo>
                    <a:lnTo>
                      <a:pt x="106960" y="2259"/>
                    </a:lnTo>
                    <a:lnTo>
                      <a:pt x="113187" y="9324"/>
                    </a:lnTo>
                    <a:lnTo>
                      <a:pt x="120000" y="19411"/>
                    </a:lnTo>
                    <a:lnTo>
                      <a:pt x="131824" y="33594"/>
                    </a:lnTo>
                    <a:lnTo>
                      <a:pt x="133919" y="44192"/>
                    </a:lnTo>
                    <a:lnTo>
                      <a:pt x="133623" y="54547"/>
                    </a:lnTo>
                    <a:lnTo>
                      <a:pt x="138250" y="65519"/>
                    </a:lnTo>
                    <a:lnTo>
                      <a:pt x="146498" y="69828"/>
                    </a:lnTo>
                    <a:lnTo>
                      <a:pt x="153943" y="65782"/>
                    </a:lnTo>
                    <a:lnTo>
                      <a:pt x="162291" y="69779"/>
                    </a:lnTo>
                    <a:lnTo>
                      <a:pt x="163616" y="76007"/>
                    </a:lnTo>
                    <a:lnTo>
                      <a:pt x="156084" y="81373"/>
                    </a:lnTo>
                    <a:lnTo>
                      <a:pt x="150558" y="79209"/>
                    </a:lnTo>
                    <a:lnTo>
                      <a:pt x="149859" y="108471"/>
                    </a:lnTo>
                    <a:lnTo>
                      <a:pt x="139370" y="106119"/>
                    </a:lnTo>
                    <a:lnTo>
                      <a:pt x="125657" y="97556"/>
                    </a:lnTo>
                    <a:lnTo>
                      <a:pt x="106115" y="103530"/>
                    </a:lnTo>
                    <a:lnTo>
                      <a:pt x="98331" y="109838"/>
                    </a:lnTo>
                    <a:lnTo>
                      <a:pt x="72822" y="108976"/>
                    </a:lnTo>
                    <a:lnTo>
                      <a:pt x="59130" y="105412"/>
                    </a:lnTo>
                    <a:lnTo>
                      <a:pt x="52643" y="107281"/>
                    </a:lnTo>
                    <a:lnTo>
                      <a:pt x="46583" y="97422"/>
                    </a:lnTo>
                    <a:lnTo>
                      <a:pt x="42967" y="93258"/>
                    </a:lnTo>
                    <a:lnTo>
                      <a:pt x="46495" y="89121"/>
                    </a:lnTo>
                    <a:lnTo>
                      <a:pt x="41925" y="86176"/>
                    </a:lnTo>
                    <a:lnTo>
                      <a:pt x="37131" y="91669"/>
                    </a:lnTo>
                    <a:lnTo>
                      <a:pt x="26364" y="84795"/>
                    </a:lnTo>
                    <a:lnTo>
                      <a:pt x="23951" y="74857"/>
                    </a:lnTo>
                    <a:lnTo>
                      <a:pt x="12936" y="69323"/>
                    </a:lnTo>
                    <a:lnTo>
                      <a:pt x="10213" y="61665"/>
                    </a:lnTo>
                    <a:lnTo>
                      <a:pt x="0" y="52304"/>
                    </a:lnTo>
                    <a:lnTo>
                      <a:pt x="13126" y="47559"/>
                    </a:lnTo>
                    <a:lnTo>
                      <a:pt x="21534" y="31033"/>
                    </a:lnTo>
                    <a:lnTo>
                      <a:pt x="27601" y="14534"/>
                    </a:lnTo>
                    <a:lnTo>
                      <a:pt x="37235" y="9308"/>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99" name="Polygon form 64"/>
              <p:cNvSpPr/>
              <p:nvPr/>
            </p:nvSpPr>
            <p:spPr>
              <a:xfrm>
                <a:off x="4338051" y="2214045"/>
                <a:ext cx="2066174" cy="912588"/>
              </a:xfrm>
              <a:custGeom>
                <a:avLst/>
                <a:gdLst/>
                <a:ahLst/>
                <a:cxnLst/>
                <a:rect l="0" t="0" r="0" b="0"/>
                <a:pathLst>
                  <a:path w="2066174" h="912588">
                    <a:moveTo>
                      <a:pt x="806528" y="13421"/>
                    </a:moveTo>
                    <a:lnTo>
                      <a:pt x="821804" y="23867"/>
                    </a:lnTo>
                    <a:lnTo>
                      <a:pt x="825158" y="17788"/>
                    </a:lnTo>
                    <a:lnTo>
                      <a:pt x="855748" y="15426"/>
                    </a:lnTo>
                    <a:lnTo>
                      <a:pt x="891827" y="23749"/>
                    </a:lnTo>
                    <a:lnTo>
                      <a:pt x="910029" y="30983"/>
                    </a:lnTo>
                    <a:lnTo>
                      <a:pt x="921045" y="42384"/>
                    </a:lnTo>
                    <a:lnTo>
                      <a:pt x="917015" y="49884"/>
                    </a:lnTo>
                    <a:lnTo>
                      <a:pt x="902964" y="64609"/>
                    </a:lnTo>
                    <a:lnTo>
                      <a:pt x="902203" y="71862"/>
                    </a:lnTo>
                    <a:lnTo>
                      <a:pt x="919159" y="73642"/>
                    </a:lnTo>
                    <a:lnTo>
                      <a:pt x="941565" y="77590"/>
                    </a:lnTo>
                    <a:lnTo>
                      <a:pt x="946560" y="72506"/>
                    </a:lnTo>
                    <a:lnTo>
                      <a:pt x="968361" y="85943"/>
                    </a:lnTo>
                    <a:lnTo>
                      <a:pt x="966570" y="79796"/>
                    </a:lnTo>
                    <a:lnTo>
                      <a:pt x="979862" y="74609"/>
                    </a:lnTo>
                    <a:lnTo>
                      <a:pt x="1018769" y="74584"/>
                    </a:lnTo>
                    <a:lnTo>
                      <a:pt x="1033713" y="84398"/>
                    </a:lnTo>
                    <a:lnTo>
                      <a:pt x="1082835" y="82640"/>
                    </a:lnTo>
                    <a:lnTo>
                      <a:pt x="1062691" y="66250"/>
                    </a:lnTo>
                    <a:lnTo>
                      <a:pt x="1089992" y="67453"/>
                    </a:lnTo>
                    <a:lnTo>
                      <a:pt x="1106699" y="65409"/>
                    </a:lnTo>
                    <a:lnTo>
                      <a:pt x="1138525" y="74553"/>
                    </a:lnTo>
                    <a:lnTo>
                      <a:pt x="1161349" y="87534"/>
                    </a:lnTo>
                    <a:lnTo>
                      <a:pt x="1166629" y="97225"/>
                    </a:lnTo>
                    <a:lnTo>
                      <a:pt x="1202004" y="112387"/>
                    </a:lnTo>
                    <a:lnTo>
                      <a:pt x="1230418" y="118924"/>
                    </a:lnTo>
                    <a:lnTo>
                      <a:pt x="1211442" y="95227"/>
                    </a:lnTo>
                    <a:lnTo>
                      <a:pt x="1241418" y="102557"/>
                    </a:lnTo>
                    <a:lnTo>
                      <a:pt x="1251928" y="94498"/>
                    </a:lnTo>
                    <a:lnTo>
                      <a:pt x="1281428" y="98229"/>
                    </a:lnTo>
                    <a:lnTo>
                      <a:pt x="1281030" y="91298"/>
                    </a:lnTo>
                    <a:lnTo>
                      <a:pt x="1302400" y="91874"/>
                    </a:lnTo>
                    <a:lnTo>
                      <a:pt x="1267275" y="73611"/>
                    </a:lnTo>
                    <a:lnTo>
                      <a:pt x="1267897" y="62853"/>
                    </a:lnTo>
                    <a:lnTo>
                      <a:pt x="1379724" y="63065"/>
                    </a:lnTo>
                    <a:lnTo>
                      <a:pt x="1407029" y="73739"/>
                    </a:lnTo>
                    <a:lnTo>
                      <a:pt x="1457726" y="85053"/>
                    </a:lnTo>
                    <a:lnTo>
                      <a:pt x="1492296" y="74662"/>
                    </a:lnTo>
                    <a:lnTo>
                      <a:pt x="1517449" y="74629"/>
                    </a:lnTo>
                    <a:lnTo>
                      <a:pt x="1539238" y="81432"/>
                    </a:lnTo>
                    <a:lnTo>
                      <a:pt x="1561845" y="96261"/>
                    </a:lnTo>
                    <a:lnTo>
                      <a:pt x="1583504" y="99794"/>
                    </a:lnTo>
                    <a:lnTo>
                      <a:pt x="1590218" y="93300"/>
                    </a:lnTo>
                    <a:lnTo>
                      <a:pt x="1606969" y="89589"/>
                    </a:lnTo>
                    <a:lnTo>
                      <a:pt x="1632122" y="90028"/>
                    </a:lnTo>
                    <a:lnTo>
                      <a:pt x="1646955" y="84353"/>
                    </a:lnTo>
                    <a:lnTo>
                      <a:pt x="1693944" y="98519"/>
                    </a:lnTo>
                    <a:lnTo>
                      <a:pt x="1695175" y="89855"/>
                    </a:lnTo>
                    <a:lnTo>
                      <a:pt x="1665607" y="78945"/>
                    </a:lnTo>
                    <a:lnTo>
                      <a:pt x="1654690" y="69532"/>
                    </a:lnTo>
                    <a:lnTo>
                      <a:pt x="1694577" y="68935"/>
                    </a:lnTo>
                    <a:lnTo>
                      <a:pt x="1711989" y="63845"/>
                    </a:lnTo>
                    <a:lnTo>
                      <a:pt x="1755446" y="67274"/>
                    </a:lnTo>
                    <a:lnTo>
                      <a:pt x="1783793" y="72704"/>
                    </a:lnTo>
                    <a:lnTo>
                      <a:pt x="1922702" y="150281"/>
                    </a:lnTo>
                    <a:lnTo>
                      <a:pt x="1922816" y="150406"/>
                    </a:lnTo>
                    <a:lnTo>
                      <a:pt x="1925089" y="162255"/>
                    </a:lnTo>
                    <a:lnTo>
                      <a:pt x="1909627" y="163762"/>
                    </a:lnTo>
                    <a:lnTo>
                      <a:pt x="1936695" y="172527"/>
                    </a:lnTo>
                    <a:lnTo>
                      <a:pt x="1970517" y="188049"/>
                    </a:lnTo>
                    <a:lnTo>
                      <a:pt x="1984293" y="192502"/>
                    </a:lnTo>
                    <a:lnTo>
                      <a:pt x="1999380" y="200808"/>
                    </a:lnTo>
                    <a:lnTo>
                      <a:pt x="2005588" y="206971"/>
                    </a:lnTo>
                    <a:lnTo>
                      <a:pt x="1979014" y="206975"/>
                    </a:lnTo>
                    <a:lnTo>
                      <a:pt x="1974210" y="229675"/>
                    </a:lnTo>
                    <a:lnTo>
                      <a:pt x="1968433" y="234317"/>
                    </a:lnTo>
                    <a:lnTo>
                      <a:pt x="1974247" y="253157"/>
                    </a:lnTo>
                    <a:lnTo>
                      <a:pt x="1977474" y="270055"/>
                    </a:lnTo>
                    <a:lnTo>
                      <a:pt x="1987478" y="280933"/>
                    </a:lnTo>
                    <a:lnTo>
                      <a:pt x="1949942" y="269185"/>
                    </a:lnTo>
                    <a:lnTo>
                      <a:pt x="1944303" y="292723"/>
                    </a:lnTo>
                    <a:lnTo>
                      <a:pt x="1927847" y="285555"/>
                    </a:lnTo>
                    <a:lnTo>
                      <a:pt x="1929613" y="297344"/>
                    </a:lnTo>
                    <a:lnTo>
                      <a:pt x="1909973" y="297412"/>
                    </a:lnTo>
                    <a:lnTo>
                      <a:pt x="1925628" y="312898"/>
                    </a:lnTo>
                    <a:lnTo>
                      <a:pt x="1939483" y="337603"/>
                    </a:lnTo>
                    <a:lnTo>
                      <a:pt x="1951518" y="346731"/>
                    </a:lnTo>
                    <a:lnTo>
                      <a:pt x="1971740" y="349136"/>
                    </a:lnTo>
                    <a:lnTo>
                      <a:pt x="2011544" y="382965"/>
                    </a:lnTo>
                    <a:lnTo>
                      <a:pt x="2001057" y="386079"/>
                    </a:lnTo>
                    <a:lnTo>
                      <a:pt x="2018912" y="406615"/>
                    </a:lnTo>
                    <a:lnTo>
                      <a:pt x="2036020" y="415692"/>
                    </a:lnTo>
                    <a:lnTo>
                      <a:pt x="2027545" y="431989"/>
                    </a:lnTo>
                    <a:lnTo>
                      <a:pt x="2053444" y="459946"/>
                    </a:lnTo>
                    <a:lnTo>
                      <a:pt x="2040177" y="469390"/>
                    </a:lnTo>
                    <a:lnTo>
                      <a:pt x="2062315" y="494535"/>
                    </a:lnTo>
                    <a:lnTo>
                      <a:pt x="2066174" y="520579"/>
                    </a:lnTo>
                    <a:lnTo>
                      <a:pt x="2043962" y="504746"/>
                    </a:lnTo>
                    <a:lnTo>
                      <a:pt x="2001298" y="470643"/>
                    </a:lnTo>
                    <a:lnTo>
                      <a:pt x="1936277" y="419213"/>
                    </a:lnTo>
                    <a:lnTo>
                      <a:pt x="1905390" y="385686"/>
                    </a:lnTo>
                    <a:lnTo>
                      <a:pt x="1899727" y="369936"/>
                    </a:lnTo>
                    <a:lnTo>
                      <a:pt x="1887512" y="359048"/>
                    </a:lnTo>
                    <a:lnTo>
                      <a:pt x="1900428" y="350370"/>
                    </a:lnTo>
                    <a:lnTo>
                      <a:pt x="1886237" y="317653"/>
                    </a:lnTo>
                    <a:lnTo>
                      <a:pt x="1876497" y="290671"/>
                    </a:lnTo>
                    <a:lnTo>
                      <a:pt x="1873373" y="268912"/>
                    </a:lnTo>
                    <a:lnTo>
                      <a:pt x="1839379" y="236339"/>
                    </a:lnTo>
                    <a:lnTo>
                      <a:pt x="1828433" y="240859"/>
                    </a:lnTo>
                    <a:lnTo>
                      <a:pt x="1846708" y="260171"/>
                    </a:lnTo>
                    <a:lnTo>
                      <a:pt x="1850143" y="290137"/>
                    </a:lnTo>
                    <a:lnTo>
                      <a:pt x="1804409" y="264679"/>
                    </a:lnTo>
                    <a:lnTo>
                      <a:pt x="1784420" y="277774"/>
                    </a:lnTo>
                    <a:lnTo>
                      <a:pt x="1802297" y="320811"/>
                    </a:lnTo>
                    <a:lnTo>
                      <a:pt x="1829416" y="332947"/>
                    </a:lnTo>
                    <a:lnTo>
                      <a:pt x="1809191" y="343779"/>
                    </a:lnTo>
                    <a:lnTo>
                      <a:pt x="1792804" y="349469"/>
                    </a:lnTo>
                    <a:lnTo>
                      <a:pt x="1774118" y="332764"/>
                    </a:lnTo>
                    <a:lnTo>
                      <a:pt x="1750843" y="332572"/>
                    </a:lnTo>
                    <a:lnTo>
                      <a:pt x="1748610" y="346405"/>
                    </a:lnTo>
                    <a:lnTo>
                      <a:pt x="1705738" y="348732"/>
                    </a:lnTo>
                    <a:lnTo>
                      <a:pt x="1671614" y="362150"/>
                    </a:lnTo>
                    <a:lnTo>
                      <a:pt x="1677415" y="414093"/>
                    </a:lnTo>
                    <a:lnTo>
                      <a:pt x="1679800" y="477522"/>
                    </a:lnTo>
                    <a:lnTo>
                      <a:pt x="1704437" y="477489"/>
                    </a:lnTo>
                    <a:lnTo>
                      <a:pt x="1725292" y="491541"/>
                    </a:lnTo>
                    <a:lnTo>
                      <a:pt x="1743799" y="494964"/>
                    </a:lnTo>
                    <a:lnTo>
                      <a:pt x="1741404" y="481699"/>
                    </a:lnTo>
                    <a:lnTo>
                      <a:pt x="1758029" y="481054"/>
                    </a:lnTo>
                    <a:lnTo>
                      <a:pt x="1803164" y="504559"/>
                    </a:lnTo>
                    <a:lnTo>
                      <a:pt x="1822840" y="525057"/>
                    </a:lnTo>
                    <a:lnTo>
                      <a:pt x="1833830" y="550954"/>
                    </a:lnTo>
                    <a:lnTo>
                      <a:pt x="1858395" y="580343"/>
                    </a:lnTo>
                    <a:lnTo>
                      <a:pt x="1885289" y="620686"/>
                    </a:lnTo>
                    <a:lnTo>
                      <a:pt x="1891862" y="659692"/>
                    </a:lnTo>
                    <a:lnTo>
                      <a:pt x="1900295" y="677637"/>
                    </a:lnTo>
                    <a:lnTo>
                      <a:pt x="1901548" y="709514"/>
                    </a:lnTo>
                    <a:lnTo>
                      <a:pt x="1901639" y="741200"/>
                    </a:lnTo>
                    <a:lnTo>
                      <a:pt x="1901942" y="757358"/>
                    </a:lnTo>
                    <a:lnTo>
                      <a:pt x="1890911" y="774706"/>
                    </a:lnTo>
                    <a:lnTo>
                      <a:pt x="1881033" y="776198"/>
                    </a:lnTo>
                    <a:lnTo>
                      <a:pt x="1862662" y="765052"/>
                    </a:lnTo>
                    <a:lnTo>
                      <a:pt x="1853507" y="786002"/>
                    </a:lnTo>
                    <a:lnTo>
                      <a:pt x="1856507" y="794713"/>
                    </a:lnTo>
                    <a:lnTo>
                      <a:pt x="1851352" y="790528"/>
                    </a:lnTo>
                    <a:lnTo>
                      <a:pt x="1842795" y="777680"/>
                    </a:lnTo>
                    <a:lnTo>
                      <a:pt x="1850546" y="776079"/>
                    </a:lnTo>
                    <a:lnTo>
                      <a:pt x="1832652" y="745999"/>
                    </a:lnTo>
                    <a:lnTo>
                      <a:pt x="1813522" y="724953"/>
                    </a:lnTo>
                    <a:lnTo>
                      <a:pt x="1820706" y="714515"/>
                    </a:lnTo>
                    <a:lnTo>
                      <a:pt x="1842870" y="716696"/>
                    </a:lnTo>
                    <a:lnTo>
                      <a:pt x="1835526" y="691060"/>
                    </a:lnTo>
                    <a:lnTo>
                      <a:pt x="1820197" y="663083"/>
                    </a:lnTo>
                    <a:lnTo>
                      <a:pt x="1819099" y="653240"/>
                    </a:lnTo>
                    <a:lnTo>
                      <a:pt x="1809496" y="629919"/>
                    </a:lnTo>
                    <a:lnTo>
                      <a:pt x="1790363" y="640390"/>
                    </a:lnTo>
                    <a:lnTo>
                      <a:pt x="1784779" y="651809"/>
                    </a:lnTo>
                    <a:lnTo>
                      <a:pt x="1761622" y="654620"/>
                    </a:lnTo>
                    <a:lnTo>
                      <a:pt x="1737733" y="632121"/>
                    </a:lnTo>
                    <a:lnTo>
                      <a:pt x="1706342" y="616776"/>
                    </a:lnTo>
                    <a:lnTo>
                      <a:pt x="1674142" y="612073"/>
                    </a:lnTo>
                    <a:lnTo>
                      <a:pt x="1649924" y="588721"/>
                    </a:lnTo>
                    <a:lnTo>
                      <a:pt x="1632898" y="574342"/>
                    </a:lnTo>
                    <a:lnTo>
                      <a:pt x="1619004" y="564521"/>
                    </a:lnTo>
                    <a:lnTo>
                      <a:pt x="1590152" y="541114"/>
                    </a:lnTo>
                    <a:lnTo>
                      <a:pt x="1570130" y="533738"/>
                    </a:lnTo>
                    <a:lnTo>
                      <a:pt x="1542593" y="529132"/>
                    </a:lnTo>
                    <a:lnTo>
                      <a:pt x="1523903" y="532051"/>
                    </a:lnTo>
                    <a:lnTo>
                      <a:pt x="1509289" y="538508"/>
                    </a:lnTo>
                    <a:lnTo>
                      <a:pt x="1506610" y="551942"/>
                    </a:lnTo>
                    <a:lnTo>
                      <a:pt x="1519141" y="556796"/>
                    </a:lnTo>
                    <a:lnTo>
                      <a:pt x="1529629" y="570196"/>
                    </a:lnTo>
                    <a:lnTo>
                      <a:pt x="1527282" y="578930"/>
                    </a:lnTo>
                    <a:lnTo>
                      <a:pt x="1532911" y="606324"/>
                    </a:lnTo>
                    <a:lnTo>
                      <a:pt x="1540844" y="617086"/>
                    </a:lnTo>
                    <a:lnTo>
                      <a:pt x="1530354" y="634889"/>
                    </a:lnTo>
                    <a:lnTo>
                      <a:pt x="1505519" y="627553"/>
                    </a:lnTo>
                    <a:lnTo>
                      <a:pt x="1488673" y="631491"/>
                    </a:lnTo>
                    <a:lnTo>
                      <a:pt x="1475001" y="624102"/>
                    </a:lnTo>
                    <a:lnTo>
                      <a:pt x="1464013" y="622393"/>
                    </a:lnTo>
                    <a:lnTo>
                      <a:pt x="1453213" y="641930"/>
                    </a:lnTo>
                    <a:lnTo>
                      <a:pt x="1435540" y="647994"/>
                    </a:lnTo>
                    <a:lnTo>
                      <a:pt x="1425225" y="655456"/>
                    </a:lnTo>
                    <a:lnTo>
                      <a:pt x="1403067" y="653323"/>
                    </a:lnTo>
                    <a:lnTo>
                      <a:pt x="1388795" y="654934"/>
                    </a:lnTo>
                    <a:lnTo>
                      <a:pt x="1371401" y="643282"/>
                    </a:lnTo>
                    <a:lnTo>
                      <a:pt x="1348739" y="632929"/>
                    </a:lnTo>
                    <a:lnTo>
                      <a:pt x="1331205" y="631135"/>
                    </a:lnTo>
                    <a:lnTo>
                      <a:pt x="1313636" y="636107"/>
                    </a:lnTo>
                    <a:lnTo>
                      <a:pt x="1301770" y="641950"/>
                    </a:lnTo>
                    <a:lnTo>
                      <a:pt x="1273404" y="633613"/>
                    </a:lnTo>
                    <a:lnTo>
                      <a:pt x="1259186" y="615589"/>
                    </a:lnTo>
                    <a:lnTo>
                      <a:pt x="1237219" y="610913"/>
                    </a:lnTo>
                    <a:lnTo>
                      <a:pt x="1221507" y="609268"/>
                    </a:lnTo>
                    <a:lnTo>
                      <a:pt x="1198147" y="600685"/>
                    </a:lnTo>
                    <a:lnTo>
                      <a:pt x="1197331" y="627260"/>
                    </a:lnTo>
                    <a:lnTo>
                      <a:pt x="1212078" y="641095"/>
                    </a:lnTo>
                    <a:lnTo>
                      <a:pt x="1206645" y="659354"/>
                    </a:lnTo>
                    <a:lnTo>
                      <a:pt x="1180432" y="655036"/>
                    </a:lnTo>
                    <a:lnTo>
                      <a:pt x="1164242" y="655399"/>
                    </a:lnTo>
                    <a:lnTo>
                      <a:pt x="1147388" y="644822"/>
                    </a:lnTo>
                    <a:lnTo>
                      <a:pt x="1130826" y="645735"/>
                    </a:lnTo>
                    <a:lnTo>
                      <a:pt x="1113071" y="639303"/>
                    </a:lnTo>
                    <a:lnTo>
                      <a:pt x="1095401" y="652575"/>
                    </a:lnTo>
                    <a:lnTo>
                      <a:pt x="1076171" y="675803"/>
                    </a:lnTo>
                    <a:lnTo>
                      <a:pt x="1061507" y="681230"/>
                    </a:lnTo>
                    <a:lnTo>
                      <a:pt x="1056262" y="683677"/>
                    </a:lnTo>
                    <a:lnTo>
                      <a:pt x="1040309" y="669340"/>
                    </a:lnTo>
                    <a:lnTo>
                      <a:pt x="1021430" y="674026"/>
                    </a:lnTo>
                    <a:lnTo>
                      <a:pt x="1009525" y="664143"/>
                    </a:lnTo>
                    <a:lnTo>
                      <a:pt x="996079" y="660172"/>
                    </a:lnTo>
                    <a:lnTo>
                      <a:pt x="981470" y="646623"/>
                    </a:lnTo>
                    <a:lnTo>
                      <a:pt x="970579" y="642838"/>
                    </a:lnTo>
                    <a:lnTo>
                      <a:pt x="950955" y="650609"/>
                    </a:lnTo>
                    <a:lnTo>
                      <a:pt x="922410" y="638030"/>
                    </a:lnTo>
                    <a:lnTo>
                      <a:pt x="920087" y="651303"/>
                    </a:lnTo>
                    <a:lnTo>
                      <a:pt x="855381" y="591928"/>
                    </a:lnTo>
                    <a:lnTo>
                      <a:pt x="826544" y="574490"/>
                    </a:lnTo>
                    <a:lnTo>
                      <a:pt x="828424" y="566553"/>
                    </a:lnTo>
                    <a:lnTo>
                      <a:pt x="800798" y="591791"/>
                    </a:lnTo>
                    <a:lnTo>
                      <a:pt x="786555" y="594071"/>
                    </a:lnTo>
                    <a:lnTo>
                      <a:pt x="781699" y="580789"/>
                    </a:lnTo>
                    <a:lnTo>
                      <a:pt x="758049" y="573731"/>
                    </a:lnTo>
                    <a:lnTo>
                      <a:pt x="744636" y="580563"/>
                    </a:lnTo>
                    <a:lnTo>
                      <a:pt x="728319" y="555804"/>
                    </a:lnTo>
                    <a:lnTo>
                      <a:pt x="698461" y="552190"/>
                    </a:lnTo>
                    <a:lnTo>
                      <a:pt x="689167" y="562985"/>
                    </a:lnTo>
                    <a:lnTo>
                      <a:pt x="654461" y="574011"/>
                    </a:lnTo>
                    <a:lnTo>
                      <a:pt x="649404" y="580381"/>
                    </a:lnTo>
                    <a:lnTo>
                      <a:pt x="594593" y="591761"/>
                    </a:lnTo>
                    <a:lnTo>
                      <a:pt x="590605" y="600362"/>
                    </a:lnTo>
                    <a:lnTo>
                      <a:pt x="608267" y="616380"/>
                    </a:lnTo>
                    <a:lnTo>
                      <a:pt x="595483" y="623405"/>
                    </a:lnTo>
                    <a:lnTo>
                      <a:pt x="600899" y="629858"/>
                    </a:lnTo>
                    <a:lnTo>
                      <a:pt x="589963" y="642374"/>
                    </a:lnTo>
                    <a:lnTo>
                      <a:pt x="621896" y="657815"/>
                    </a:lnTo>
                    <a:lnTo>
                      <a:pt x="622027" y="669487"/>
                    </a:lnTo>
                    <a:lnTo>
                      <a:pt x="599047" y="669494"/>
                    </a:lnTo>
                    <a:lnTo>
                      <a:pt x="596872" y="676903"/>
                    </a:lnTo>
                    <a:lnTo>
                      <a:pt x="571927" y="665274"/>
                    </a:lnTo>
                    <a:lnTo>
                      <a:pt x="546579" y="666886"/>
                    </a:lnTo>
                    <a:lnTo>
                      <a:pt x="532815" y="677840"/>
                    </a:lnTo>
                    <a:lnTo>
                      <a:pt x="510537" y="668842"/>
                    </a:lnTo>
                    <a:lnTo>
                      <a:pt x="469786" y="653526"/>
                    </a:lnTo>
                    <a:lnTo>
                      <a:pt x="444902" y="655141"/>
                    </a:lnTo>
                    <a:lnTo>
                      <a:pt x="419252" y="682720"/>
                    </a:lnTo>
                    <a:lnTo>
                      <a:pt x="422161" y="700477"/>
                    </a:lnTo>
                    <a:lnTo>
                      <a:pt x="401527" y="687037"/>
                    </a:lnTo>
                    <a:lnTo>
                      <a:pt x="395620" y="714093"/>
                    </a:lnTo>
                    <a:lnTo>
                      <a:pt x="401719" y="718867"/>
                    </a:lnTo>
                    <a:lnTo>
                      <a:pt x="396938" y="737550"/>
                    </a:lnTo>
                    <a:lnTo>
                      <a:pt x="415222" y="753511"/>
                    </a:lnTo>
                    <a:lnTo>
                      <a:pt x="427399" y="752412"/>
                    </a:lnTo>
                    <a:lnTo>
                      <a:pt x="442226" y="768246"/>
                    </a:lnTo>
                    <a:lnTo>
                      <a:pt x="443725" y="780786"/>
                    </a:lnTo>
                    <a:lnTo>
                      <a:pt x="453260" y="784416"/>
                    </a:lnTo>
                    <a:lnTo>
                      <a:pt x="449219" y="799068"/>
                    </a:lnTo>
                    <a:lnTo>
                      <a:pt x="433816" y="803614"/>
                    </a:lnTo>
                    <a:lnTo>
                      <a:pt x="422890" y="829208"/>
                    </a:lnTo>
                    <a:lnTo>
                      <a:pt x="443775" y="851755"/>
                    </a:lnTo>
                    <a:lnTo>
                      <a:pt x="445819" y="868167"/>
                    </a:lnTo>
                    <a:lnTo>
                      <a:pt x="471167" y="896194"/>
                    </a:lnTo>
                    <a:lnTo>
                      <a:pt x="462945" y="906313"/>
                    </a:lnTo>
                    <a:lnTo>
                      <a:pt x="461297" y="912588"/>
                    </a:lnTo>
                    <a:lnTo>
                      <a:pt x="453217" y="911161"/>
                    </a:lnTo>
                    <a:lnTo>
                      <a:pt x="438069" y="896760"/>
                    </a:lnTo>
                    <a:lnTo>
                      <a:pt x="433006" y="896091"/>
                    </a:lnTo>
                    <a:lnTo>
                      <a:pt x="420884" y="890785"/>
                    </a:lnTo>
                    <a:lnTo>
                      <a:pt x="413453" y="880977"/>
                    </a:lnTo>
                    <a:lnTo>
                      <a:pt x="396235" y="876371"/>
                    </a:lnTo>
                    <a:lnTo>
                      <a:pt x="386533" y="880484"/>
                    </a:lnTo>
                    <a:lnTo>
                      <a:pt x="382568" y="876059"/>
                    </a:lnTo>
                    <a:lnTo>
                      <a:pt x="356666" y="865089"/>
                    </a:lnTo>
                    <a:lnTo>
                      <a:pt x="330497" y="861858"/>
                    </a:lnTo>
                    <a:lnTo>
                      <a:pt x="315126" y="858101"/>
                    </a:lnTo>
                    <a:lnTo>
                      <a:pt x="313576" y="861019"/>
                    </a:lnTo>
                    <a:lnTo>
                      <a:pt x="287746" y="841112"/>
                    </a:lnTo>
                    <a:lnTo>
                      <a:pt x="266493" y="832473"/>
                    </a:lnTo>
                    <a:lnTo>
                      <a:pt x="249113" y="818616"/>
                    </a:lnTo>
                    <a:lnTo>
                      <a:pt x="260776" y="814436"/>
                    </a:lnTo>
                    <a:lnTo>
                      <a:pt x="270926" y="793823"/>
                    </a:lnTo>
                    <a:lnTo>
                      <a:pt x="259598" y="784492"/>
                    </a:lnTo>
                    <a:lnTo>
                      <a:pt x="282398" y="773947"/>
                    </a:lnTo>
                    <a:lnTo>
                      <a:pt x="280857" y="768668"/>
                    </a:lnTo>
                    <a:lnTo>
                      <a:pt x="266598" y="772977"/>
                    </a:lnTo>
                    <a:lnTo>
                      <a:pt x="264940" y="762212"/>
                    </a:lnTo>
                    <a:lnTo>
                      <a:pt x="272156" y="755220"/>
                    </a:lnTo>
                    <a:lnTo>
                      <a:pt x="287925" y="752996"/>
                    </a:lnTo>
                    <a:lnTo>
                      <a:pt x="288802" y="744851"/>
                    </a:lnTo>
                    <a:lnTo>
                      <a:pt x="282225" y="731612"/>
                    </a:lnTo>
                    <a:lnTo>
                      <a:pt x="286127" y="718750"/>
                    </a:lnTo>
                    <a:lnTo>
                      <a:pt x="284335" y="711652"/>
                    </a:lnTo>
                    <a:lnTo>
                      <a:pt x="258375" y="704478"/>
                    </a:lnTo>
                    <a:lnTo>
                      <a:pt x="248844" y="705008"/>
                    </a:lnTo>
                    <a:lnTo>
                      <a:pt x="236299" y="693965"/>
                    </a:lnTo>
                    <a:lnTo>
                      <a:pt x="224556" y="698135"/>
                    </a:lnTo>
                    <a:lnTo>
                      <a:pt x="202029" y="690186"/>
                    </a:lnTo>
                    <a:lnTo>
                      <a:pt x="201413" y="685421"/>
                    </a:lnTo>
                    <a:lnTo>
                      <a:pt x="193476" y="675093"/>
                    </a:lnTo>
                    <a:lnTo>
                      <a:pt x="180286" y="674256"/>
                    </a:lnTo>
                    <a:lnTo>
                      <a:pt x="177435" y="666790"/>
                    </a:lnTo>
                    <a:lnTo>
                      <a:pt x="180486" y="661795"/>
                    </a:lnTo>
                    <a:lnTo>
                      <a:pt x="167396" y="648382"/>
                    </a:lnTo>
                    <a:lnTo>
                      <a:pt x="151168" y="651133"/>
                    </a:lnTo>
                    <a:lnTo>
                      <a:pt x="146039" y="650040"/>
                    </a:lnTo>
                    <a:lnTo>
                      <a:pt x="143028" y="655632"/>
                    </a:lnTo>
                    <a:lnTo>
                      <a:pt x="136816" y="654800"/>
                    </a:lnTo>
                    <a:lnTo>
                      <a:pt x="129911" y="639429"/>
                    </a:lnTo>
                    <a:lnTo>
                      <a:pt x="124616" y="631503"/>
                    </a:lnTo>
                    <a:lnTo>
                      <a:pt x="127258" y="629174"/>
                    </a:lnTo>
                    <a:lnTo>
                      <a:pt x="140315" y="629699"/>
                    </a:lnTo>
                    <a:lnTo>
                      <a:pt x="145473" y="624265"/>
                    </a:lnTo>
                    <a:lnTo>
                      <a:pt x="139591" y="617941"/>
                    </a:lnTo>
                    <a:lnTo>
                      <a:pt x="128028" y="613956"/>
                    </a:lnTo>
                    <a:lnTo>
                      <a:pt x="128119" y="609572"/>
                    </a:lnTo>
                    <a:lnTo>
                      <a:pt x="120801" y="605325"/>
                    </a:lnTo>
                    <a:lnTo>
                      <a:pt x="107804" y="589760"/>
                    </a:lnTo>
                    <a:lnTo>
                      <a:pt x="109887" y="583169"/>
                    </a:lnTo>
                    <a:lnTo>
                      <a:pt x="106096" y="571878"/>
                    </a:lnTo>
                    <a:lnTo>
                      <a:pt x="89709" y="566486"/>
                    </a:lnTo>
                    <a:lnTo>
                      <a:pt x="82082" y="569555"/>
                    </a:lnTo>
                    <a:lnTo>
                      <a:pt x="78724" y="563616"/>
                    </a:lnTo>
                    <a:lnTo>
                      <a:pt x="61215" y="557934"/>
                    </a:lnTo>
                    <a:lnTo>
                      <a:pt x="53599" y="543806"/>
                    </a:lnTo>
                    <a:lnTo>
                      <a:pt x="50108" y="532137"/>
                    </a:lnTo>
                    <a:lnTo>
                      <a:pt x="41683" y="526745"/>
                    </a:lnTo>
                    <a:lnTo>
                      <a:pt x="46808" y="518947"/>
                    </a:lnTo>
                    <a:lnTo>
                      <a:pt x="38030" y="496556"/>
                    </a:lnTo>
                    <a:lnTo>
                      <a:pt x="46045" y="482423"/>
                    </a:lnTo>
                    <a:lnTo>
                      <a:pt x="42951" y="478266"/>
                    </a:lnTo>
                    <a:lnTo>
                      <a:pt x="57215" y="464551"/>
                    </a:lnTo>
                    <a:lnTo>
                      <a:pt x="39297" y="453453"/>
                    </a:lnTo>
                    <a:lnTo>
                      <a:pt x="64152" y="421947"/>
                    </a:lnTo>
                    <a:lnTo>
                      <a:pt x="74426" y="407694"/>
                    </a:lnTo>
                    <a:lnTo>
                      <a:pt x="76920" y="395275"/>
                    </a:lnTo>
                    <a:lnTo>
                      <a:pt x="51839" y="379320"/>
                    </a:lnTo>
                    <a:lnTo>
                      <a:pt x="53927" y="363489"/>
                    </a:lnTo>
                    <a:lnTo>
                      <a:pt x="37014" y="345894"/>
                    </a:lnTo>
                    <a:lnTo>
                      <a:pt x="41389" y="325035"/>
                    </a:lnTo>
                    <a:lnTo>
                      <a:pt x="18756" y="298049"/>
                    </a:lnTo>
                    <a:lnTo>
                      <a:pt x="26714" y="279614"/>
                    </a:lnTo>
                    <a:lnTo>
                      <a:pt x="2237" y="264092"/>
                    </a:lnTo>
                    <a:lnTo>
                      <a:pt x="0" y="247215"/>
                    </a:lnTo>
                    <a:lnTo>
                      <a:pt x="10053" y="244746"/>
                    </a:lnTo>
                    <a:lnTo>
                      <a:pt x="29749" y="234553"/>
                    </a:lnTo>
                    <a:lnTo>
                      <a:pt x="40811" y="225852"/>
                    </a:lnTo>
                    <a:lnTo>
                      <a:pt x="66428" y="239777"/>
                    </a:lnTo>
                    <a:lnTo>
                      <a:pt x="104033" y="244440"/>
                    </a:lnTo>
                    <a:lnTo>
                      <a:pt x="162953" y="269952"/>
                    </a:lnTo>
                    <a:lnTo>
                      <a:pt x="177152" y="280992"/>
                    </a:lnTo>
                    <a:lnTo>
                      <a:pt x="183562" y="296915"/>
                    </a:lnTo>
                    <a:lnTo>
                      <a:pt x="172726" y="310031"/>
                    </a:lnTo>
                    <a:lnTo>
                      <a:pt x="152455" y="317165"/>
                    </a:lnTo>
                    <a:lnTo>
                      <a:pt x="86041" y="300754"/>
                    </a:lnTo>
                    <a:lnTo>
                      <a:pt x="76900" y="304087"/>
                    </a:lnTo>
                    <a:lnTo>
                      <a:pt x="104158" y="321053"/>
                    </a:lnTo>
                    <a:lnTo>
                      <a:pt x="108202" y="332177"/>
                    </a:lnTo>
                    <a:lnTo>
                      <a:pt x="115983" y="356716"/>
                    </a:lnTo>
                    <a:lnTo>
                      <a:pt x="136159" y="363510"/>
                    </a:lnTo>
                    <a:lnTo>
                      <a:pt x="148985" y="369415"/>
                    </a:lnTo>
                    <a:lnTo>
                      <a:pt x="147405" y="357702"/>
                    </a:lnTo>
                    <a:lnTo>
                      <a:pt x="135942" y="347633"/>
                    </a:lnTo>
                    <a:lnTo>
                      <a:pt x="142117" y="338258"/>
                    </a:lnTo>
                    <a:lnTo>
                      <a:pt x="180409" y="352128"/>
                    </a:lnTo>
                    <a:lnTo>
                      <a:pt x="190302" y="345881"/>
                    </a:lnTo>
                    <a:lnTo>
                      <a:pt x="175285" y="328611"/>
                    </a:lnTo>
                    <a:lnTo>
                      <a:pt x="199298" y="304017"/>
                    </a:lnTo>
                    <a:lnTo>
                      <a:pt x="212327" y="304950"/>
                    </a:lnTo>
                    <a:lnTo>
                      <a:pt x="228056" y="312861"/>
                    </a:lnTo>
                    <a:lnTo>
                      <a:pt x="229919" y="296099"/>
                    </a:lnTo>
                    <a:lnTo>
                      <a:pt x="213401" y="282240"/>
                    </a:lnTo>
                    <a:lnTo>
                      <a:pt x="214563" y="267683"/>
                    </a:lnTo>
                    <a:lnTo>
                      <a:pt x="199234" y="253199"/>
                    </a:lnTo>
                    <a:lnTo>
                      <a:pt x="239050" y="259482"/>
                    </a:lnTo>
                    <a:lnTo>
                      <a:pt x="251971" y="272574"/>
                    </a:lnTo>
                    <a:lnTo>
                      <a:pt x="236274" y="276184"/>
                    </a:lnTo>
                    <a:lnTo>
                      <a:pt x="241502" y="289497"/>
                    </a:lnTo>
                    <a:lnTo>
                      <a:pt x="255269" y="297281"/>
                    </a:lnTo>
                    <a:lnTo>
                      <a:pt x="274045" y="291262"/>
                    </a:lnTo>
                    <a:lnTo>
                      <a:pt x="271125" y="275878"/>
                    </a:lnTo>
                    <a:lnTo>
                      <a:pt x="294027" y="263349"/>
                    </a:lnTo>
                    <a:lnTo>
                      <a:pt x="330451" y="240869"/>
                    </a:lnTo>
                    <a:lnTo>
                      <a:pt x="340800" y="241592"/>
                    </a:lnTo>
                    <a:lnTo>
                      <a:pt x="334738" y="256632"/>
                    </a:lnTo>
                    <a:lnTo>
                      <a:pt x="352181" y="258368"/>
                    </a:lnTo>
                    <a:lnTo>
                      <a:pt x="357667" y="249795"/>
                    </a:lnTo>
                    <a:lnTo>
                      <a:pt x="381774" y="247966"/>
                    </a:lnTo>
                    <a:lnTo>
                      <a:pt x="396015" y="237165"/>
                    </a:lnTo>
                    <a:lnTo>
                      <a:pt x="418233" y="250717"/>
                    </a:lnTo>
                    <a:lnTo>
                      <a:pt x="424609" y="234244"/>
                    </a:lnTo>
                    <a:lnTo>
                      <a:pt x="403783" y="221209"/>
                    </a:lnTo>
                    <a:lnTo>
                      <a:pt x="406170" y="213054"/>
                    </a:lnTo>
                    <a:lnTo>
                      <a:pt x="447682" y="218231"/>
                    </a:lnTo>
                    <a:lnTo>
                      <a:pt x="469552" y="224650"/>
                    </a:lnTo>
                    <a:lnTo>
                      <a:pt x="532001" y="248966"/>
                    </a:lnTo>
                    <a:lnTo>
                      <a:pt x="533158" y="236097"/>
                    </a:lnTo>
                    <a:lnTo>
                      <a:pt x="512578" y="224397"/>
                    </a:lnTo>
                    <a:lnTo>
                      <a:pt x="509161" y="219417"/>
                    </a:lnTo>
                    <a:lnTo>
                      <a:pt x="492472" y="217991"/>
                    </a:lnTo>
                    <a:lnTo>
                      <a:pt x="489875" y="206575"/>
                    </a:lnTo>
                    <a:lnTo>
                      <a:pt x="471943" y="188589"/>
                    </a:lnTo>
                    <a:lnTo>
                      <a:pt x="466924" y="181082"/>
                    </a:lnTo>
                    <a:lnTo>
                      <a:pt x="476039" y="158539"/>
                    </a:lnTo>
                    <a:lnTo>
                      <a:pt x="469917" y="136822"/>
                    </a:lnTo>
                    <a:lnTo>
                      <a:pt x="475667" y="131721"/>
                    </a:lnTo>
                    <a:lnTo>
                      <a:pt x="511357" y="136002"/>
                    </a:lnTo>
                    <a:lnTo>
                      <a:pt x="522909" y="148810"/>
                    </a:lnTo>
                    <a:lnTo>
                      <a:pt x="524417" y="168452"/>
                    </a:lnTo>
                    <a:lnTo>
                      <a:pt x="537055" y="175441"/>
                    </a:lnTo>
                    <a:lnTo>
                      <a:pt x="552024" y="191559"/>
                    </a:lnTo>
                    <a:lnTo>
                      <a:pt x="570332" y="223898"/>
                    </a:lnTo>
                    <a:lnTo>
                      <a:pt x="593729" y="237419"/>
                    </a:lnTo>
                    <a:lnTo>
                      <a:pt x="598297" y="253493"/>
                    </a:lnTo>
                    <a:lnTo>
                      <a:pt x="593333" y="288674"/>
                    </a:lnTo>
                    <a:lnTo>
                      <a:pt x="610597" y="291206"/>
                    </a:lnTo>
                    <a:lnTo>
                      <a:pt x="610658" y="282354"/>
                    </a:lnTo>
                    <a:lnTo>
                      <a:pt x="621363" y="275353"/>
                    </a:lnTo>
                    <a:lnTo>
                      <a:pt x="617444" y="263451"/>
                    </a:lnTo>
                    <a:lnTo>
                      <a:pt x="621429" y="251496"/>
                    </a:lnTo>
                    <a:lnTo>
                      <a:pt x="605196" y="238610"/>
                    </a:lnTo>
                    <a:lnTo>
                      <a:pt x="600871" y="222713"/>
                    </a:lnTo>
                    <a:lnTo>
                      <a:pt x="585747" y="221678"/>
                    </a:lnTo>
                    <a:lnTo>
                      <a:pt x="574067" y="208819"/>
                    </a:lnTo>
                    <a:lnTo>
                      <a:pt x="568076" y="184670"/>
                    </a:lnTo>
                    <a:lnTo>
                      <a:pt x="539071" y="166619"/>
                    </a:lnTo>
                    <a:lnTo>
                      <a:pt x="549668" y="149547"/>
                    </a:lnTo>
                    <a:lnTo>
                      <a:pt x="535006" y="133187"/>
                    </a:lnTo>
                    <a:lnTo>
                      <a:pt x="540525" y="132290"/>
                    </a:lnTo>
                    <a:lnTo>
                      <a:pt x="556147" y="144771"/>
                    </a:lnTo>
                    <a:lnTo>
                      <a:pt x="567495" y="167539"/>
                    </a:lnTo>
                    <a:lnTo>
                      <a:pt x="583543" y="170952"/>
                    </a:lnTo>
                    <a:lnTo>
                      <a:pt x="565961" y="154520"/>
                    </a:lnTo>
                    <a:lnTo>
                      <a:pt x="579300" y="144082"/>
                    </a:lnTo>
                    <a:lnTo>
                      <a:pt x="603057" y="141209"/>
                    </a:lnTo>
                    <a:lnTo>
                      <a:pt x="635255" y="152882"/>
                    </a:lnTo>
                    <a:lnTo>
                      <a:pt x="609700" y="134364"/>
                    </a:lnTo>
                    <a:lnTo>
                      <a:pt x="589138" y="109886"/>
                    </a:lnTo>
                    <a:lnTo>
                      <a:pt x="605433" y="103893"/>
                    </a:lnTo>
                    <a:lnTo>
                      <a:pt x="633878" y="102984"/>
                    </a:lnTo>
                    <a:lnTo>
                      <a:pt x="656074" y="98222"/>
                    </a:lnTo>
                    <a:lnTo>
                      <a:pt x="636473" y="86975"/>
                    </a:lnTo>
                    <a:lnTo>
                      <a:pt x="636242" y="71136"/>
                    </a:lnTo>
                    <a:lnTo>
                      <a:pt x="648450" y="69602"/>
                    </a:lnTo>
                    <a:lnTo>
                      <a:pt x="659521" y="56860"/>
                    </a:lnTo>
                    <a:lnTo>
                      <a:pt x="685484" y="51741"/>
                    </a:lnTo>
                    <a:lnTo>
                      <a:pt x="683097" y="45348"/>
                    </a:lnTo>
                    <a:lnTo>
                      <a:pt x="709333" y="41141"/>
                    </a:lnTo>
                    <a:lnTo>
                      <a:pt x="723228" y="45448"/>
                    </a:lnTo>
                    <a:lnTo>
                      <a:pt x="734989" y="31808"/>
                    </a:lnTo>
                    <a:lnTo>
                      <a:pt x="754863" y="30625"/>
                    </a:lnTo>
                    <a:lnTo>
                      <a:pt x="747455" y="20928"/>
                    </a:lnTo>
                    <a:lnTo>
                      <a:pt x="747131" y="10840"/>
                    </a:lnTo>
                    <a:lnTo>
                      <a:pt x="761345" y="0"/>
                    </a:lnTo>
                    <a:lnTo>
                      <a:pt x="787102" y="5571"/>
                    </a:lnTo>
                    <a:lnTo>
                      <a:pt x="779227" y="12056"/>
                    </a:lnTo>
                    <a:lnTo>
                      <a:pt x="806528" y="13421"/>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00" name="Polygon form 65"/>
              <p:cNvSpPr/>
              <p:nvPr/>
            </p:nvSpPr>
            <p:spPr>
              <a:xfrm>
                <a:off x="4603992" y="2256282"/>
                <a:ext cx="140223" cy="154535"/>
              </a:xfrm>
              <a:custGeom>
                <a:avLst/>
                <a:gdLst/>
                <a:ahLst/>
                <a:cxnLst/>
                <a:rect l="0" t="0" r="0" b="0"/>
                <a:pathLst>
                  <a:path w="140223" h="154535">
                    <a:moveTo>
                      <a:pt x="91138" y="152100"/>
                    </a:moveTo>
                    <a:lnTo>
                      <a:pt x="84812" y="154535"/>
                    </a:lnTo>
                    <a:lnTo>
                      <a:pt x="42169" y="153357"/>
                    </a:lnTo>
                    <a:lnTo>
                      <a:pt x="33649" y="142965"/>
                    </a:lnTo>
                    <a:lnTo>
                      <a:pt x="7988" y="137583"/>
                    </a:lnTo>
                    <a:lnTo>
                      <a:pt x="0" y="124835"/>
                    </a:lnTo>
                    <a:lnTo>
                      <a:pt x="10083" y="119207"/>
                    </a:lnTo>
                    <a:lnTo>
                      <a:pt x="3220" y="106298"/>
                    </a:lnTo>
                    <a:lnTo>
                      <a:pt x="16692" y="85080"/>
                    </a:lnTo>
                    <a:lnTo>
                      <a:pt x="4206" y="82667"/>
                    </a:lnTo>
                    <a:lnTo>
                      <a:pt x="21280" y="60714"/>
                    </a:lnTo>
                    <a:lnTo>
                      <a:pt x="12157" y="50160"/>
                    </a:lnTo>
                    <a:lnTo>
                      <a:pt x="30773" y="36601"/>
                    </a:lnTo>
                    <a:lnTo>
                      <a:pt x="59025" y="19828"/>
                    </a:lnTo>
                    <a:lnTo>
                      <a:pt x="93485" y="13665"/>
                    </a:lnTo>
                    <a:lnTo>
                      <a:pt x="106624" y="4103"/>
                    </a:lnTo>
                    <a:lnTo>
                      <a:pt x="125961" y="0"/>
                    </a:lnTo>
                    <a:lnTo>
                      <a:pt x="140223" y="8736"/>
                    </a:lnTo>
                    <a:lnTo>
                      <a:pt x="137902" y="16337"/>
                    </a:lnTo>
                    <a:lnTo>
                      <a:pt x="105953" y="29919"/>
                    </a:lnTo>
                    <a:lnTo>
                      <a:pt x="78302" y="42781"/>
                    </a:lnTo>
                    <a:lnTo>
                      <a:pt x="55695" y="66836"/>
                    </a:lnTo>
                    <a:lnTo>
                      <a:pt x="51050" y="90653"/>
                    </a:lnTo>
                    <a:lnTo>
                      <a:pt x="44358" y="114250"/>
                    </a:lnTo>
                    <a:lnTo>
                      <a:pt x="57133" y="133800"/>
                    </a:lnTo>
                    <a:lnTo>
                      <a:pt x="91138" y="15210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01" name="Polygon form 66"/>
              <p:cNvSpPr/>
              <p:nvPr/>
            </p:nvSpPr>
            <p:spPr>
              <a:xfrm>
                <a:off x="1659765" y="2286749"/>
                <a:ext cx="146305" cy="108524"/>
              </a:xfrm>
              <a:custGeom>
                <a:avLst/>
                <a:gdLst/>
                <a:ahLst/>
                <a:cxnLst/>
                <a:rect l="0" t="0" r="0" b="0"/>
                <a:pathLst>
                  <a:path w="146305" h="108524">
                    <a:moveTo>
                      <a:pt x="103914" y="56566"/>
                    </a:moveTo>
                    <a:lnTo>
                      <a:pt x="102151" y="62986"/>
                    </a:lnTo>
                    <a:lnTo>
                      <a:pt x="124520" y="48001"/>
                    </a:lnTo>
                    <a:lnTo>
                      <a:pt x="146305" y="56648"/>
                    </a:lnTo>
                    <a:lnTo>
                      <a:pt x="134921" y="79704"/>
                    </a:lnTo>
                    <a:lnTo>
                      <a:pt x="110401" y="86511"/>
                    </a:lnTo>
                    <a:lnTo>
                      <a:pt x="90242" y="85076"/>
                    </a:lnTo>
                    <a:lnTo>
                      <a:pt x="57651" y="105114"/>
                    </a:lnTo>
                    <a:lnTo>
                      <a:pt x="46655" y="108524"/>
                    </a:lnTo>
                    <a:lnTo>
                      <a:pt x="37974" y="105783"/>
                    </a:lnTo>
                    <a:lnTo>
                      <a:pt x="41754" y="96876"/>
                    </a:lnTo>
                    <a:lnTo>
                      <a:pt x="38052" y="87908"/>
                    </a:lnTo>
                    <a:lnTo>
                      <a:pt x="50448" y="78605"/>
                    </a:lnTo>
                    <a:lnTo>
                      <a:pt x="45898" y="73036"/>
                    </a:lnTo>
                    <a:lnTo>
                      <a:pt x="30231" y="73082"/>
                    </a:lnTo>
                    <a:lnTo>
                      <a:pt x="36891" y="64862"/>
                    </a:lnTo>
                    <a:lnTo>
                      <a:pt x="51798" y="57959"/>
                    </a:lnTo>
                    <a:lnTo>
                      <a:pt x="31965" y="59994"/>
                    </a:lnTo>
                    <a:lnTo>
                      <a:pt x="20149" y="70377"/>
                    </a:lnTo>
                    <a:lnTo>
                      <a:pt x="0" y="77577"/>
                    </a:lnTo>
                    <a:lnTo>
                      <a:pt x="138910" y="0"/>
                    </a:lnTo>
                    <a:lnTo>
                      <a:pt x="135018" y="19558"/>
                    </a:lnTo>
                    <a:lnTo>
                      <a:pt x="125935" y="44408"/>
                    </a:lnTo>
                    <a:lnTo>
                      <a:pt x="103914" y="56566"/>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02" name="Polygon form 67"/>
              <p:cNvSpPr/>
              <p:nvPr/>
            </p:nvSpPr>
            <p:spPr>
              <a:xfrm>
                <a:off x="6126979" y="2685261"/>
                <a:ext cx="195139" cy="207112"/>
              </a:xfrm>
              <a:custGeom>
                <a:avLst/>
                <a:gdLst/>
                <a:ahLst/>
                <a:cxnLst/>
                <a:rect l="0" t="0" r="0" b="0"/>
                <a:pathLst>
                  <a:path w="195139" h="207112">
                    <a:moveTo>
                      <a:pt x="99379" y="85398"/>
                    </a:moveTo>
                    <a:lnTo>
                      <a:pt x="152746" y="126779"/>
                    </a:lnTo>
                    <a:lnTo>
                      <a:pt x="124037" y="121774"/>
                    </a:lnTo>
                    <a:lnTo>
                      <a:pt x="145557" y="158828"/>
                    </a:lnTo>
                    <a:lnTo>
                      <a:pt x="181309" y="182319"/>
                    </a:lnTo>
                    <a:lnTo>
                      <a:pt x="195139" y="199873"/>
                    </a:lnTo>
                    <a:lnTo>
                      <a:pt x="171458" y="186365"/>
                    </a:lnTo>
                    <a:lnTo>
                      <a:pt x="177127" y="207112"/>
                    </a:lnTo>
                    <a:lnTo>
                      <a:pt x="157468" y="186485"/>
                    </a:lnTo>
                    <a:lnTo>
                      <a:pt x="139208" y="161978"/>
                    </a:lnTo>
                    <a:lnTo>
                      <a:pt x="114983" y="135472"/>
                    </a:lnTo>
                    <a:lnTo>
                      <a:pt x="102283" y="116349"/>
                    </a:lnTo>
                    <a:lnTo>
                      <a:pt x="73855" y="83477"/>
                    </a:lnTo>
                    <a:lnTo>
                      <a:pt x="43727" y="60756"/>
                    </a:lnTo>
                    <a:lnTo>
                      <a:pt x="14084" y="27532"/>
                    </a:lnTo>
                    <a:lnTo>
                      <a:pt x="16253" y="14560"/>
                    </a:lnTo>
                    <a:lnTo>
                      <a:pt x="0" y="4277"/>
                    </a:lnTo>
                    <a:lnTo>
                      <a:pt x="2796" y="0"/>
                    </a:lnTo>
                    <a:lnTo>
                      <a:pt x="21829" y="15303"/>
                    </a:lnTo>
                    <a:lnTo>
                      <a:pt x="48908" y="37786"/>
                    </a:lnTo>
                    <a:lnTo>
                      <a:pt x="70937" y="61677"/>
                    </a:lnTo>
                    <a:lnTo>
                      <a:pt x="99379" y="85398"/>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03" name="Polygon form 68"/>
              <p:cNvSpPr/>
              <p:nvPr/>
            </p:nvSpPr>
            <p:spPr>
              <a:xfrm>
                <a:off x="4902839" y="2143270"/>
                <a:ext cx="122379" cy="52868"/>
              </a:xfrm>
              <a:custGeom>
                <a:avLst/>
                <a:gdLst/>
                <a:ahLst/>
                <a:cxnLst/>
                <a:rect l="0" t="0" r="0" b="0"/>
                <a:pathLst>
                  <a:path w="122379" h="52868">
                    <a:moveTo>
                      <a:pt x="122379" y="48580"/>
                    </a:moveTo>
                    <a:lnTo>
                      <a:pt x="103348" y="52868"/>
                    </a:lnTo>
                    <a:lnTo>
                      <a:pt x="68255" y="48521"/>
                    </a:lnTo>
                    <a:lnTo>
                      <a:pt x="42554" y="41272"/>
                    </a:lnTo>
                    <a:lnTo>
                      <a:pt x="18125" y="26054"/>
                    </a:lnTo>
                    <a:lnTo>
                      <a:pt x="0" y="22556"/>
                    </a:lnTo>
                    <a:lnTo>
                      <a:pt x="9322" y="6133"/>
                    </a:lnTo>
                    <a:lnTo>
                      <a:pt x="24740" y="0"/>
                    </a:lnTo>
                    <a:lnTo>
                      <a:pt x="55964" y="9677"/>
                    </a:lnTo>
                    <a:lnTo>
                      <a:pt x="102586" y="28986"/>
                    </a:lnTo>
                    <a:lnTo>
                      <a:pt x="122379" y="4858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04" name="Polygon form 69"/>
              <p:cNvSpPr/>
              <p:nvPr/>
            </p:nvSpPr>
            <p:spPr>
              <a:xfrm>
                <a:off x="5481768" y="2210317"/>
                <a:ext cx="101709" cy="32664"/>
              </a:xfrm>
              <a:custGeom>
                <a:avLst/>
                <a:gdLst/>
                <a:ahLst/>
                <a:cxnLst/>
                <a:rect l="0" t="0" r="0" b="0"/>
                <a:pathLst>
                  <a:path w="101709" h="32664">
                    <a:moveTo>
                      <a:pt x="85767" y="6057"/>
                    </a:moveTo>
                    <a:lnTo>
                      <a:pt x="101709" y="21694"/>
                    </a:lnTo>
                    <a:lnTo>
                      <a:pt x="64552" y="25822"/>
                    </a:lnTo>
                    <a:lnTo>
                      <a:pt x="55321" y="32664"/>
                    </a:lnTo>
                    <a:lnTo>
                      <a:pt x="15747" y="21950"/>
                    </a:lnTo>
                    <a:lnTo>
                      <a:pt x="0" y="7485"/>
                    </a:lnTo>
                    <a:lnTo>
                      <a:pt x="7079" y="2213"/>
                    </a:lnTo>
                    <a:lnTo>
                      <a:pt x="34053" y="0"/>
                    </a:lnTo>
                    <a:lnTo>
                      <a:pt x="85767" y="6057"/>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05" name="Polygon form 70"/>
              <p:cNvSpPr/>
              <p:nvPr/>
            </p:nvSpPr>
            <p:spPr>
              <a:xfrm>
                <a:off x="5029766" y="2180255"/>
                <a:ext cx="61636" cy="32846"/>
              </a:xfrm>
              <a:custGeom>
                <a:avLst/>
                <a:gdLst/>
                <a:ahLst/>
                <a:cxnLst/>
                <a:rect l="0" t="0" r="0" b="0"/>
                <a:pathLst>
                  <a:path w="61636" h="32846">
                    <a:moveTo>
                      <a:pt x="61636" y="20083"/>
                    </a:moveTo>
                    <a:lnTo>
                      <a:pt x="13679" y="32846"/>
                    </a:lnTo>
                    <a:lnTo>
                      <a:pt x="0" y="3008"/>
                    </a:lnTo>
                    <a:lnTo>
                      <a:pt x="5362" y="0"/>
                    </a:lnTo>
                    <a:lnTo>
                      <a:pt x="14478" y="857"/>
                    </a:lnTo>
                    <a:lnTo>
                      <a:pt x="54247" y="11133"/>
                    </a:lnTo>
                    <a:lnTo>
                      <a:pt x="61636" y="20083"/>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06" name="Polygon form 71"/>
              <p:cNvSpPr/>
              <p:nvPr/>
            </p:nvSpPr>
            <p:spPr>
              <a:xfrm>
                <a:off x="4272137" y="2797668"/>
                <a:ext cx="48962" cy="21281"/>
              </a:xfrm>
              <a:custGeom>
                <a:avLst/>
                <a:gdLst/>
                <a:ahLst/>
                <a:cxnLst/>
                <a:rect l="0" t="0" r="0" b="0"/>
                <a:pathLst>
                  <a:path w="48962" h="21281">
                    <a:moveTo>
                      <a:pt x="48962" y="20432"/>
                    </a:moveTo>
                    <a:lnTo>
                      <a:pt x="19867" y="21281"/>
                    </a:lnTo>
                    <a:lnTo>
                      <a:pt x="0" y="18843"/>
                    </a:lnTo>
                    <a:lnTo>
                      <a:pt x="2272" y="8170"/>
                    </a:lnTo>
                    <a:lnTo>
                      <a:pt x="22971" y="0"/>
                    </a:lnTo>
                    <a:lnTo>
                      <a:pt x="40033" y="3950"/>
                    </a:lnTo>
                    <a:lnTo>
                      <a:pt x="47546" y="7659"/>
                    </a:lnTo>
                    <a:lnTo>
                      <a:pt x="46814" y="14296"/>
                    </a:lnTo>
                    <a:lnTo>
                      <a:pt x="48962" y="20432"/>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07" name="Polygon form 72"/>
              <p:cNvSpPr/>
              <p:nvPr/>
            </p:nvSpPr>
            <p:spPr>
              <a:xfrm>
                <a:off x="4428392" y="2171621"/>
                <a:ext cx="67321" cy="22150"/>
              </a:xfrm>
              <a:custGeom>
                <a:avLst/>
                <a:gdLst/>
                <a:ahLst/>
                <a:cxnLst/>
                <a:rect l="0" t="0" r="0" b="0"/>
                <a:pathLst>
                  <a:path w="67321" h="22150">
                    <a:moveTo>
                      <a:pt x="65422" y="8347"/>
                    </a:moveTo>
                    <a:lnTo>
                      <a:pt x="53329" y="11891"/>
                    </a:lnTo>
                    <a:lnTo>
                      <a:pt x="45006" y="13971"/>
                    </a:lnTo>
                    <a:lnTo>
                      <a:pt x="45670" y="17874"/>
                    </a:lnTo>
                    <a:lnTo>
                      <a:pt x="35564" y="22150"/>
                    </a:lnTo>
                    <a:lnTo>
                      <a:pt x="21322" y="16917"/>
                    </a:lnTo>
                    <a:lnTo>
                      <a:pt x="23360" y="9386"/>
                    </a:lnTo>
                    <a:lnTo>
                      <a:pt x="0" y="9349"/>
                    </a:lnTo>
                    <a:lnTo>
                      <a:pt x="17890" y="4469"/>
                    </a:lnTo>
                    <a:lnTo>
                      <a:pt x="33334" y="3714"/>
                    </a:lnTo>
                    <a:lnTo>
                      <a:pt x="38905" y="9980"/>
                    </a:lnTo>
                    <a:lnTo>
                      <a:pt x="41712" y="4171"/>
                    </a:lnTo>
                    <a:lnTo>
                      <a:pt x="49180" y="0"/>
                    </a:lnTo>
                    <a:lnTo>
                      <a:pt x="67321" y="4645"/>
                    </a:lnTo>
                    <a:lnTo>
                      <a:pt x="65422" y="8347"/>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08" name="Polygon form 73"/>
              <p:cNvSpPr/>
              <p:nvPr/>
            </p:nvSpPr>
            <p:spPr>
              <a:xfrm>
                <a:off x="5581891" y="2216075"/>
                <a:ext cx="57043" cy="11975"/>
              </a:xfrm>
              <a:custGeom>
                <a:avLst/>
                <a:gdLst/>
                <a:ahLst/>
                <a:cxnLst/>
                <a:rect l="0" t="0" r="0" b="0"/>
                <a:pathLst>
                  <a:path w="57043" h="11975">
                    <a:moveTo>
                      <a:pt x="55266" y="2403"/>
                    </a:moveTo>
                    <a:lnTo>
                      <a:pt x="57043" y="11606"/>
                    </a:lnTo>
                    <a:lnTo>
                      <a:pt x="38714" y="11975"/>
                    </a:lnTo>
                    <a:lnTo>
                      <a:pt x="8074" y="6643"/>
                    </a:lnTo>
                    <a:lnTo>
                      <a:pt x="0" y="0"/>
                    </a:lnTo>
                    <a:lnTo>
                      <a:pt x="22755" y="582"/>
                    </a:lnTo>
                    <a:lnTo>
                      <a:pt x="55266" y="2403"/>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09" name="Polygon form 74"/>
              <p:cNvSpPr/>
              <p:nvPr/>
            </p:nvSpPr>
            <p:spPr>
              <a:xfrm>
                <a:off x="5581606" y="2254207"/>
                <a:ext cx="45151" cy="13698"/>
              </a:xfrm>
              <a:custGeom>
                <a:avLst/>
                <a:gdLst/>
                <a:ahLst/>
                <a:cxnLst/>
                <a:rect l="0" t="0" r="0" b="0"/>
                <a:pathLst>
                  <a:path w="45151" h="13698">
                    <a:moveTo>
                      <a:pt x="45151" y="10960"/>
                    </a:moveTo>
                    <a:lnTo>
                      <a:pt x="30030" y="13189"/>
                    </a:lnTo>
                    <a:lnTo>
                      <a:pt x="5803" y="13698"/>
                    </a:lnTo>
                    <a:lnTo>
                      <a:pt x="2418" y="12851"/>
                    </a:lnTo>
                    <a:lnTo>
                      <a:pt x="0" y="3533"/>
                    </a:lnTo>
                    <a:lnTo>
                      <a:pt x="9731" y="0"/>
                    </a:lnTo>
                    <a:lnTo>
                      <a:pt x="35806" y="5810"/>
                    </a:lnTo>
                    <a:lnTo>
                      <a:pt x="45151" y="1096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10" name="Polygon form 75"/>
              <p:cNvSpPr/>
              <p:nvPr/>
            </p:nvSpPr>
            <p:spPr>
              <a:xfrm>
                <a:off x="1865166" y="2239094"/>
                <a:ext cx="37423" cy="14267"/>
              </a:xfrm>
              <a:custGeom>
                <a:avLst/>
                <a:gdLst/>
                <a:ahLst/>
                <a:cxnLst/>
                <a:rect l="0" t="0" r="0" b="0"/>
                <a:pathLst>
                  <a:path w="37423" h="14267">
                    <a:moveTo>
                      <a:pt x="13937" y="14267"/>
                    </a:moveTo>
                    <a:lnTo>
                      <a:pt x="0" y="12949"/>
                    </a:lnTo>
                    <a:lnTo>
                      <a:pt x="24515" y="525"/>
                    </a:lnTo>
                    <a:lnTo>
                      <a:pt x="27161" y="0"/>
                    </a:lnTo>
                    <a:lnTo>
                      <a:pt x="34639" y="1568"/>
                    </a:lnTo>
                    <a:lnTo>
                      <a:pt x="37423" y="9402"/>
                    </a:lnTo>
                    <a:lnTo>
                      <a:pt x="31787" y="11757"/>
                    </a:lnTo>
                    <a:lnTo>
                      <a:pt x="13937" y="14267"/>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11" name="Polygon form 76"/>
              <p:cNvSpPr/>
              <p:nvPr/>
            </p:nvSpPr>
            <p:spPr>
              <a:xfrm>
                <a:off x="6030837" y="2239619"/>
                <a:ext cx="24515" cy="15408"/>
              </a:xfrm>
              <a:custGeom>
                <a:avLst/>
                <a:gdLst/>
                <a:ahLst/>
                <a:cxnLst/>
                <a:rect l="0" t="0" r="0" b="0"/>
                <a:pathLst>
                  <a:path w="24515" h="15408">
                    <a:moveTo>
                      <a:pt x="24515" y="12424"/>
                    </a:moveTo>
                    <a:lnTo>
                      <a:pt x="16460" y="15408"/>
                    </a:lnTo>
                    <a:lnTo>
                      <a:pt x="3525" y="9910"/>
                    </a:lnTo>
                    <a:lnTo>
                      <a:pt x="0" y="0"/>
                    </a:lnTo>
                    <a:lnTo>
                      <a:pt x="24515" y="12424"/>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12" name="Polygon form 77"/>
              <p:cNvSpPr/>
              <p:nvPr/>
            </p:nvSpPr>
            <p:spPr>
              <a:xfrm>
                <a:off x="4532954" y="4159370"/>
                <a:ext cx="35540" cy="43251"/>
              </a:xfrm>
              <a:custGeom>
                <a:avLst/>
                <a:gdLst/>
                <a:ahLst/>
                <a:cxnLst/>
                <a:rect l="0" t="0" r="0" b="0"/>
                <a:pathLst>
                  <a:path w="35540" h="43251">
                    <a:moveTo>
                      <a:pt x="27763" y="0"/>
                    </a:moveTo>
                    <a:lnTo>
                      <a:pt x="35540" y="13699"/>
                    </a:lnTo>
                    <a:lnTo>
                      <a:pt x="34309" y="27977"/>
                    </a:lnTo>
                    <a:lnTo>
                      <a:pt x="28591" y="31043"/>
                    </a:lnTo>
                    <a:lnTo>
                      <a:pt x="18117" y="29445"/>
                    </a:lnTo>
                    <a:lnTo>
                      <a:pt x="11965" y="43251"/>
                    </a:lnTo>
                    <a:lnTo>
                      <a:pt x="0" y="41329"/>
                    </a:lnTo>
                    <a:lnTo>
                      <a:pt x="1927" y="28063"/>
                    </a:lnTo>
                    <a:lnTo>
                      <a:pt x="4650" y="26195"/>
                    </a:lnTo>
                    <a:lnTo>
                      <a:pt x="5464" y="11762"/>
                    </a:lnTo>
                    <a:lnTo>
                      <a:pt x="11171" y="5004"/>
                    </a:lnTo>
                    <a:lnTo>
                      <a:pt x="15938" y="7482"/>
                    </a:lnTo>
                    <a:lnTo>
                      <a:pt x="27763" y="0"/>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113" name="Polygon form 78"/>
              <p:cNvSpPr/>
              <p:nvPr/>
            </p:nvSpPr>
            <p:spPr>
              <a:xfrm>
                <a:off x="3632735" y="3464337"/>
                <a:ext cx="164709" cy="159991"/>
              </a:xfrm>
              <a:custGeom>
                <a:avLst/>
                <a:gdLst/>
                <a:ahLst/>
                <a:cxnLst/>
                <a:rect l="0" t="0" r="0" b="0"/>
                <a:pathLst>
                  <a:path w="164709" h="159991">
                    <a:moveTo>
                      <a:pt x="161953" y="12931"/>
                    </a:moveTo>
                    <a:lnTo>
                      <a:pt x="161849" y="0"/>
                    </a:lnTo>
                    <a:lnTo>
                      <a:pt x="164709" y="11"/>
                    </a:lnTo>
                    <a:lnTo>
                      <a:pt x="164677" y="1626"/>
                    </a:lnTo>
                    <a:lnTo>
                      <a:pt x="164198" y="6300"/>
                    </a:lnTo>
                    <a:lnTo>
                      <a:pt x="163259" y="42855"/>
                    </a:lnTo>
                    <a:lnTo>
                      <a:pt x="101245" y="41339"/>
                    </a:lnTo>
                    <a:lnTo>
                      <a:pt x="99960" y="103117"/>
                    </a:lnTo>
                    <a:lnTo>
                      <a:pt x="82032" y="105205"/>
                    </a:lnTo>
                    <a:lnTo>
                      <a:pt x="76980" y="117585"/>
                    </a:lnTo>
                    <a:lnTo>
                      <a:pt x="79572" y="152473"/>
                    </a:lnTo>
                    <a:lnTo>
                      <a:pt x="4486" y="151954"/>
                    </a:lnTo>
                    <a:lnTo>
                      <a:pt x="0" y="159991"/>
                    </a:lnTo>
                    <a:lnTo>
                      <a:pt x="1207" y="149785"/>
                    </a:lnTo>
                    <a:lnTo>
                      <a:pt x="1540" y="149825"/>
                    </a:lnTo>
                    <a:lnTo>
                      <a:pt x="44773" y="148123"/>
                    </a:lnTo>
                    <a:lnTo>
                      <a:pt x="47362" y="139431"/>
                    </a:lnTo>
                    <a:lnTo>
                      <a:pt x="55559" y="128619"/>
                    </a:lnTo>
                    <a:lnTo>
                      <a:pt x="62976" y="95303"/>
                    </a:lnTo>
                    <a:lnTo>
                      <a:pt x="90269" y="69375"/>
                    </a:lnTo>
                    <a:lnTo>
                      <a:pt x="100163" y="38979"/>
                    </a:lnTo>
                    <a:lnTo>
                      <a:pt x="106125" y="37239"/>
                    </a:lnTo>
                    <a:lnTo>
                      <a:pt x="112871" y="18454"/>
                    </a:lnTo>
                    <a:lnTo>
                      <a:pt x="128798" y="15933"/>
                    </a:lnTo>
                    <a:lnTo>
                      <a:pt x="135522" y="19097"/>
                    </a:lnTo>
                    <a:lnTo>
                      <a:pt x="144078" y="19132"/>
                    </a:lnTo>
                    <a:lnTo>
                      <a:pt x="150296" y="13665"/>
                    </a:lnTo>
                    <a:lnTo>
                      <a:pt x="161953" y="12931"/>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114" name="Polygon form 79"/>
              <p:cNvSpPr/>
              <p:nvPr/>
            </p:nvSpPr>
            <p:spPr>
              <a:xfrm>
                <a:off x="4609607" y="3348995"/>
                <a:ext cx="415204" cy="383908"/>
              </a:xfrm>
              <a:custGeom>
                <a:avLst/>
                <a:gdLst/>
                <a:ahLst/>
                <a:cxnLst/>
                <a:rect l="0" t="0" r="0" b="0"/>
                <a:pathLst>
                  <a:path w="415204" h="383908">
                    <a:moveTo>
                      <a:pt x="180822" y="383908"/>
                    </a:moveTo>
                    <a:lnTo>
                      <a:pt x="177546" y="373529"/>
                    </a:lnTo>
                    <a:lnTo>
                      <a:pt x="171158" y="366252"/>
                    </a:lnTo>
                    <a:lnTo>
                      <a:pt x="168930" y="356543"/>
                    </a:lnTo>
                    <a:lnTo>
                      <a:pt x="158272" y="347926"/>
                    </a:lnTo>
                    <a:lnTo>
                      <a:pt x="146377" y="327615"/>
                    </a:lnTo>
                    <a:lnTo>
                      <a:pt x="139329" y="307831"/>
                    </a:lnTo>
                    <a:lnTo>
                      <a:pt x="124626" y="291241"/>
                    </a:lnTo>
                    <a:lnTo>
                      <a:pt x="115722" y="287352"/>
                    </a:lnTo>
                    <a:lnTo>
                      <a:pt x="101037" y="264321"/>
                    </a:lnTo>
                    <a:lnTo>
                      <a:pt x="97334" y="247440"/>
                    </a:lnTo>
                    <a:lnTo>
                      <a:pt x="96841" y="233006"/>
                    </a:lnTo>
                    <a:lnTo>
                      <a:pt x="83389" y="206189"/>
                    </a:lnTo>
                    <a:lnTo>
                      <a:pt x="73572" y="196827"/>
                    </a:lnTo>
                    <a:lnTo>
                      <a:pt x="62835" y="191946"/>
                    </a:lnTo>
                    <a:lnTo>
                      <a:pt x="55264" y="178109"/>
                    </a:lnTo>
                    <a:lnTo>
                      <a:pt x="55765" y="172600"/>
                    </a:lnTo>
                    <a:lnTo>
                      <a:pt x="49270" y="160078"/>
                    </a:lnTo>
                    <a:lnTo>
                      <a:pt x="43216" y="154735"/>
                    </a:lnTo>
                    <a:lnTo>
                      <a:pt x="34042" y="136773"/>
                    </a:lnTo>
                    <a:lnTo>
                      <a:pt x="20596" y="117362"/>
                    </a:lnTo>
                    <a:lnTo>
                      <a:pt x="9311" y="100833"/>
                    </a:lnTo>
                    <a:lnTo>
                      <a:pt x="0" y="101092"/>
                    </a:lnTo>
                    <a:lnTo>
                      <a:pt x="1526" y="87725"/>
                    </a:lnTo>
                    <a:lnTo>
                      <a:pt x="1457" y="79216"/>
                    </a:lnTo>
                    <a:lnTo>
                      <a:pt x="2725" y="69494"/>
                    </a:lnTo>
                    <a:lnTo>
                      <a:pt x="23886" y="73020"/>
                    </a:lnTo>
                    <a:lnTo>
                      <a:pt x="31096" y="65414"/>
                    </a:lnTo>
                    <a:lnTo>
                      <a:pt x="34541" y="56595"/>
                    </a:lnTo>
                    <a:lnTo>
                      <a:pt x="48322" y="52987"/>
                    </a:lnTo>
                    <a:lnTo>
                      <a:pt x="50397" y="44798"/>
                    </a:lnTo>
                    <a:lnTo>
                      <a:pt x="56024" y="40563"/>
                    </a:lnTo>
                    <a:lnTo>
                      <a:pt x="34595" y="16612"/>
                    </a:lnTo>
                    <a:lnTo>
                      <a:pt x="69933" y="3732"/>
                    </a:lnTo>
                    <a:lnTo>
                      <a:pt x="72949" y="0"/>
                    </a:lnTo>
                    <a:lnTo>
                      <a:pt x="96007" y="6147"/>
                    </a:lnTo>
                    <a:lnTo>
                      <a:pt x="125831" y="22612"/>
                    </a:lnTo>
                    <a:lnTo>
                      <a:pt x="184903" y="70502"/>
                    </a:lnTo>
                    <a:lnTo>
                      <a:pt x="219793" y="71722"/>
                    </a:lnTo>
                    <a:lnTo>
                      <a:pt x="236727" y="73718"/>
                    </a:lnTo>
                    <a:lnTo>
                      <a:pt x="243056" y="85243"/>
                    </a:lnTo>
                    <a:lnTo>
                      <a:pt x="256159" y="84322"/>
                    </a:lnTo>
                    <a:lnTo>
                      <a:pt x="266522" y="105219"/>
                    </a:lnTo>
                    <a:lnTo>
                      <a:pt x="276534" y="110600"/>
                    </a:lnTo>
                    <a:lnTo>
                      <a:pt x="280968" y="119111"/>
                    </a:lnTo>
                    <a:lnTo>
                      <a:pt x="295217" y="129110"/>
                    </a:lnTo>
                    <a:lnTo>
                      <a:pt x="297770" y="139173"/>
                    </a:lnTo>
                    <a:lnTo>
                      <a:pt x="297018" y="147354"/>
                    </a:lnTo>
                    <a:lnTo>
                      <a:pt x="300524" y="155518"/>
                    </a:lnTo>
                    <a:lnTo>
                      <a:pt x="306877" y="162260"/>
                    </a:lnTo>
                    <a:lnTo>
                      <a:pt x="310468" y="170229"/>
                    </a:lnTo>
                    <a:lnTo>
                      <a:pt x="314093" y="176168"/>
                    </a:lnTo>
                    <a:lnTo>
                      <a:pt x="320456" y="180907"/>
                    </a:lnTo>
                    <a:lnTo>
                      <a:pt x="325473" y="179063"/>
                    </a:lnTo>
                    <a:lnTo>
                      <a:pt x="330307" y="188336"/>
                    </a:lnTo>
                    <a:lnTo>
                      <a:pt x="331771" y="193983"/>
                    </a:lnTo>
                    <a:lnTo>
                      <a:pt x="342220" y="218644"/>
                    </a:lnTo>
                    <a:lnTo>
                      <a:pt x="401045" y="229880"/>
                    </a:lnTo>
                    <a:lnTo>
                      <a:pt x="404207" y="224615"/>
                    </a:lnTo>
                    <a:lnTo>
                      <a:pt x="415204" y="241825"/>
                    </a:lnTo>
                    <a:lnTo>
                      <a:pt x="408411" y="291166"/>
                    </a:lnTo>
                    <a:lnTo>
                      <a:pt x="353391" y="316670"/>
                    </a:lnTo>
                    <a:lnTo>
                      <a:pt x="298758" y="326909"/>
                    </a:lnTo>
                    <a:lnTo>
                      <a:pt x="281774" y="338175"/>
                    </a:lnTo>
                    <a:lnTo>
                      <a:pt x="270169" y="364038"/>
                    </a:lnTo>
                    <a:lnTo>
                      <a:pt x="261474" y="368230"/>
                    </a:lnTo>
                    <a:lnTo>
                      <a:pt x="255958" y="360145"/>
                    </a:lnTo>
                    <a:lnTo>
                      <a:pt x="248642" y="361463"/>
                    </a:lnTo>
                    <a:lnTo>
                      <a:pt x="229737" y="359257"/>
                    </a:lnTo>
                    <a:lnTo>
                      <a:pt x="225991" y="356860"/>
                    </a:lnTo>
                    <a:lnTo>
                      <a:pt x="203713" y="357698"/>
                    </a:lnTo>
                    <a:lnTo>
                      <a:pt x="198642" y="359967"/>
                    </a:lnTo>
                    <a:lnTo>
                      <a:pt x="190197" y="353720"/>
                    </a:lnTo>
                    <a:lnTo>
                      <a:pt x="186000" y="365771"/>
                    </a:lnTo>
                    <a:lnTo>
                      <a:pt x="188762" y="376031"/>
                    </a:lnTo>
                    <a:lnTo>
                      <a:pt x="180822" y="383908"/>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115" name="Polygon form 80"/>
              <p:cNvSpPr/>
              <p:nvPr/>
            </p:nvSpPr>
            <p:spPr>
              <a:xfrm>
                <a:off x="4389024" y="3596658"/>
                <a:ext cx="313925" cy="326480"/>
              </a:xfrm>
              <a:custGeom>
                <a:avLst/>
                <a:gdLst/>
                <a:ahLst/>
                <a:cxnLst/>
                <a:rect l="0" t="0" r="0" b="0"/>
                <a:pathLst>
                  <a:path w="313925" h="326480">
                    <a:moveTo>
                      <a:pt x="237933" y="305182"/>
                    </a:moveTo>
                    <a:lnTo>
                      <a:pt x="235200" y="304715"/>
                    </a:lnTo>
                    <a:lnTo>
                      <a:pt x="235129" y="292617"/>
                    </a:lnTo>
                    <a:lnTo>
                      <a:pt x="232480" y="284288"/>
                    </a:lnTo>
                    <a:lnTo>
                      <a:pt x="222039" y="274752"/>
                    </a:lnTo>
                    <a:lnTo>
                      <a:pt x="219026" y="257253"/>
                    </a:lnTo>
                    <a:lnTo>
                      <a:pt x="220658" y="239309"/>
                    </a:lnTo>
                    <a:lnTo>
                      <a:pt x="211526" y="237699"/>
                    </a:lnTo>
                    <a:lnTo>
                      <a:pt x="210404" y="243127"/>
                    </a:lnTo>
                    <a:lnTo>
                      <a:pt x="198702" y="244449"/>
                    </a:lnTo>
                    <a:lnTo>
                      <a:pt x="203681" y="251507"/>
                    </a:lnTo>
                    <a:lnTo>
                      <a:pt x="205912" y="266086"/>
                    </a:lnTo>
                    <a:lnTo>
                      <a:pt x="195622" y="279483"/>
                    </a:lnTo>
                    <a:lnTo>
                      <a:pt x="186435" y="297035"/>
                    </a:lnTo>
                    <a:lnTo>
                      <a:pt x="176408" y="299583"/>
                    </a:lnTo>
                    <a:lnTo>
                      <a:pt x="159467" y="285500"/>
                    </a:lnTo>
                    <a:lnTo>
                      <a:pt x="152216" y="290532"/>
                    </a:lnTo>
                    <a:lnTo>
                      <a:pt x="150408" y="297621"/>
                    </a:lnTo>
                    <a:lnTo>
                      <a:pt x="140435" y="302246"/>
                    </a:lnTo>
                    <a:lnTo>
                      <a:pt x="139902" y="307245"/>
                    </a:lnTo>
                    <a:lnTo>
                      <a:pt x="120356" y="307327"/>
                    </a:lnTo>
                    <a:lnTo>
                      <a:pt x="117525" y="302344"/>
                    </a:lnTo>
                    <a:lnTo>
                      <a:pt x="103352" y="301570"/>
                    </a:lnTo>
                    <a:lnTo>
                      <a:pt x="96386" y="305759"/>
                    </a:lnTo>
                    <a:lnTo>
                      <a:pt x="90941" y="303701"/>
                    </a:lnTo>
                    <a:lnTo>
                      <a:pt x="80463" y="289600"/>
                    </a:lnTo>
                    <a:lnTo>
                      <a:pt x="76916" y="282960"/>
                    </a:lnTo>
                    <a:lnTo>
                      <a:pt x="62868" y="286345"/>
                    </a:lnTo>
                    <a:lnTo>
                      <a:pt x="57768" y="297591"/>
                    </a:lnTo>
                    <a:lnTo>
                      <a:pt x="53222" y="319227"/>
                    </a:lnTo>
                    <a:lnTo>
                      <a:pt x="46578" y="323822"/>
                    </a:lnTo>
                    <a:lnTo>
                      <a:pt x="40601" y="326480"/>
                    </a:lnTo>
                    <a:lnTo>
                      <a:pt x="38982" y="325358"/>
                    </a:lnTo>
                    <a:lnTo>
                      <a:pt x="32022" y="318409"/>
                    </a:lnTo>
                    <a:lnTo>
                      <a:pt x="30596" y="310890"/>
                    </a:lnTo>
                    <a:lnTo>
                      <a:pt x="33557" y="300805"/>
                    </a:lnTo>
                    <a:lnTo>
                      <a:pt x="33264" y="290927"/>
                    </a:lnTo>
                    <a:lnTo>
                      <a:pt x="21582" y="275837"/>
                    </a:lnTo>
                    <a:lnTo>
                      <a:pt x="19095" y="265488"/>
                    </a:lnTo>
                    <a:lnTo>
                      <a:pt x="19177" y="259625"/>
                    </a:lnTo>
                    <a:lnTo>
                      <a:pt x="11791" y="252522"/>
                    </a:lnTo>
                    <a:lnTo>
                      <a:pt x="11187" y="238466"/>
                    </a:lnTo>
                    <a:lnTo>
                      <a:pt x="6823" y="229147"/>
                    </a:lnTo>
                    <a:lnTo>
                      <a:pt x="0" y="230578"/>
                    </a:lnTo>
                    <a:lnTo>
                      <a:pt x="1713" y="221682"/>
                    </a:lnTo>
                    <a:lnTo>
                      <a:pt x="6469" y="211573"/>
                    </a:lnTo>
                    <a:lnTo>
                      <a:pt x="3948" y="201562"/>
                    </a:lnTo>
                    <a:lnTo>
                      <a:pt x="10121" y="194109"/>
                    </a:lnTo>
                    <a:lnTo>
                      <a:pt x="5872" y="188476"/>
                    </a:lnTo>
                    <a:lnTo>
                      <a:pt x="10518" y="173508"/>
                    </a:lnTo>
                    <a:lnTo>
                      <a:pt x="18760" y="155639"/>
                    </a:lnTo>
                    <a:lnTo>
                      <a:pt x="35583" y="157234"/>
                    </a:lnTo>
                    <a:lnTo>
                      <a:pt x="30472" y="61156"/>
                    </a:lnTo>
                    <a:lnTo>
                      <a:pt x="30214" y="51000"/>
                    </a:lnTo>
                    <a:lnTo>
                      <a:pt x="52334" y="50759"/>
                    </a:lnTo>
                    <a:lnTo>
                      <a:pt x="49703" y="2413"/>
                    </a:lnTo>
                    <a:lnTo>
                      <a:pt x="126604" y="1702"/>
                    </a:lnTo>
                    <a:lnTo>
                      <a:pt x="200810" y="913"/>
                    </a:lnTo>
                    <a:lnTo>
                      <a:pt x="276646" y="0"/>
                    </a:lnTo>
                    <a:lnTo>
                      <a:pt x="284797" y="23776"/>
                    </a:lnTo>
                    <a:lnTo>
                      <a:pt x="280947" y="28238"/>
                    </a:lnTo>
                    <a:lnTo>
                      <a:pt x="285694" y="53236"/>
                    </a:lnTo>
                    <a:lnTo>
                      <a:pt x="294922" y="82190"/>
                    </a:lnTo>
                    <a:lnTo>
                      <a:pt x="302708" y="88099"/>
                    </a:lnTo>
                    <a:lnTo>
                      <a:pt x="313925" y="96975"/>
                    </a:lnTo>
                    <a:lnTo>
                      <a:pt x="305109" y="110967"/>
                    </a:lnTo>
                    <a:lnTo>
                      <a:pt x="291123" y="115113"/>
                    </a:lnTo>
                    <a:lnTo>
                      <a:pt x="285512" y="122631"/>
                    </a:lnTo>
                    <a:lnTo>
                      <a:pt x="284621" y="138814"/>
                    </a:lnTo>
                    <a:lnTo>
                      <a:pt x="278346" y="174622"/>
                    </a:lnTo>
                    <a:lnTo>
                      <a:pt x="280949" y="184341"/>
                    </a:lnTo>
                    <a:lnTo>
                      <a:pt x="278937" y="205251"/>
                    </a:lnTo>
                    <a:lnTo>
                      <a:pt x="272160" y="229263"/>
                    </a:lnTo>
                    <a:lnTo>
                      <a:pt x="260912" y="241390"/>
                    </a:lnTo>
                    <a:lnTo>
                      <a:pt x="253302" y="260013"/>
                    </a:lnTo>
                    <a:lnTo>
                      <a:pt x="251728" y="269961"/>
                    </a:lnTo>
                    <a:lnTo>
                      <a:pt x="242706" y="276822"/>
                    </a:lnTo>
                    <a:lnTo>
                      <a:pt x="237802" y="302284"/>
                    </a:lnTo>
                    <a:lnTo>
                      <a:pt x="237933" y="305182"/>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116" name="Polygon form 81"/>
              <p:cNvSpPr/>
              <p:nvPr/>
            </p:nvSpPr>
            <p:spPr>
              <a:xfrm>
                <a:off x="3853070" y="3767169"/>
                <a:ext cx="149741" cy="132785"/>
              </a:xfrm>
              <a:custGeom>
                <a:avLst/>
                <a:gdLst/>
                <a:ahLst/>
                <a:cxnLst/>
                <a:rect l="0" t="0" r="0" b="0"/>
                <a:pathLst>
                  <a:path w="149741" h="132785">
                    <a:moveTo>
                      <a:pt x="51694" y="132038"/>
                    </a:moveTo>
                    <a:lnTo>
                      <a:pt x="38283" y="125810"/>
                    </a:lnTo>
                    <a:lnTo>
                      <a:pt x="29086" y="126721"/>
                    </a:lnTo>
                    <a:lnTo>
                      <a:pt x="22196" y="132785"/>
                    </a:lnTo>
                    <a:lnTo>
                      <a:pt x="13395" y="127684"/>
                    </a:lnTo>
                    <a:lnTo>
                      <a:pt x="10006" y="119702"/>
                    </a:lnTo>
                    <a:lnTo>
                      <a:pt x="1215" y="114434"/>
                    </a:lnTo>
                    <a:lnTo>
                      <a:pt x="0" y="100426"/>
                    </a:lnTo>
                    <a:lnTo>
                      <a:pt x="5404" y="90203"/>
                    </a:lnTo>
                    <a:lnTo>
                      <a:pt x="5002" y="82030"/>
                    </a:lnTo>
                    <a:lnTo>
                      <a:pt x="20648" y="62047"/>
                    </a:lnTo>
                    <a:lnTo>
                      <a:pt x="23610" y="45504"/>
                    </a:lnTo>
                    <a:lnTo>
                      <a:pt x="28993" y="39620"/>
                    </a:lnTo>
                    <a:lnTo>
                      <a:pt x="38416" y="42880"/>
                    </a:lnTo>
                    <a:lnTo>
                      <a:pt x="46618" y="37974"/>
                    </a:lnTo>
                    <a:lnTo>
                      <a:pt x="49298" y="31778"/>
                    </a:lnTo>
                    <a:lnTo>
                      <a:pt x="64467" y="20972"/>
                    </a:lnTo>
                    <a:lnTo>
                      <a:pt x="68208" y="13433"/>
                    </a:lnTo>
                    <a:lnTo>
                      <a:pt x="86432" y="3432"/>
                    </a:lnTo>
                    <a:lnTo>
                      <a:pt x="97151" y="0"/>
                    </a:lnTo>
                    <a:lnTo>
                      <a:pt x="102006" y="4629"/>
                    </a:lnTo>
                    <a:lnTo>
                      <a:pt x="114487" y="4518"/>
                    </a:lnTo>
                    <a:lnTo>
                      <a:pt x="112950" y="16210"/>
                    </a:lnTo>
                    <a:lnTo>
                      <a:pt x="115573" y="27198"/>
                    </a:lnTo>
                    <a:lnTo>
                      <a:pt x="126576" y="42950"/>
                    </a:lnTo>
                    <a:lnTo>
                      <a:pt x="127198" y="54624"/>
                    </a:lnTo>
                    <a:lnTo>
                      <a:pt x="149741" y="60088"/>
                    </a:lnTo>
                    <a:lnTo>
                      <a:pt x="149344" y="76611"/>
                    </a:lnTo>
                    <a:lnTo>
                      <a:pt x="145085" y="83826"/>
                    </a:lnTo>
                    <a:lnTo>
                      <a:pt x="135521" y="86083"/>
                    </a:lnTo>
                    <a:lnTo>
                      <a:pt x="131548" y="96631"/>
                    </a:lnTo>
                    <a:lnTo>
                      <a:pt x="124814" y="99363"/>
                    </a:lnTo>
                    <a:lnTo>
                      <a:pt x="107656" y="98849"/>
                    </a:lnTo>
                    <a:lnTo>
                      <a:pt x="98595" y="96927"/>
                    </a:lnTo>
                    <a:lnTo>
                      <a:pt x="92267" y="100820"/>
                    </a:lnTo>
                    <a:lnTo>
                      <a:pt x="83613" y="99060"/>
                    </a:lnTo>
                    <a:lnTo>
                      <a:pt x="49576" y="100185"/>
                    </a:lnTo>
                    <a:lnTo>
                      <a:pt x="49072" y="113873"/>
                    </a:lnTo>
                    <a:lnTo>
                      <a:pt x="51694" y="132038"/>
                    </a:lnTo>
                    <a:close/>
                  </a:path>
                </a:pathLst>
              </a:custGeom>
              <a:solidFill>
                <a:srgbClr val="A1D99B">
                  <a:alpha val="100000"/>
                </a:srgbClr>
              </a:solidFill>
              <a:ln w="5400">
                <a:solidFill>
                  <a:srgbClr val="7F7F7F">
                    <a:alpha val="100000"/>
                  </a:srgbClr>
                </a:solidFill>
                <a:prstDash val="solid"/>
                <a:round/>
              </a:ln>
            </p:spPr>
            <p:txBody>
              <a:bodyPr/>
              <a:lstStyle/>
              <a:p/>
            </p:txBody>
          </p:sp>
          <p:sp>
            <p:nvSpPr>
              <p:cNvPr id="117" name="Polygon form 82"/>
              <p:cNvSpPr/>
              <p:nvPr/>
            </p:nvSpPr>
            <p:spPr>
              <a:xfrm>
                <a:off x="4429625" y="3834357"/>
                <a:ext cx="226128" cy="212308"/>
              </a:xfrm>
              <a:custGeom>
                <a:avLst/>
                <a:gdLst/>
                <a:ahLst/>
                <a:cxnLst/>
                <a:rect l="0" t="0" r="0" b="0"/>
                <a:pathLst>
                  <a:path w="226128" h="212308">
                    <a:moveTo>
                      <a:pt x="197332" y="67483"/>
                    </a:moveTo>
                    <a:lnTo>
                      <a:pt x="198157" y="86429"/>
                    </a:lnTo>
                    <a:lnTo>
                      <a:pt x="195440" y="93863"/>
                    </a:lnTo>
                    <a:lnTo>
                      <a:pt x="185028" y="94507"/>
                    </a:lnTo>
                    <a:lnTo>
                      <a:pt x="178710" y="108371"/>
                    </a:lnTo>
                    <a:lnTo>
                      <a:pt x="190832" y="110062"/>
                    </a:lnTo>
                    <a:lnTo>
                      <a:pt x="201107" y="121865"/>
                    </a:lnTo>
                    <a:lnTo>
                      <a:pt x="204793" y="131570"/>
                    </a:lnTo>
                    <a:lnTo>
                      <a:pt x="213916" y="137173"/>
                    </a:lnTo>
                    <a:lnTo>
                      <a:pt x="226128" y="163591"/>
                    </a:lnTo>
                    <a:lnTo>
                      <a:pt x="213066" y="179648"/>
                    </a:lnTo>
                    <a:lnTo>
                      <a:pt x="201169" y="194194"/>
                    </a:lnTo>
                    <a:lnTo>
                      <a:pt x="189195" y="205395"/>
                    </a:lnTo>
                    <a:lnTo>
                      <a:pt x="175318" y="205366"/>
                    </a:lnTo>
                    <a:lnTo>
                      <a:pt x="159510" y="211079"/>
                    </a:lnTo>
                    <a:lnTo>
                      <a:pt x="146903" y="205673"/>
                    </a:lnTo>
                    <a:lnTo>
                      <a:pt x="138859" y="212308"/>
                    </a:lnTo>
                    <a:lnTo>
                      <a:pt x="121304" y="196214"/>
                    </a:lnTo>
                    <a:lnTo>
                      <a:pt x="116483" y="185861"/>
                    </a:lnTo>
                    <a:lnTo>
                      <a:pt x="105572" y="191016"/>
                    </a:lnTo>
                    <a:lnTo>
                      <a:pt x="96435" y="189438"/>
                    </a:lnTo>
                    <a:lnTo>
                      <a:pt x="91208" y="193520"/>
                    </a:lnTo>
                    <a:lnTo>
                      <a:pt x="82318" y="190597"/>
                    </a:lnTo>
                    <a:lnTo>
                      <a:pt x="70106" y="170610"/>
                    </a:lnTo>
                    <a:lnTo>
                      <a:pt x="66822" y="162934"/>
                    </a:lnTo>
                    <a:lnTo>
                      <a:pt x="51945" y="153378"/>
                    </a:lnTo>
                    <a:lnTo>
                      <a:pt x="46729" y="138856"/>
                    </a:lnTo>
                    <a:lnTo>
                      <a:pt x="38338" y="128395"/>
                    </a:lnTo>
                    <a:lnTo>
                      <a:pt x="24868" y="115819"/>
                    </a:lnTo>
                    <a:lnTo>
                      <a:pt x="24533" y="107947"/>
                    </a:lnTo>
                    <a:lnTo>
                      <a:pt x="13568" y="98195"/>
                    </a:lnTo>
                    <a:lnTo>
                      <a:pt x="0" y="88782"/>
                    </a:lnTo>
                    <a:lnTo>
                      <a:pt x="5977" y="86124"/>
                    </a:lnTo>
                    <a:lnTo>
                      <a:pt x="12622" y="81528"/>
                    </a:lnTo>
                    <a:lnTo>
                      <a:pt x="17167" y="59893"/>
                    </a:lnTo>
                    <a:lnTo>
                      <a:pt x="22267" y="48646"/>
                    </a:lnTo>
                    <a:lnTo>
                      <a:pt x="36315" y="45261"/>
                    </a:lnTo>
                    <a:lnTo>
                      <a:pt x="39862" y="51901"/>
                    </a:lnTo>
                    <a:lnTo>
                      <a:pt x="50340" y="66002"/>
                    </a:lnTo>
                    <a:lnTo>
                      <a:pt x="55785" y="68060"/>
                    </a:lnTo>
                    <a:lnTo>
                      <a:pt x="62751" y="63872"/>
                    </a:lnTo>
                    <a:lnTo>
                      <a:pt x="76924" y="64645"/>
                    </a:lnTo>
                    <a:lnTo>
                      <a:pt x="79755" y="69628"/>
                    </a:lnTo>
                    <a:lnTo>
                      <a:pt x="99301" y="69546"/>
                    </a:lnTo>
                    <a:lnTo>
                      <a:pt x="99834" y="64547"/>
                    </a:lnTo>
                    <a:lnTo>
                      <a:pt x="109807" y="59922"/>
                    </a:lnTo>
                    <a:lnTo>
                      <a:pt x="111615" y="52834"/>
                    </a:lnTo>
                    <a:lnTo>
                      <a:pt x="118866" y="47801"/>
                    </a:lnTo>
                    <a:lnTo>
                      <a:pt x="135807" y="61884"/>
                    </a:lnTo>
                    <a:lnTo>
                      <a:pt x="145834" y="59336"/>
                    </a:lnTo>
                    <a:lnTo>
                      <a:pt x="155021" y="41784"/>
                    </a:lnTo>
                    <a:lnTo>
                      <a:pt x="165311" y="28387"/>
                    </a:lnTo>
                    <a:lnTo>
                      <a:pt x="163080" y="13808"/>
                    </a:lnTo>
                    <a:lnTo>
                      <a:pt x="158101" y="6750"/>
                    </a:lnTo>
                    <a:lnTo>
                      <a:pt x="169803" y="5428"/>
                    </a:lnTo>
                    <a:lnTo>
                      <a:pt x="170925" y="0"/>
                    </a:lnTo>
                    <a:lnTo>
                      <a:pt x="180057" y="1610"/>
                    </a:lnTo>
                    <a:lnTo>
                      <a:pt x="178426" y="19554"/>
                    </a:lnTo>
                    <a:lnTo>
                      <a:pt x="181438" y="37054"/>
                    </a:lnTo>
                    <a:lnTo>
                      <a:pt x="191879" y="46589"/>
                    </a:lnTo>
                    <a:lnTo>
                      <a:pt x="194529" y="54919"/>
                    </a:lnTo>
                    <a:lnTo>
                      <a:pt x="194600" y="67017"/>
                    </a:lnTo>
                    <a:lnTo>
                      <a:pt x="197332" y="67483"/>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118" name="Polygon form 83"/>
              <p:cNvSpPr/>
              <p:nvPr/>
            </p:nvSpPr>
            <p:spPr>
              <a:xfrm>
                <a:off x="3617040" y="3730886"/>
                <a:ext cx="119125" cy="103155"/>
              </a:xfrm>
              <a:custGeom>
                <a:avLst/>
                <a:gdLst/>
                <a:ahLst/>
                <a:cxnLst/>
                <a:rect l="0" t="0" r="0" b="0"/>
                <a:pathLst>
                  <a:path w="119125" h="103155">
                    <a:moveTo>
                      <a:pt x="17080" y="72407"/>
                    </a:moveTo>
                    <a:lnTo>
                      <a:pt x="9495" y="53563"/>
                    </a:lnTo>
                    <a:lnTo>
                      <a:pt x="0" y="44920"/>
                    </a:lnTo>
                    <a:lnTo>
                      <a:pt x="8685" y="40364"/>
                    </a:lnTo>
                    <a:lnTo>
                      <a:pt x="18559" y="23436"/>
                    </a:lnTo>
                    <a:lnTo>
                      <a:pt x="23511" y="11047"/>
                    </a:lnTo>
                    <a:lnTo>
                      <a:pt x="30369" y="3327"/>
                    </a:lnTo>
                    <a:lnTo>
                      <a:pt x="39959" y="5452"/>
                    </a:lnTo>
                    <a:lnTo>
                      <a:pt x="49564" y="224"/>
                    </a:lnTo>
                    <a:lnTo>
                      <a:pt x="60403" y="0"/>
                    </a:lnTo>
                    <a:lnTo>
                      <a:pt x="69503" y="7134"/>
                    </a:lnTo>
                    <a:lnTo>
                      <a:pt x="82246" y="13577"/>
                    </a:lnTo>
                    <a:lnTo>
                      <a:pt x="93632" y="31380"/>
                    </a:lnTo>
                    <a:lnTo>
                      <a:pt x="106158" y="48003"/>
                    </a:lnTo>
                    <a:lnTo>
                      <a:pt x="106785" y="63027"/>
                    </a:lnTo>
                    <a:lnTo>
                      <a:pt x="110398" y="76863"/>
                    </a:lnTo>
                    <a:lnTo>
                      <a:pt x="117598" y="83662"/>
                    </a:lnTo>
                    <a:lnTo>
                      <a:pt x="119125" y="93002"/>
                    </a:lnTo>
                    <a:lnTo>
                      <a:pt x="118114" y="100522"/>
                    </a:lnTo>
                    <a:lnTo>
                      <a:pt x="115272" y="101877"/>
                    </a:lnTo>
                    <a:lnTo>
                      <a:pt x="104641" y="99944"/>
                    </a:lnTo>
                    <a:lnTo>
                      <a:pt x="103132" y="102626"/>
                    </a:lnTo>
                    <a:lnTo>
                      <a:pt x="98813" y="103155"/>
                    </a:lnTo>
                    <a:lnTo>
                      <a:pt x="84858" y="97233"/>
                    </a:lnTo>
                    <a:lnTo>
                      <a:pt x="75428" y="96959"/>
                    </a:lnTo>
                    <a:lnTo>
                      <a:pt x="39329" y="95842"/>
                    </a:lnTo>
                    <a:lnTo>
                      <a:pt x="34034" y="98546"/>
                    </a:lnTo>
                    <a:lnTo>
                      <a:pt x="27577" y="97748"/>
                    </a:lnTo>
                    <a:lnTo>
                      <a:pt x="17139" y="101652"/>
                    </a:lnTo>
                    <a:lnTo>
                      <a:pt x="14339" y="83117"/>
                    </a:lnTo>
                    <a:lnTo>
                      <a:pt x="32102" y="83687"/>
                    </a:lnTo>
                    <a:lnTo>
                      <a:pt x="36866" y="80318"/>
                    </a:lnTo>
                    <a:lnTo>
                      <a:pt x="40369" y="80131"/>
                    </a:lnTo>
                    <a:lnTo>
                      <a:pt x="47721" y="74574"/>
                    </a:lnTo>
                    <a:lnTo>
                      <a:pt x="55989" y="79705"/>
                    </a:lnTo>
                    <a:lnTo>
                      <a:pt x="64463" y="80156"/>
                    </a:lnTo>
                    <a:lnTo>
                      <a:pt x="73014" y="74759"/>
                    </a:lnTo>
                    <a:lnTo>
                      <a:pt x="69209" y="67767"/>
                    </a:lnTo>
                    <a:lnTo>
                      <a:pt x="62695" y="71815"/>
                    </a:lnTo>
                    <a:lnTo>
                      <a:pt x="56643" y="71683"/>
                    </a:lnTo>
                    <a:lnTo>
                      <a:pt x="49068" y="65713"/>
                    </a:lnTo>
                    <a:lnTo>
                      <a:pt x="42876" y="66082"/>
                    </a:lnTo>
                    <a:lnTo>
                      <a:pt x="38346" y="71788"/>
                    </a:lnTo>
                    <a:lnTo>
                      <a:pt x="17080" y="72407"/>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119" name="Polygon form 84"/>
              <p:cNvSpPr/>
              <p:nvPr/>
            </p:nvSpPr>
            <p:spPr>
              <a:xfrm>
                <a:off x="3700048" y="3889242"/>
                <a:ext cx="59145" cy="78752"/>
              </a:xfrm>
              <a:custGeom>
                <a:avLst/>
                <a:gdLst/>
                <a:ahLst/>
                <a:cxnLst/>
                <a:rect l="0" t="0" r="0" b="0"/>
                <a:pathLst>
                  <a:path w="59145" h="78752">
                    <a:moveTo>
                      <a:pt x="35044" y="78752"/>
                    </a:moveTo>
                    <a:lnTo>
                      <a:pt x="29755" y="76954"/>
                    </a:lnTo>
                    <a:lnTo>
                      <a:pt x="15672" y="67209"/>
                    </a:lnTo>
                    <a:lnTo>
                      <a:pt x="5550" y="54257"/>
                    </a:lnTo>
                    <a:lnTo>
                      <a:pt x="2203" y="45429"/>
                    </a:lnTo>
                    <a:lnTo>
                      <a:pt x="0" y="27575"/>
                    </a:lnTo>
                    <a:lnTo>
                      <a:pt x="10627" y="16977"/>
                    </a:lnTo>
                    <a:lnTo>
                      <a:pt x="12971" y="10281"/>
                    </a:lnTo>
                    <a:lnTo>
                      <a:pt x="16387" y="5080"/>
                    </a:lnTo>
                    <a:lnTo>
                      <a:pt x="21801" y="4541"/>
                    </a:lnTo>
                    <a:lnTo>
                      <a:pt x="26429" y="0"/>
                    </a:lnTo>
                    <a:lnTo>
                      <a:pt x="42119" y="55"/>
                    </a:lnTo>
                    <a:lnTo>
                      <a:pt x="47484" y="8698"/>
                    </a:lnTo>
                    <a:lnTo>
                      <a:pt x="51634" y="18852"/>
                    </a:lnTo>
                    <a:lnTo>
                      <a:pt x="50929" y="25870"/>
                    </a:lnTo>
                    <a:lnTo>
                      <a:pt x="54021" y="32191"/>
                    </a:lnTo>
                    <a:lnTo>
                      <a:pt x="53721" y="41042"/>
                    </a:lnTo>
                    <a:lnTo>
                      <a:pt x="59145" y="39665"/>
                    </a:lnTo>
                    <a:lnTo>
                      <a:pt x="49896" y="50921"/>
                    </a:lnTo>
                    <a:lnTo>
                      <a:pt x="40912" y="64013"/>
                    </a:lnTo>
                    <a:lnTo>
                      <a:pt x="39809" y="71034"/>
                    </a:lnTo>
                    <a:lnTo>
                      <a:pt x="35044" y="78752"/>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120" name="Polygon form 85"/>
              <p:cNvSpPr/>
              <p:nvPr/>
            </p:nvSpPr>
            <p:spPr>
              <a:xfrm>
                <a:off x="2204429" y="3765261"/>
                <a:ext cx="46286" cy="32935"/>
              </a:xfrm>
              <a:custGeom>
                <a:avLst/>
                <a:gdLst/>
                <a:ahLst/>
                <a:cxnLst/>
                <a:rect l="0" t="0" r="0" b="0"/>
                <a:pathLst>
                  <a:path w="46286" h="32935">
                    <a:moveTo>
                      <a:pt x="43656" y="27016"/>
                    </a:moveTo>
                    <a:lnTo>
                      <a:pt x="40762" y="32935"/>
                    </a:lnTo>
                    <a:lnTo>
                      <a:pt x="29531" y="32324"/>
                    </a:lnTo>
                    <a:lnTo>
                      <a:pt x="22824" y="29749"/>
                    </a:lnTo>
                    <a:lnTo>
                      <a:pt x="15410" y="24536"/>
                    </a:lnTo>
                    <a:lnTo>
                      <a:pt x="4801" y="22727"/>
                    </a:lnTo>
                    <a:lnTo>
                      <a:pt x="0" y="17154"/>
                    </a:lnTo>
                    <a:lnTo>
                      <a:pt x="1090" y="13445"/>
                    </a:lnTo>
                    <a:lnTo>
                      <a:pt x="8602" y="7191"/>
                    </a:lnTo>
                    <a:lnTo>
                      <a:pt x="12626" y="4468"/>
                    </a:lnTo>
                    <a:lnTo>
                      <a:pt x="11999" y="1457"/>
                    </a:lnTo>
                    <a:lnTo>
                      <a:pt x="16755" y="0"/>
                    </a:lnTo>
                    <a:lnTo>
                      <a:pt x="22190" y="2264"/>
                    </a:lnTo>
                    <a:lnTo>
                      <a:pt x="25697" y="7417"/>
                    </a:lnTo>
                    <a:lnTo>
                      <a:pt x="31027" y="11612"/>
                    </a:lnTo>
                    <a:lnTo>
                      <a:pt x="31307" y="15041"/>
                    </a:lnTo>
                    <a:lnTo>
                      <a:pt x="40226" y="12208"/>
                    </a:lnTo>
                    <a:lnTo>
                      <a:pt x="43993" y="14102"/>
                    </a:lnTo>
                    <a:lnTo>
                      <a:pt x="46286" y="16900"/>
                    </a:lnTo>
                    <a:lnTo>
                      <a:pt x="43656" y="27016"/>
                    </a:lnTo>
                    <a:close/>
                  </a:path>
                </a:pathLst>
              </a:custGeom>
              <a:solidFill>
                <a:srgbClr val="A1D99B">
                  <a:alpha val="100000"/>
                </a:srgbClr>
              </a:solidFill>
              <a:ln w="5400">
                <a:solidFill>
                  <a:srgbClr val="7F7F7F">
                    <a:alpha val="100000"/>
                  </a:srgbClr>
                </a:solidFill>
                <a:prstDash val="solid"/>
                <a:round/>
              </a:ln>
            </p:spPr>
            <p:txBody>
              <a:bodyPr/>
              <a:lstStyle/>
              <a:p/>
            </p:txBody>
          </p:sp>
          <p:sp>
            <p:nvSpPr>
              <p:cNvPr id="121" name="Polygon form 86"/>
              <p:cNvSpPr/>
              <p:nvPr/>
            </p:nvSpPr>
            <p:spPr>
              <a:xfrm>
                <a:off x="4794467" y="3852037"/>
                <a:ext cx="126387" cy="84142"/>
              </a:xfrm>
              <a:custGeom>
                <a:avLst/>
                <a:gdLst/>
                <a:ahLst/>
                <a:cxnLst/>
                <a:rect l="0" t="0" r="0" b="0"/>
                <a:pathLst>
                  <a:path w="126387" h="84142">
                    <a:moveTo>
                      <a:pt x="126387" y="48267"/>
                    </a:moveTo>
                    <a:lnTo>
                      <a:pt x="118214" y="63370"/>
                    </a:lnTo>
                    <a:lnTo>
                      <a:pt x="105365" y="83891"/>
                    </a:lnTo>
                    <a:lnTo>
                      <a:pt x="88837" y="84142"/>
                    </a:lnTo>
                    <a:lnTo>
                      <a:pt x="23450" y="55542"/>
                    </a:lnTo>
                    <a:lnTo>
                      <a:pt x="15593" y="46878"/>
                    </a:lnTo>
                    <a:lnTo>
                      <a:pt x="7848" y="35176"/>
                    </a:lnTo>
                    <a:lnTo>
                      <a:pt x="0" y="21791"/>
                    </a:lnTo>
                    <a:lnTo>
                      <a:pt x="3865" y="13115"/>
                    </a:lnTo>
                    <a:lnTo>
                      <a:pt x="10433" y="0"/>
                    </a:lnTo>
                    <a:lnTo>
                      <a:pt x="17029" y="4449"/>
                    </a:lnTo>
                    <a:lnTo>
                      <a:pt x="21368" y="14514"/>
                    </a:lnTo>
                    <a:lnTo>
                      <a:pt x="30699" y="24669"/>
                    </a:lnTo>
                    <a:lnTo>
                      <a:pt x="40432" y="24678"/>
                    </a:lnTo>
                    <a:lnTo>
                      <a:pt x="58598" y="18286"/>
                    </a:lnTo>
                    <a:lnTo>
                      <a:pt x="79773" y="15219"/>
                    </a:lnTo>
                    <a:lnTo>
                      <a:pt x="96607" y="7477"/>
                    </a:lnTo>
                    <a:lnTo>
                      <a:pt x="106228" y="5782"/>
                    </a:lnTo>
                    <a:lnTo>
                      <a:pt x="112969" y="1256"/>
                    </a:lnTo>
                    <a:lnTo>
                      <a:pt x="124063" y="296"/>
                    </a:lnTo>
                    <a:lnTo>
                      <a:pt x="123965" y="698"/>
                    </a:lnTo>
                    <a:lnTo>
                      <a:pt x="124465" y="10785"/>
                    </a:lnTo>
                    <a:lnTo>
                      <a:pt x="125764" y="35490"/>
                    </a:lnTo>
                    <a:lnTo>
                      <a:pt x="126387" y="48267"/>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122" name="Polygon form 87"/>
              <p:cNvSpPr/>
              <p:nvPr/>
            </p:nvSpPr>
            <p:spPr>
              <a:xfrm>
                <a:off x="4768874" y="3836887"/>
                <a:ext cx="191921" cy="336008"/>
              </a:xfrm>
              <a:custGeom>
                <a:avLst/>
                <a:gdLst/>
                <a:ahLst/>
                <a:cxnLst/>
                <a:rect l="0" t="0" r="0" b="0"/>
                <a:pathLst>
                  <a:path w="191921" h="336008">
                    <a:moveTo>
                      <a:pt x="164686" y="11185"/>
                    </a:moveTo>
                    <a:lnTo>
                      <a:pt x="174909" y="8621"/>
                    </a:lnTo>
                    <a:lnTo>
                      <a:pt x="183645" y="141"/>
                    </a:lnTo>
                    <a:lnTo>
                      <a:pt x="191053" y="0"/>
                    </a:lnTo>
                    <a:lnTo>
                      <a:pt x="191921" y="6775"/>
                    </a:lnTo>
                    <a:lnTo>
                      <a:pt x="190976" y="21054"/>
                    </a:lnTo>
                    <a:lnTo>
                      <a:pt x="191789" y="33941"/>
                    </a:lnTo>
                    <a:lnTo>
                      <a:pt x="188138" y="42833"/>
                    </a:lnTo>
                    <a:lnTo>
                      <a:pt x="183958" y="69379"/>
                    </a:lnTo>
                    <a:lnTo>
                      <a:pt x="175725" y="96827"/>
                    </a:lnTo>
                    <a:lnTo>
                      <a:pt x="164757" y="128197"/>
                    </a:lnTo>
                    <a:lnTo>
                      <a:pt x="148956" y="164179"/>
                    </a:lnTo>
                    <a:lnTo>
                      <a:pt x="132775" y="191658"/>
                    </a:lnTo>
                    <a:lnTo>
                      <a:pt x="110149" y="225100"/>
                    </a:lnTo>
                    <a:lnTo>
                      <a:pt x="90630" y="244933"/>
                    </a:lnTo>
                    <a:lnTo>
                      <a:pt x="61278" y="269231"/>
                    </a:lnTo>
                    <a:lnTo>
                      <a:pt x="42932" y="287814"/>
                    </a:lnTo>
                    <a:lnTo>
                      <a:pt x="21288" y="317375"/>
                    </a:lnTo>
                    <a:lnTo>
                      <a:pt x="16670" y="330236"/>
                    </a:lnTo>
                    <a:lnTo>
                      <a:pt x="12174" y="336008"/>
                    </a:lnTo>
                    <a:lnTo>
                      <a:pt x="594" y="315878"/>
                    </a:lnTo>
                    <a:lnTo>
                      <a:pt x="0" y="227047"/>
                    </a:lnTo>
                    <a:lnTo>
                      <a:pt x="16849" y="199341"/>
                    </a:lnTo>
                    <a:lnTo>
                      <a:pt x="22108" y="191636"/>
                    </a:lnTo>
                    <a:lnTo>
                      <a:pt x="34740" y="191149"/>
                    </a:lnTo>
                    <a:lnTo>
                      <a:pt x="51958" y="173882"/>
                    </a:lnTo>
                    <a:lnTo>
                      <a:pt x="77609" y="172715"/>
                    </a:lnTo>
                    <a:lnTo>
                      <a:pt x="130958" y="99041"/>
                    </a:lnTo>
                    <a:lnTo>
                      <a:pt x="143808" y="78520"/>
                    </a:lnTo>
                    <a:lnTo>
                      <a:pt x="151980" y="63418"/>
                    </a:lnTo>
                    <a:lnTo>
                      <a:pt x="151357" y="50640"/>
                    </a:lnTo>
                    <a:lnTo>
                      <a:pt x="150058" y="25936"/>
                    </a:lnTo>
                    <a:lnTo>
                      <a:pt x="149558" y="15848"/>
                    </a:lnTo>
                    <a:lnTo>
                      <a:pt x="149657" y="15446"/>
                    </a:lnTo>
                    <a:lnTo>
                      <a:pt x="155882" y="14907"/>
                    </a:lnTo>
                    <a:lnTo>
                      <a:pt x="164686" y="11185"/>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123" name="Polygon form 88"/>
              <p:cNvSpPr/>
              <p:nvPr/>
            </p:nvSpPr>
            <p:spPr>
              <a:xfrm>
                <a:off x="4281007" y="3015776"/>
                <a:ext cx="78099" cy="94380"/>
              </a:xfrm>
              <a:custGeom>
                <a:avLst/>
                <a:gdLst/>
                <a:ahLst/>
                <a:cxnLst/>
                <a:rect l="0" t="0" r="0" b="0"/>
                <a:pathLst>
                  <a:path w="78099" h="94380">
                    <a:moveTo>
                      <a:pt x="36048" y="17945"/>
                    </a:moveTo>
                    <a:lnTo>
                      <a:pt x="47063" y="23479"/>
                    </a:lnTo>
                    <a:lnTo>
                      <a:pt x="49476" y="33417"/>
                    </a:lnTo>
                    <a:lnTo>
                      <a:pt x="60243" y="40290"/>
                    </a:lnTo>
                    <a:lnTo>
                      <a:pt x="65037" y="34798"/>
                    </a:lnTo>
                    <a:lnTo>
                      <a:pt x="69607" y="37743"/>
                    </a:lnTo>
                    <a:lnTo>
                      <a:pt x="66079" y="41879"/>
                    </a:lnTo>
                    <a:lnTo>
                      <a:pt x="69695" y="46044"/>
                    </a:lnTo>
                    <a:lnTo>
                      <a:pt x="66048" y="51587"/>
                    </a:lnTo>
                    <a:lnTo>
                      <a:pt x="68555" y="60389"/>
                    </a:lnTo>
                    <a:lnTo>
                      <a:pt x="78099" y="70695"/>
                    </a:lnTo>
                    <a:lnTo>
                      <a:pt x="72301" y="78345"/>
                    </a:lnTo>
                    <a:lnTo>
                      <a:pt x="70190" y="86076"/>
                    </a:lnTo>
                    <a:lnTo>
                      <a:pt x="72380" y="88923"/>
                    </a:lnTo>
                    <a:lnTo>
                      <a:pt x="69870" y="92373"/>
                    </a:lnTo>
                    <a:lnTo>
                      <a:pt x="61831" y="92887"/>
                    </a:lnTo>
                    <a:lnTo>
                      <a:pt x="56036" y="94380"/>
                    </a:lnTo>
                    <a:lnTo>
                      <a:pt x="55274" y="92575"/>
                    </a:lnTo>
                    <a:lnTo>
                      <a:pt x="57069" y="89673"/>
                    </a:lnTo>
                    <a:lnTo>
                      <a:pt x="58424" y="83763"/>
                    </a:lnTo>
                    <a:lnTo>
                      <a:pt x="55967" y="83931"/>
                    </a:lnTo>
                    <a:lnTo>
                      <a:pt x="52135" y="79499"/>
                    </a:lnTo>
                    <a:lnTo>
                      <a:pt x="49163" y="78401"/>
                    </a:lnTo>
                    <a:lnTo>
                      <a:pt x="46507" y="74588"/>
                    </a:lnTo>
                    <a:lnTo>
                      <a:pt x="43115" y="73128"/>
                    </a:lnTo>
                    <a:lnTo>
                      <a:pt x="40314" y="69753"/>
                    </a:lnTo>
                    <a:lnTo>
                      <a:pt x="37336" y="71131"/>
                    </a:lnTo>
                    <a:lnTo>
                      <a:pt x="35717" y="79182"/>
                    </a:lnTo>
                    <a:lnTo>
                      <a:pt x="31727" y="80974"/>
                    </a:lnTo>
                    <a:lnTo>
                      <a:pt x="32958" y="78884"/>
                    </a:lnTo>
                    <a:lnTo>
                      <a:pt x="25861" y="73956"/>
                    </a:lnTo>
                    <a:lnTo>
                      <a:pt x="19918" y="71426"/>
                    </a:lnTo>
                    <a:lnTo>
                      <a:pt x="17074" y="68113"/>
                    </a:lnTo>
                    <a:lnTo>
                      <a:pt x="12095" y="64027"/>
                    </a:lnTo>
                    <a:lnTo>
                      <a:pt x="16070" y="62907"/>
                    </a:lnTo>
                    <a:lnTo>
                      <a:pt x="17516" y="51515"/>
                    </a:lnTo>
                    <a:lnTo>
                      <a:pt x="8334" y="42332"/>
                    </a:lnTo>
                    <a:lnTo>
                      <a:pt x="11624" y="31654"/>
                    </a:lnTo>
                    <a:lnTo>
                      <a:pt x="5414" y="31800"/>
                    </a:lnTo>
                    <a:lnTo>
                      <a:pt x="11135" y="22629"/>
                    </a:lnTo>
                    <a:lnTo>
                      <a:pt x="5041" y="15817"/>
                    </a:lnTo>
                    <a:lnTo>
                      <a:pt x="0" y="6516"/>
                    </a:lnTo>
                    <a:lnTo>
                      <a:pt x="12401" y="0"/>
                    </a:lnTo>
                    <a:lnTo>
                      <a:pt x="23112" y="926"/>
                    </a:lnTo>
                    <a:lnTo>
                      <a:pt x="33326" y="10287"/>
                    </a:lnTo>
                    <a:lnTo>
                      <a:pt x="36048" y="17945"/>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124" name="Polygon form 89"/>
              <p:cNvSpPr/>
              <p:nvPr/>
            </p:nvSpPr>
            <p:spPr>
              <a:xfrm>
                <a:off x="2815608" y="3983617"/>
                <a:ext cx="81719" cy="103470"/>
              </a:xfrm>
              <a:custGeom>
                <a:avLst/>
                <a:gdLst/>
                <a:ahLst/>
                <a:cxnLst/>
                <a:rect l="0" t="0" r="0" b="0"/>
                <a:pathLst>
                  <a:path w="81719" h="103470">
                    <a:moveTo>
                      <a:pt x="19083" y="1054"/>
                    </a:moveTo>
                    <a:lnTo>
                      <a:pt x="42511" y="6114"/>
                    </a:lnTo>
                    <a:lnTo>
                      <a:pt x="44778" y="1689"/>
                    </a:lnTo>
                    <a:lnTo>
                      <a:pt x="60761" y="0"/>
                    </a:lnTo>
                    <a:lnTo>
                      <a:pt x="81719" y="6719"/>
                    </a:lnTo>
                    <a:lnTo>
                      <a:pt x="70834" y="27807"/>
                    </a:lnTo>
                    <a:lnTo>
                      <a:pt x="71964" y="44634"/>
                    </a:lnTo>
                    <a:lnTo>
                      <a:pt x="79389" y="59229"/>
                    </a:lnTo>
                    <a:lnTo>
                      <a:pt x="75741" y="69796"/>
                    </a:lnTo>
                    <a:lnTo>
                      <a:pt x="73820" y="81036"/>
                    </a:lnTo>
                    <a:lnTo>
                      <a:pt x="68641" y="91366"/>
                    </a:lnTo>
                    <a:lnTo>
                      <a:pt x="57408" y="86129"/>
                    </a:lnTo>
                    <a:lnTo>
                      <a:pt x="48056" y="88624"/>
                    </a:lnTo>
                    <a:lnTo>
                      <a:pt x="40123" y="86419"/>
                    </a:lnTo>
                    <a:lnTo>
                      <a:pt x="38052" y="93543"/>
                    </a:lnTo>
                    <a:lnTo>
                      <a:pt x="41303" y="98444"/>
                    </a:lnTo>
                    <a:lnTo>
                      <a:pt x="39469" y="103470"/>
                    </a:lnTo>
                    <a:lnTo>
                      <a:pt x="28760" y="101437"/>
                    </a:lnTo>
                    <a:lnTo>
                      <a:pt x="17001" y="79994"/>
                    </a:lnTo>
                    <a:lnTo>
                      <a:pt x="14660" y="66077"/>
                    </a:lnTo>
                    <a:lnTo>
                      <a:pt x="8346" y="66028"/>
                    </a:lnTo>
                    <a:lnTo>
                      <a:pt x="0" y="48096"/>
                    </a:lnTo>
                    <a:lnTo>
                      <a:pt x="3965" y="35393"/>
                    </a:lnTo>
                    <a:lnTo>
                      <a:pt x="3062" y="29575"/>
                    </a:lnTo>
                    <a:lnTo>
                      <a:pt x="15214" y="23200"/>
                    </a:lnTo>
                    <a:lnTo>
                      <a:pt x="19083" y="1054"/>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125" name="Polygon form 90"/>
              <p:cNvSpPr/>
              <p:nvPr/>
            </p:nvSpPr>
            <p:spPr>
              <a:xfrm>
                <a:off x="4242313" y="2933754"/>
                <a:ext cx="92911" cy="44090"/>
              </a:xfrm>
              <a:custGeom>
                <a:avLst/>
                <a:gdLst/>
                <a:ahLst/>
                <a:cxnLst/>
                <a:rect l="0" t="0" r="0" b="0"/>
                <a:pathLst>
                  <a:path w="92911" h="44090">
                    <a:moveTo>
                      <a:pt x="30359" y="1924"/>
                    </a:moveTo>
                    <a:lnTo>
                      <a:pt x="31447" y="3369"/>
                    </a:lnTo>
                    <a:lnTo>
                      <a:pt x="37901" y="0"/>
                    </a:lnTo>
                    <a:lnTo>
                      <a:pt x="47189" y="8440"/>
                    </a:lnTo>
                    <a:lnTo>
                      <a:pt x="56401" y="3125"/>
                    </a:lnTo>
                    <a:lnTo>
                      <a:pt x="64506" y="5489"/>
                    </a:lnTo>
                    <a:lnTo>
                      <a:pt x="76021" y="1895"/>
                    </a:lnTo>
                    <a:lnTo>
                      <a:pt x="92911" y="10928"/>
                    </a:lnTo>
                    <a:lnTo>
                      <a:pt x="89082" y="17288"/>
                    </a:lnTo>
                    <a:lnTo>
                      <a:pt x="87012" y="27073"/>
                    </a:lnTo>
                    <a:lnTo>
                      <a:pt x="83745" y="29599"/>
                    </a:lnTo>
                    <a:lnTo>
                      <a:pt x="65025" y="22530"/>
                    </a:lnTo>
                    <a:lnTo>
                      <a:pt x="59729" y="24082"/>
                    </a:lnTo>
                    <a:lnTo>
                      <a:pt x="56445" y="29819"/>
                    </a:lnTo>
                    <a:lnTo>
                      <a:pt x="48924" y="32944"/>
                    </a:lnTo>
                    <a:lnTo>
                      <a:pt x="46951" y="31426"/>
                    </a:lnTo>
                    <a:lnTo>
                      <a:pt x="39200" y="35284"/>
                    </a:lnTo>
                    <a:lnTo>
                      <a:pt x="32622" y="36087"/>
                    </a:lnTo>
                    <a:lnTo>
                      <a:pt x="31762" y="40953"/>
                    </a:lnTo>
                    <a:lnTo>
                      <a:pt x="17970" y="44090"/>
                    </a:lnTo>
                    <a:lnTo>
                      <a:pt x="11535" y="41534"/>
                    </a:lnTo>
                    <a:lnTo>
                      <a:pt x="2435" y="35456"/>
                    </a:lnTo>
                    <a:lnTo>
                      <a:pt x="0" y="27111"/>
                    </a:lnTo>
                    <a:lnTo>
                      <a:pt x="1057" y="24031"/>
                    </a:lnTo>
                    <a:lnTo>
                      <a:pt x="2922" y="18692"/>
                    </a:lnTo>
                    <a:lnTo>
                      <a:pt x="10337" y="19011"/>
                    </a:lnTo>
                    <a:lnTo>
                      <a:pt x="15777" y="16443"/>
                    </a:lnTo>
                    <a:lnTo>
                      <a:pt x="16005" y="14192"/>
                    </a:lnTo>
                    <a:lnTo>
                      <a:pt x="19073" y="13005"/>
                    </a:lnTo>
                    <a:lnTo>
                      <a:pt x="19608" y="7498"/>
                    </a:lnTo>
                    <a:lnTo>
                      <a:pt x="23307" y="6399"/>
                    </a:lnTo>
                    <a:lnTo>
                      <a:pt x="25426" y="2020"/>
                    </a:lnTo>
                    <a:lnTo>
                      <a:pt x="30359" y="1924"/>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126" name="Polygon form 91"/>
              <p:cNvSpPr/>
              <p:nvPr/>
            </p:nvSpPr>
            <p:spPr>
              <a:xfrm>
                <a:off x="5622997" y="3461949"/>
                <a:ext cx="109438" cy="143189"/>
              </a:xfrm>
              <a:custGeom>
                <a:avLst/>
                <a:gdLst/>
                <a:ahLst/>
                <a:cxnLst/>
                <a:rect l="0" t="0" r="0" b="0"/>
                <a:pathLst>
                  <a:path w="109438" h="143189">
                    <a:moveTo>
                      <a:pt x="105912" y="108235"/>
                    </a:moveTo>
                    <a:lnTo>
                      <a:pt x="109438" y="126434"/>
                    </a:lnTo>
                    <a:lnTo>
                      <a:pt x="101990" y="122829"/>
                    </a:lnTo>
                    <a:lnTo>
                      <a:pt x="107481" y="143189"/>
                    </a:lnTo>
                    <a:lnTo>
                      <a:pt x="99311" y="130158"/>
                    </a:lnTo>
                    <a:lnTo>
                      <a:pt x="95487" y="117288"/>
                    </a:lnTo>
                    <a:lnTo>
                      <a:pt x="89241" y="105224"/>
                    </a:lnTo>
                    <a:lnTo>
                      <a:pt x="78076" y="90781"/>
                    </a:lnTo>
                    <a:lnTo>
                      <a:pt x="60425" y="90413"/>
                    </a:lnTo>
                    <a:lnTo>
                      <a:pt x="64432" y="100771"/>
                    </a:lnTo>
                    <a:lnTo>
                      <a:pt x="61488" y="115053"/>
                    </a:lnTo>
                    <a:lnTo>
                      <a:pt x="52328" y="110211"/>
                    </a:lnTo>
                    <a:lnTo>
                      <a:pt x="50537" y="114907"/>
                    </a:lnTo>
                    <a:lnTo>
                      <a:pt x="44582" y="112339"/>
                    </a:lnTo>
                    <a:lnTo>
                      <a:pt x="36763" y="110333"/>
                    </a:lnTo>
                    <a:lnTo>
                      <a:pt x="29369" y="89653"/>
                    </a:lnTo>
                    <a:lnTo>
                      <a:pt x="18630" y="70926"/>
                    </a:lnTo>
                    <a:lnTo>
                      <a:pt x="18382" y="55618"/>
                    </a:lnTo>
                    <a:lnTo>
                      <a:pt x="5241" y="49307"/>
                    </a:lnTo>
                    <a:lnTo>
                      <a:pt x="7266" y="39970"/>
                    </a:lnTo>
                    <a:lnTo>
                      <a:pt x="16754" y="30127"/>
                    </a:lnTo>
                    <a:lnTo>
                      <a:pt x="0" y="17337"/>
                    </a:lnTo>
                    <a:lnTo>
                      <a:pt x="2354" y="0"/>
                    </a:lnTo>
                    <a:lnTo>
                      <a:pt x="19872" y="10270"/>
                    </a:lnTo>
                    <a:lnTo>
                      <a:pt x="29101" y="11146"/>
                    </a:lnTo>
                    <a:lnTo>
                      <a:pt x="35100" y="28606"/>
                    </a:lnTo>
                    <a:lnTo>
                      <a:pt x="53778" y="31346"/>
                    </a:lnTo>
                    <a:lnTo>
                      <a:pt x="71063" y="30263"/>
                    </a:lnTo>
                    <a:lnTo>
                      <a:pt x="82942" y="34134"/>
                    </a:lnTo>
                    <a:lnTo>
                      <a:pt x="79497" y="55883"/>
                    </a:lnTo>
                    <a:lnTo>
                      <a:pt x="71426" y="57675"/>
                    </a:lnTo>
                    <a:lnTo>
                      <a:pt x="68966" y="72287"/>
                    </a:lnTo>
                    <a:lnTo>
                      <a:pt x="82295" y="85004"/>
                    </a:lnTo>
                    <a:lnTo>
                      <a:pt x="81666" y="68716"/>
                    </a:lnTo>
                    <a:lnTo>
                      <a:pt x="86853" y="68434"/>
                    </a:lnTo>
                    <a:lnTo>
                      <a:pt x="105912" y="108235"/>
                    </a:lnTo>
                    <a:close/>
                  </a:path>
                </a:pathLst>
              </a:custGeom>
              <a:solidFill>
                <a:srgbClr val="41AB5D">
                  <a:alpha val="100000"/>
                </a:srgbClr>
              </a:solidFill>
              <a:ln w="5400">
                <a:solidFill>
                  <a:srgbClr val="7F7F7F">
                    <a:alpha val="100000"/>
                  </a:srgbClr>
                </a:solidFill>
                <a:prstDash val="solid"/>
                <a:round/>
              </a:ln>
            </p:spPr>
            <p:txBody>
              <a:bodyPr/>
              <a:lstStyle/>
              <a:p/>
            </p:txBody>
          </p:sp>
          <p:sp>
            <p:nvSpPr>
              <p:cNvPr id="127" name="Polygon form 92"/>
              <p:cNvSpPr/>
              <p:nvPr/>
            </p:nvSpPr>
            <p:spPr>
              <a:xfrm>
                <a:off x="4193463" y="3000043"/>
                <a:ext cx="47768" cy="33955"/>
              </a:xfrm>
              <a:custGeom>
                <a:avLst/>
                <a:gdLst/>
                <a:ahLst/>
                <a:cxnLst/>
                <a:rect l="0" t="0" r="0" b="0"/>
                <a:pathLst>
                  <a:path w="47768" h="33955">
                    <a:moveTo>
                      <a:pt x="999" y="8695"/>
                    </a:moveTo>
                    <a:lnTo>
                      <a:pt x="15144" y="10431"/>
                    </a:lnTo>
                    <a:lnTo>
                      <a:pt x="23273" y="4868"/>
                    </a:lnTo>
                    <a:lnTo>
                      <a:pt x="38031" y="4110"/>
                    </a:lnTo>
                    <a:lnTo>
                      <a:pt x="40914" y="0"/>
                    </a:lnTo>
                    <a:lnTo>
                      <a:pt x="43780" y="235"/>
                    </a:lnTo>
                    <a:lnTo>
                      <a:pt x="47768" y="8347"/>
                    </a:lnTo>
                    <a:lnTo>
                      <a:pt x="34797" y="14908"/>
                    </a:lnTo>
                    <a:lnTo>
                      <a:pt x="33929" y="24676"/>
                    </a:lnTo>
                    <a:lnTo>
                      <a:pt x="28201" y="27209"/>
                    </a:lnTo>
                    <a:lnTo>
                      <a:pt x="28788" y="33955"/>
                    </a:lnTo>
                    <a:lnTo>
                      <a:pt x="22049" y="33554"/>
                    </a:lnTo>
                    <a:lnTo>
                      <a:pt x="15948" y="29671"/>
                    </a:lnTo>
                    <a:lnTo>
                      <a:pt x="13120" y="33775"/>
                    </a:lnTo>
                    <a:lnTo>
                      <a:pt x="1158" y="33062"/>
                    </a:lnTo>
                    <a:lnTo>
                      <a:pt x="4805" y="30838"/>
                    </a:lnTo>
                    <a:lnTo>
                      <a:pt x="0" y="20600"/>
                    </a:lnTo>
                    <a:lnTo>
                      <a:pt x="999" y="8695"/>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128" name="Polygon form 93"/>
              <p:cNvSpPr/>
              <p:nvPr/>
            </p:nvSpPr>
            <p:spPr>
              <a:xfrm>
                <a:off x="4127463" y="2462388"/>
                <a:ext cx="163722" cy="332874"/>
              </a:xfrm>
              <a:custGeom>
                <a:avLst/>
                <a:gdLst/>
                <a:ahLst/>
                <a:cxnLst/>
                <a:rect l="0" t="0" r="0" b="0"/>
                <a:pathLst>
                  <a:path w="163722" h="332874">
                    <a:moveTo>
                      <a:pt x="141201" y="81090"/>
                    </a:moveTo>
                    <a:lnTo>
                      <a:pt x="130626" y="98141"/>
                    </a:lnTo>
                    <a:lnTo>
                      <a:pt x="135320" y="112859"/>
                    </a:lnTo>
                    <a:lnTo>
                      <a:pt x="115843" y="132619"/>
                    </a:lnTo>
                    <a:lnTo>
                      <a:pt x="91094" y="153782"/>
                    </a:lnTo>
                    <a:lnTo>
                      <a:pt x="84923" y="187888"/>
                    </a:lnTo>
                    <a:lnTo>
                      <a:pt x="97608" y="204729"/>
                    </a:lnTo>
                    <a:lnTo>
                      <a:pt x="113603" y="217894"/>
                    </a:lnTo>
                    <a:lnTo>
                      <a:pt x="103335" y="245305"/>
                    </a:lnTo>
                    <a:lnTo>
                      <a:pt x="88270" y="251166"/>
                    </a:lnTo>
                    <a:lnTo>
                      <a:pt x="87027" y="291736"/>
                    </a:lnTo>
                    <a:lnTo>
                      <a:pt x="80633" y="314447"/>
                    </a:lnTo>
                    <a:lnTo>
                      <a:pt x="61492" y="312341"/>
                    </a:lnTo>
                    <a:lnTo>
                      <a:pt x="54427" y="331574"/>
                    </a:lnTo>
                    <a:lnTo>
                      <a:pt x="36334" y="332874"/>
                    </a:lnTo>
                    <a:lnTo>
                      <a:pt x="29467" y="310117"/>
                    </a:lnTo>
                    <a:lnTo>
                      <a:pt x="14284" y="282867"/>
                    </a:lnTo>
                    <a:lnTo>
                      <a:pt x="0" y="248854"/>
                    </a:lnTo>
                    <a:lnTo>
                      <a:pt x="5564" y="234894"/>
                    </a:lnTo>
                    <a:lnTo>
                      <a:pt x="16644" y="218239"/>
                    </a:lnTo>
                    <a:lnTo>
                      <a:pt x="18983" y="189834"/>
                    </a:lnTo>
                    <a:lnTo>
                      <a:pt x="8484" y="177705"/>
                    </a:lnTo>
                    <a:lnTo>
                      <a:pt x="4697" y="145686"/>
                    </a:lnTo>
                    <a:lnTo>
                      <a:pt x="11842" y="122974"/>
                    </a:lnTo>
                    <a:lnTo>
                      <a:pt x="25993" y="123235"/>
                    </a:lnTo>
                    <a:lnTo>
                      <a:pt x="29896" y="113623"/>
                    </a:lnTo>
                    <a:lnTo>
                      <a:pt x="23859" y="105445"/>
                    </a:lnTo>
                    <a:lnTo>
                      <a:pt x="41582" y="71271"/>
                    </a:lnTo>
                    <a:lnTo>
                      <a:pt x="51815" y="44373"/>
                    </a:lnTo>
                    <a:lnTo>
                      <a:pt x="58343" y="27107"/>
                    </a:lnTo>
                    <a:lnTo>
                      <a:pt x="71252" y="27005"/>
                    </a:lnTo>
                    <a:lnTo>
                      <a:pt x="72733" y="13537"/>
                    </a:lnTo>
                    <a:lnTo>
                      <a:pt x="98477" y="17004"/>
                    </a:lnTo>
                    <a:lnTo>
                      <a:pt x="97682" y="1127"/>
                    </a:lnTo>
                    <a:lnTo>
                      <a:pt x="105690" y="0"/>
                    </a:lnTo>
                    <a:lnTo>
                      <a:pt x="125519" y="11473"/>
                    </a:lnTo>
                    <a:lnTo>
                      <a:pt x="149565" y="27470"/>
                    </a:lnTo>
                    <a:lnTo>
                      <a:pt x="157249" y="64537"/>
                    </a:lnTo>
                    <a:lnTo>
                      <a:pt x="163722" y="73815"/>
                    </a:lnTo>
                    <a:lnTo>
                      <a:pt x="141201" y="8109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29" name="Polygon form 94"/>
              <p:cNvSpPr/>
              <p:nvPr/>
            </p:nvSpPr>
            <p:spPr>
              <a:xfrm>
                <a:off x="4538506" y="4754541"/>
                <a:ext cx="26110" cy="39408"/>
              </a:xfrm>
              <a:custGeom>
                <a:avLst/>
                <a:gdLst/>
                <a:ahLst/>
                <a:cxnLst/>
                <a:rect l="0" t="0" r="0" b="0"/>
                <a:pathLst>
                  <a:path w="26110" h="39408">
                    <a:moveTo>
                      <a:pt x="26110" y="26217"/>
                    </a:moveTo>
                    <a:lnTo>
                      <a:pt x="21305" y="36937"/>
                    </a:lnTo>
                    <a:lnTo>
                      <a:pt x="10070" y="39408"/>
                    </a:lnTo>
                    <a:lnTo>
                      <a:pt x="0" y="26120"/>
                    </a:lnTo>
                    <a:lnTo>
                      <a:pt x="541" y="17736"/>
                    </a:lnTo>
                    <a:lnTo>
                      <a:pt x="6462" y="8698"/>
                    </a:lnTo>
                    <a:lnTo>
                      <a:pt x="8839" y="1660"/>
                    </a:lnTo>
                    <a:lnTo>
                      <a:pt x="14447" y="0"/>
                    </a:lnTo>
                    <a:lnTo>
                      <a:pt x="23603" y="4562"/>
                    </a:lnTo>
                    <a:lnTo>
                      <a:pt x="25447" y="15475"/>
                    </a:lnTo>
                    <a:lnTo>
                      <a:pt x="26110" y="26217"/>
                    </a:lnTo>
                    <a:close/>
                  </a:path>
                </a:pathLst>
              </a:custGeom>
              <a:solidFill>
                <a:srgbClr val="A1D99B">
                  <a:alpha val="100000"/>
                </a:srgbClr>
              </a:solidFill>
              <a:ln w="5400">
                <a:solidFill>
                  <a:srgbClr val="7F7F7F">
                    <a:alpha val="100000"/>
                  </a:srgbClr>
                </a:solidFill>
                <a:prstDash val="solid"/>
                <a:round/>
              </a:ln>
            </p:spPr>
            <p:txBody>
              <a:bodyPr/>
              <a:lstStyle/>
              <a:p/>
            </p:txBody>
          </p:sp>
          <p:sp>
            <p:nvSpPr>
              <p:cNvPr id="130" name="Polygon form 95"/>
              <p:cNvSpPr/>
              <p:nvPr/>
            </p:nvSpPr>
            <p:spPr>
              <a:xfrm>
                <a:off x="4611795" y="3224579"/>
                <a:ext cx="109278" cy="121552"/>
              </a:xfrm>
              <a:custGeom>
                <a:avLst/>
                <a:gdLst/>
                <a:ahLst/>
                <a:cxnLst/>
                <a:rect l="0" t="0" r="0" b="0"/>
                <a:pathLst>
                  <a:path w="109278" h="121552">
                    <a:moveTo>
                      <a:pt x="59332" y="94983"/>
                    </a:moveTo>
                    <a:lnTo>
                      <a:pt x="26860" y="121552"/>
                    </a:lnTo>
                    <a:lnTo>
                      <a:pt x="5186" y="112309"/>
                    </a:lnTo>
                    <a:lnTo>
                      <a:pt x="4814" y="112149"/>
                    </a:lnTo>
                    <a:lnTo>
                      <a:pt x="6840" y="108413"/>
                    </a:lnTo>
                    <a:lnTo>
                      <a:pt x="5303" y="98487"/>
                    </a:lnTo>
                    <a:lnTo>
                      <a:pt x="8074" y="85119"/>
                    </a:lnTo>
                    <a:lnTo>
                      <a:pt x="16808" y="75785"/>
                    </a:lnTo>
                    <a:lnTo>
                      <a:pt x="12549" y="66327"/>
                    </a:lnTo>
                    <a:lnTo>
                      <a:pt x="4205" y="65248"/>
                    </a:lnTo>
                    <a:lnTo>
                      <a:pt x="0" y="46722"/>
                    </a:lnTo>
                    <a:lnTo>
                      <a:pt x="3049" y="36652"/>
                    </a:lnTo>
                    <a:lnTo>
                      <a:pt x="7138" y="31241"/>
                    </a:lnTo>
                    <a:lnTo>
                      <a:pt x="11212" y="25829"/>
                    </a:lnTo>
                    <a:lnTo>
                      <a:pt x="10226" y="12278"/>
                    </a:lnTo>
                    <a:lnTo>
                      <a:pt x="16800" y="16873"/>
                    </a:lnTo>
                    <a:lnTo>
                      <a:pt x="35579" y="9704"/>
                    </a:lnTo>
                    <a:lnTo>
                      <a:pt x="45837" y="14065"/>
                    </a:lnTo>
                    <a:lnTo>
                      <a:pt x="60610" y="13663"/>
                    </a:lnTo>
                    <a:lnTo>
                      <a:pt x="79805" y="4081"/>
                    </a:lnTo>
                    <a:lnTo>
                      <a:pt x="89533" y="4266"/>
                    </a:lnTo>
                    <a:lnTo>
                      <a:pt x="109278" y="0"/>
                    </a:lnTo>
                    <a:lnTo>
                      <a:pt x="102634" y="15382"/>
                    </a:lnTo>
                    <a:lnTo>
                      <a:pt x="93774" y="21614"/>
                    </a:lnTo>
                    <a:lnTo>
                      <a:pt x="98323" y="39323"/>
                    </a:lnTo>
                    <a:lnTo>
                      <a:pt x="96035" y="68853"/>
                    </a:lnTo>
                    <a:lnTo>
                      <a:pt x="59332" y="94983"/>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131" name="Polygon form 96"/>
              <p:cNvSpPr/>
              <p:nvPr/>
            </p:nvSpPr>
            <p:spPr>
              <a:xfrm>
                <a:off x="4224117" y="3566231"/>
                <a:ext cx="200489" cy="386291"/>
              </a:xfrm>
              <a:custGeom>
                <a:avLst/>
                <a:gdLst/>
                <a:ahLst/>
                <a:cxnLst/>
                <a:rect l="0" t="0" r="0" b="0"/>
                <a:pathLst>
                  <a:path w="200489" h="386291">
                    <a:moveTo>
                      <a:pt x="19352" y="254972"/>
                    </a:moveTo>
                    <a:lnTo>
                      <a:pt x="21083" y="243588"/>
                    </a:lnTo>
                    <a:lnTo>
                      <a:pt x="8554" y="243069"/>
                    </a:lnTo>
                    <a:lnTo>
                      <a:pt x="8293" y="227533"/>
                    </a:lnTo>
                    <a:lnTo>
                      <a:pt x="0" y="218611"/>
                    </a:lnTo>
                    <a:lnTo>
                      <a:pt x="7728" y="186770"/>
                    </a:lnTo>
                    <a:lnTo>
                      <a:pt x="31944" y="163903"/>
                    </a:lnTo>
                    <a:lnTo>
                      <a:pt x="32112" y="132479"/>
                    </a:lnTo>
                    <a:lnTo>
                      <a:pt x="38062" y="83424"/>
                    </a:lnTo>
                    <a:lnTo>
                      <a:pt x="41904" y="73004"/>
                    </a:lnTo>
                    <a:lnTo>
                      <a:pt x="33632" y="64763"/>
                    </a:lnTo>
                    <a:lnTo>
                      <a:pt x="33066" y="57082"/>
                    </a:lnTo>
                    <a:lnTo>
                      <a:pt x="25678" y="50835"/>
                    </a:lnTo>
                    <a:lnTo>
                      <a:pt x="19692" y="13313"/>
                    </a:lnTo>
                    <a:lnTo>
                      <a:pt x="38460" y="0"/>
                    </a:lnTo>
                    <a:lnTo>
                      <a:pt x="116605" y="45800"/>
                    </a:lnTo>
                    <a:lnTo>
                      <a:pt x="195378" y="91583"/>
                    </a:lnTo>
                    <a:lnTo>
                      <a:pt x="200489" y="187661"/>
                    </a:lnTo>
                    <a:lnTo>
                      <a:pt x="183667" y="186066"/>
                    </a:lnTo>
                    <a:lnTo>
                      <a:pt x="175425" y="203935"/>
                    </a:lnTo>
                    <a:lnTo>
                      <a:pt x="170779" y="218903"/>
                    </a:lnTo>
                    <a:lnTo>
                      <a:pt x="175027" y="224536"/>
                    </a:lnTo>
                    <a:lnTo>
                      <a:pt x="168854" y="231989"/>
                    </a:lnTo>
                    <a:lnTo>
                      <a:pt x="171375" y="242000"/>
                    </a:lnTo>
                    <a:lnTo>
                      <a:pt x="166620" y="252109"/>
                    </a:lnTo>
                    <a:lnTo>
                      <a:pt x="164906" y="261004"/>
                    </a:lnTo>
                    <a:lnTo>
                      <a:pt x="171730" y="259574"/>
                    </a:lnTo>
                    <a:lnTo>
                      <a:pt x="176094" y="268892"/>
                    </a:lnTo>
                    <a:lnTo>
                      <a:pt x="176698" y="282948"/>
                    </a:lnTo>
                    <a:lnTo>
                      <a:pt x="184083" y="290052"/>
                    </a:lnTo>
                    <a:lnTo>
                      <a:pt x="184001" y="295915"/>
                    </a:lnTo>
                    <a:lnTo>
                      <a:pt x="171706" y="300090"/>
                    </a:lnTo>
                    <a:lnTo>
                      <a:pt x="162002" y="309922"/>
                    </a:lnTo>
                    <a:lnTo>
                      <a:pt x="148398" y="336365"/>
                    </a:lnTo>
                    <a:lnTo>
                      <a:pt x="130135" y="347626"/>
                    </a:lnTo>
                    <a:lnTo>
                      <a:pt x="111142" y="346175"/>
                    </a:lnTo>
                    <a:lnTo>
                      <a:pt x="105642" y="348413"/>
                    </a:lnTo>
                    <a:lnTo>
                      <a:pt x="107732" y="356919"/>
                    </a:lnTo>
                    <a:lnTo>
                      <a:pt x="97620" y="365396"/>
                    </a:lnTo>
                    <a:lnTo>
                      <a:pt x="89413" y="374853"/>
                    </a:lnTo>
                    <a:lnTo>
                      <a:pt x="64778" y="384151"/>
                    </a:lnTo>
                    <a:lnTo>
                      <a:pt x="59794" y="378688"/>
                    </a:lnTo>
                    <a:lnTo>
                      <a:pt x="56531" y="378223"/>
                    </a:lnTo>
                    <a:lnTo>
                      <a:pt x="52983" y="384445"/>
                    </a:lnTo>
                    <a:lnTo>
                      <a:pt x="36741" y="386291"/>
                    </a:lnTo>
                    <a:lnTo>
                      <a:pt x="39744" y="379741"/>
                    </a:lnTo>
                    <a:lnTo>
                      <a:pt x="33338" y="363099"/>
                    </a:lnTo>
                    <a:lnTo>
                      <a:pt x="30438" y="353104"/>
                    </a:lnTo>
                    <a:lnTo>
                      <a:pt x="21828" y="349020"/>
                    </a:lnTo>
                    <a:lnTo>
                      <a:pt x="10049" y="334946"/>
                    </a:lnTo>
                    <a:lnTo>
                      <a:pt x="14152" y="323540"/>
                    </a:lnTo>
                    <a:lnTo>
                      <a:pt x="23128" y="325946"/>
                    </a:lnTo>
                    <a:lnTo>
                      <a:pt x="28638" y="324213"/>
                    </a:lnTo>
                    <a:lnTo>
                      <a:pt x="39598" y="324424"/>
                    </a:lnTo>
                    <a:lnTo>
                      <a:pt x="28571" y="302490"/>
                    </a:lnTo>
                    <a:lnTo>
                      <a:pt x="29013" y="286442"/>
                    </a:lnTo>
                    <a:lnTo>
                      <a:pt x="27415" y="270418"/>
                    </a:lnTo>
                    <a:lnTo>
                      <a:pt x="19352" y="254972"/>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132" name="Polygon form 97"/>
              <p:cNvSpPr/>
              <p:nvPr/>
            </p:nvSpPr>
            <p:spPr>
              <a:xfrm>
                <a:off x="3959283" y="3866018"/>
                <a:ext cx="37711" cy="122788"/>
              </a:xfrm>
              <a:custGeom>
                <a:avLst/>
                <a:gdLst/>
                <a:ahLst/>
                <a:cxnLst/>
                <a:rect l="0" t="0" r="0" b="0"/>
                <a:pathLst>
                  <a:path w="37711" h="122788">
                    <a:moveTo>
                      <a:pt x="37711" y="117639"/>
                    </a:moveTo>
                    <a:lnTo>
                      <a:pt x="21858" y="122788"/>
                    </a:lnTo>
                    <a:lnTo>
                      <a:pt x="17457" y="114317"/>
                    </a:lnTo>
                    <a:lnTo>
                      <a:pt x="12202" y="99013"/>
                    </a:lnTo>
                    <a:lnTo>
                      <a:pt x="10635" y="87014"/>
                    </a:lnTo>
                    <a:lnTo>
                      <a:pt x="14972" y="65285"/>
                    </a:lnTo>
                    <a:lnTo>
                      <a:pt x="10038" y="56486"/>
                    </a:lnTo>
                    <a:lnTo>
                      <a:pt x="8159" y="37481"/>
                    </a:lnTo>
                    <a:lnTo>
                      <a:pt x="8185" y="19962"/>
                    </a:lnTo>
                    <a:lnTo>
                      <a:pt x="0" y="7521"/>
                    </a:lnTo>
                    <a:lnTo>
                      <a:pt x="1442" y="0"/>
                    </a:lnTo>
                    <a:lnTo>
                      <a:pt x="18601" y="514"/>
                    </a:lnTo>
                    <a:lnTo>
                      <a:pt x="16119" y="13216"/>
                    </a:lnTo>
                    <a:lnTo>
                      <a:pt x="22116" y="20337"/>
                    </a:lnTo>
                    <a:lnTo>
                      <a:pt x="28939" y="28784"/>
                    </a:lnTo>
                    <a:lnTo>
                      <a:pt x="29701" y="40624"/>
                    </a:lnTo>
                    <a:lnTo>
                      <a:pt x="33664" y="45593"/>
                    </a:lnTo>
                    <a:lnTo>
                      <a:pt x="32843" y="100997"/>
                    </a:lnTo>
                    <a:lnTo>
                      <a:pt x="37711" y="117639"/>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133" name="Polygon form 98"/>
              <p:cNvSpPr/>
              <p:nvPr/>
            </p:nvSpPr>
            <p:spPr>
              <a:xfrm>
                <a:off x="5837459" y="3606278"/>
                <a:ext cx="174667" cy="378489"/>
              </a:xfrm>
              <a:custGeom>
                <a:avLst/>
                <a:gdLst/>
                <a:ahLst/>
                <a:cxnLst/>
                <a:rect l="0" t="0" r="0" b="0"/>
                <a:pathLst>
                  <a:path w="174667" h="378489">
                    <a:moveTo>
                      <a:pt x="126998" y="210234"/>
                    </a:moveTo>
                    <a:lnTo>
                      <a:pt x="107908" y="198801"/>
                    </a:lnTo>
                    <a:lnTo>
                      <a:pt x="91319" y="199679"/>
                    </a:lnTo>
                    <a:lnTo>
                      <a:pt x="91340" y="179377"/>
                    </a:lnTo>
                    <a:lnTo>
                      <a:pt x="74242" y="179957"/>
                    </a:lnTo>
                    <a:lnTo>
                      <a:pt x="76578" y="208288"/>
                    </a:lnTo>
                    <a:lnTo>
                      <a:pt x="70656" y="246096"/>
                    </a:lnTo>
                    <a:lnTo>
                      <a:pt x="66789" y="268942"/>
                    </a:lnTo>
                    <a:lnTo>
                      <a:pt x="70014" y="287542"/>
                    </a:lnTo>
                    <a:lnTo>
                      <a:pt x="82860" y="288133"/>
                    </a:lnTo>
                    <a:lnTo>
                      <a:pt x="93004" y="311523"/>
                    </a:lnTo>
                    <a:lnTo>
                      <a:pt x="98399" y="333791"/>
                    </a:lnTo>
                    <a:lnTo>
                      <a:pt x="110495" y="348423"/>
                    </a:lnTo>
                    <a:lnTo>
                      <a:pt x="122625" y="351272"/>
                    </a:lnTo>
                    <a:lnTo>
                      <a:pt x="133756" y="364563"/>
                    </a:lnTo>
                    <a:lnTo>
                      <a:pt x="128014" y="375260"/>
                    </a:lnTo>
                    <a:lnTo>
                      <a:pt x="115212" y="378489"/>
                    </a:lnTo>
                    <a:lnTo>
                      <a:pt x="112818" y="365244"/>
                    </a:lnTo>
                    <a:lnTo>
                      <a:pt x="95993" y="354135"/>
                    </a:lnTo>
                    <a:lnTo>
                      <a:pt x="92893" y="358776"/>
                    </a:lnTo>
                    <a:lnTo>
                      <a:pt x="84427" y="348981"/>
                    </a:lnTo>
                    <a:lnTo>
                      <a:pt x="80109" y="336265"/>
                    </a:lnTo>
                    <a:lnTo>
                      <a:pt x="68505" y="321876"/>
                    </a:lnTo>
                    <a:lnTo>
                      <a:pt x="57956" y="309815"/>
                    </a:lnTo>
                    <a:lnTo>
                      <a:pt x="56007" y="324978"/>
                    </a:lnTo>
                    <a:lnTo>
                      <a:pt x="51085" y="310751"/>
                    </a:lnTo>
                    <a:lnTo>
                      <a:pt x="51781" y="294680"/>
                    </a:lnTo>
                    <a:lnTo>
                      <a:pt x="55119" y="269930"/>
                    </a:lnTo>
                    <a:lnTo>
                      <a:pt x="61704" y="243332"/>
                    </a:lnTo>
                    <a:lnTo>
                      <a:pt x="69535" y="219133"/>
                    </a:lnTo>
                    <a:lnTo>
                      <a:pt x="58857" y="195860"/>
                    </a:lnTo>
                    <a:lnTo>
                      <a:pt x="57519" y="183917"/>
                    </a:lnTo>
                    <a:lnTo>
                      <a:pt x="53248" y="169634"/>
                    </a:lnTo>
                    <a:lnTo>
                      <a:pt x="37256" y="149579"/>
                    </a:lnTo>
                    <a:lnTo>
                      <a:pt x="30626" y="136841"/>
                    </a:lnTo>
                    <a:lnTo>
                      <a:pt x="36555" y="131920"/>
                    </a:lnTo>
                    <a:lnTo>
                      <a:pt x="39933" y="109427"/>
                    </a:lnTo>
                    <a:lnTo>
                      <a:pt x="29089" y="92749"/>
                    </a:lnTo>
                    <a:lnTo>
                      <a:pt x="13498" y="74437"/>
                    </a:lnTo>
                    <a:lnTo>
                      <a:pt x="0" y="52300"/>
                    </a:lnTo>
                    <a:lnTo>
                      <a:pt x="7191" y="47389"/>
                    </a:lnTo>
                    <a:lnTo>
                      <a:pt x="10351" y="19454"/>
                    </a:lnTo>
                    <a:lnTo>
                      <a:pt x="23592" y="17827"/>
                    </a:lnTo>
                    <a:lnTo>
                      <a:pt x="32365" y="6327"/>
                    </a:lnTo>
                    <a:lnTo>
                      <a:pt x="41986" y="0"/>
                    </a:lnTo>
                    <a:lnTo>
                      <a:pt x="51963" y="7595"/>
                    </a:lnTo>
                    <a:lnTo>
                      <a:pt x="56357" y="22956"/>
                    </a:lnTo>
                    <a:lnTo>
                      <a:pt x="69513" y="23660"/>
                    </a:lnTo>
                    <a:lnTo>
                      <a:pt x="70368" y="50871"/>
                    </a:lnTo>
                    <a:lnTo>
                      <a:pt x="75302" y="73877"/>
                    </a:lnTo>
                    <a:lnTo>
                      <a:pt x="92569" y="57862"/>
                    </a:lnTo>
                    <a:lnTo>
                      <a:pt x="99212" y="62200"/>
                    </a:lnTo>
                    <a:lnTo>
                      <a:pt x="110306" y="61068"/>
                    </a:lnTo>
                    <a:lnTo>
                      <a:pt x="112370" y="51975"/>
                    </a:lnTo>
                    <a:lnTo>
                      <a:pt x="127228" y="53230"/>
                    </a:lnTo>
                    <a:lnTo>
                      <a:pt x="146016" y="73668"/>
                    </a:lnTo>
                    <a:lnTo>
                      <a:pt x="152075" y="99120"/>
                    </a:lnTo>
                    <a:lnTo>
                      <a:pt x="171773" y="121161"/>
                    </a:lnTo>
                    <a:lnTo>
                      <a:pt x="174667" y="143099"/>
                    </a:lnTo>
                    <a:lnTo>
                      <a:pt x="170270" y="154952"/>
                    </a:lnTo>
                    <a:lnTo>
                      <a:pt x="151501" y="151754"/>
                    </a:lnTo>
                    <a:lnTo>
                      <a:pt x="127214" y="157389"/>
                    </a:lnTo>
                    <a:lnTo>
                      <a:pt x="118030" y="179175"/>
                    </a:lnTo>
                    <a:lnTo>
                      <a:pt x="126998" y="210234"/>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34" name="Polygon form 99"/>
              <p:cNvSpPr/>
              <p:nvPr/>
            </p:nvSpPr>
            <p:spPr>
              <a:xfrm>
                <a:off x="5155503" y="3116070"/>
                <a:ext cx="145510" cy="102857"/>
              </a:xfrm>
              <a:custGeom>
                <a:avLst/>
                <a:gdLst/>
                <a:ahLst/>
                <a:cxnLst/>
                <a:rect l="0" t="0" r="0" b="0"/>
                <a:pathLst>
                  <a:path w="145510" h="102857">
                    <a:moveTo>
                      <a:pt x="54186" y="17287"/>
                    </a:moveTo>
                    <a:lnTo>
                      <a:pt x="50194" y="25158"/>
                    </a:lnTo>
                    <a:lnTo>
                      <a:pt x="29946" y="21908"/>
                    </a:lnTo>
                    <a:lnTo>
                      <a:pt x="32624" y="36131"/>
                    </a:lnTo>
                    <a:lnTo>
                      <a:pt x="50998" y="33378"/>
                    </a:lnTo>
                    <a:lnTo>
                      <a:pt x="75082" y="40372"/>
                    </a:lnTo>
                    <a:lnTo>
                      <a:pt x="106956" y="35097"/>
                    </a:lnTo>
                    <a:lnTo>
                      <a:pt x="118641" y="57665"/>
                    </a:lnTo>
                    <a:lnTo>
                      <a:pt x="123632" y="54915"/>
                    </a:lnTo>
                    <a:lnTo>
                      <a:pt x="136078" y="60021"/>
                    </a:lnTo>
                    <a:lnTo>
                      <a:pt x="138488" y="69632"/>
                    </a:lnTo>
                    <a:lnTo>
                      <a:pt x="145510" y="83563"/>
                    </a:lnTo>
                    <a:lnTo>
                      <a:pt x="127256" y="84362"/>
                    </a:lnTo>
                    <a:lnTo>
                      <a:pt x="114522" y="83097"/>
                    </a:lnTo>
                    <a:lnTo>
                      <a:pt x="106778" y="94620"/>
                    </a:lnTo>
                    <a:lnTo>
                      <a:pt x="99618" y="97412"/>
                    </a:lnTo>
                    <a:lnTo>
                      <a:pt x="94933" y="102857"/>
                    </a:lnTo>
                    <a:lnTo>
                      <a:pt x="85559" y="95097"/>
                    </a:lnTo>
                    <a:lnTo>
                      <a:pt x="81120" y="74347"/>
                    </a:lnTo>
                    <a:lnTo>
                      <a:pt x="75430" y="73415"/>
                    </a:lnTo>
                    <a:lnTo>
                      <a:pt x="75099" y="65812"/>
                    </a:lnTo>
                    <a:lnTo>
                      <a:pt x="63886" y="60644"/>
                    </a:lnTo>
                    <a:lnTo>
                      <a:pt x="58848" y="69530"/>
                    </a:lnTo>
                    <a:lnTo>
                      <a:pt x="59889" y="79526"/>
                    </a:lnTo>
                    <a:lnTo>
                      <a:pt x="58214" y="83257"/>
                    </a:lnTo>
                    <a:lnTo>
                      <a:pt x="47482" y="83198"/>
                    </a:lnTo>
                    <a:lnTo>
                      <a:pt x="44964" y="94696"/>
                    </a:lnTo>
                    <a:lnTo>
                      <a:pt x="37647" y="90196"/>
                    </a:lnTo>
                    <a:lnTo>
                      <a:pt x="26994" y="98623"/>
                    </a:lnTo>
                    <a:lnTo>
                      <a:pt x="20735" y="95850"/>
                    </a:lnTo>
                    <a:lnTo>
                      <a:pt x="23694" y="70576"/>
                    </a:lnTo>
                    <a:lnTo>
                      <a:pt x="14596" y="52459"/>
                    </a:lnTo>
                    <a:lnTo>
                      <a:pt x="0" y="47155"/>
                    </a:lnTo>
                    <a:lnTo>
                      <a:pt x="1374" y="36161"/>
                    </a:lnTo>
                    <a:lnTo>
                      <a:pt x="16329" y="36680"/>
                    </a:lnTo>
                    <a:lnTo>
                      <a:pt x="20524" y="22754"/>
                    </a:lnTo>
                    <a:lnTo>
                      <a:pt x="21177" y="6768"/>
                    </a:lnTo>
                    <a:lnTo>
                      <a:pt x="42544" y="0"/>
                    </a:lnTo>
                    <a:lnTo>
                      <a:pt x="42560" y="11545"/>
                    </a:lnTo>
                    <a:lnTo>
                      <a:pt x="47204" y="18253"/>
                    </a:lnTo>
                    <a:lnTo>
                      <a:pt x="54186" y="17287"/>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135" name="Polygon form 100"/>
              <p:cNvSpPr/>
              <p:nvPr/>
            </p:nvSpPr>
            <p:spPr>
              <a:xfrm>
                <a:off x="4877415" y="3081187"/>
                <a:ext cx="274062" cy="180551"/>
              </a:xfrm>
              <a:custGeom>
                <a:avLst/>
                <a:gdLst/>
                <a:ahLst/>
                <a:cxnLst/>
                <a:rect l="0" t="0" r="0" b="0"/>
                <a:pathLst>
                  <a:path w="274062" h="180551">
                    <a:moveTo>
                      <a:pt x="189930" y="171895"/>
                    </a:moveTo>
                    <a:lnTo>
                      <a:pt x="183408" y="151333"/>
                    </a:lnTo>
                    <a:lnTo>
                      <a:pt x="169864" y="150929"/>
                    </a:lnTo>
                    <a:lnTo>
                      <a:pt x="144247" y="129975"/>
                    </a:lnTo>
                    <a:lnTo>
                      <a:pt x="129391" y="127799"/>
                    </a:lnTo>
                    <a:lnTo>
                      <a:pt x="106784" y="116090"/>
                    </a:lnTo>
                    <a:lnTo>
                      <a:pt x="93633" y="114271"/>
                    </a:lnTo>
                    <a:lnTo>
                      <a:pt x="86905" y="119084"/>
                    </a:lnTo>
                    <a:lnTo>
                      <a:pt x="74861" y="118773"/>
                    </a:lnTo>
                    <a:lnTo>
                      <a:pt x="65366" y="133143"/>
                    </a:lnTo>
                    <a:lnTo>
                      <a:pt x="50731" y="138367"/>
                    </a:lnTo>
                    <a:lnTo>
                      <a:pt x="43615" y="121217"/>
                    </a:lnTo>
                    <a:lnTo>
                      <a:pt x="40429" y="95622"/>
                    </a:lnTo>
                    <a:lnTo>
                      <a:pt x="24771" y="87821"/>
                    </a:lnTo>
                    <a:lnTo>
                      <a:pt x="25429" y="70985"/>
                    </a:lnTo>
                    <a:lnTo>
                      <a:pt x="13442" y="69949"/>
                    </a:lnTo>
                    <a:lnTo>
                      <a:pt x="12492" y="49288"/>
                    </a:lnTo>
                    <a:lnTo>
                      <a:pt x="30398" y="54711"/>
                    </a:lnTo>
                    <a:lnTo>
                      <a:pt x="43838" y="46384"/>
                    </a:lnTo>
                    <a:lnTo>
                      <a:pt x="27537" y="32204"/>
                    </a:lnTo>
                    <a:lnTo>
                      <a:pt x="19096" y="18450"/>
                    </a:lnTo>
                    <a:lnTo>
                      <a:pt x="6686" y="25144"/>
                    </a:lnTo>
                    <a:lnTo>
                      <a:pt x="9232" y="43044"/>
                    </a:lnTo>
                    <a:lnTo>
                      <a:pt x="0" y="27453"/>
                    </a:lnTo>
                    <a:lnTo>
                      <a:pt x="5679" y="19093"/>
                    </a:lnTo>
                    <a:lnTo>
                      <a:pt x="24050" y="13340"/>
                    </a:lnTo>
                    <a:lnTo>
                      <a:pt x="37476" y="19745"/>
                    </a:lnTo>
                    <a:lnTo>
                      <a:pt x="54472" y="38415"/>
                    </a:lnTo>
                    <a:lnTo>
                      <a:pt x="63092" y="36906"/>
                    </a:lnTo>
                    <a:lnTo>
                      <a:pt x="82620" y="35856"/>
                    </a:lnTo>
                    <a:lnTo>
                      <a:pt x="76551" y="23680"/>
                    </a:lnTo>
                    <a:lnTo>
                      <a:pt x="89087" y="14725"/>
                    </a:lnTo>
                    <a:lnTo>
                      <a:pt x="99721" y="0"/>
                    </a:lnTo>
                    <a:lnTo>
                      <a:pt x="126540" y="11973"/>
                    </a:lnTo>
                    <a:lnTo>
                      <a:pt x="133811" y="31375"/>
                    </a:lnTo>
                    <a:lnTo>
                      <a:pt x="141831" y="36115"/>
                    </a:lnTo>
                    <a:lnTo>
                      <a:pt x="160289" y="34246"/>
                    </a:lnTo>
                    <a:lnTo>
                      <a:pt x="167362" y="38446"/>
                    </a:lnTo>
                    <a:lnTo>
                      <a:pt x="182949" y="63307"/>
                    </a:lnTo>
                    <a:lnTo>
                      <a:pt x="207647" y="79409"/>
                    </a:lnTo>
                    <a:lnTo>
                      <a:pt x="222283" y="90481"/>
                    </a:lnTo>
                    <a:lnTo>
                      <a:pt x="244017" y="101743"/>
                    </a:lnTo>
                    <a:lnTo>
                      <a:pt x="270423" y="111289"/>
                    </a:lnTo>
                    <a:lnTo>
                      <a:pt x="274062" y="126327"/>
                    </a:lnTo>
                    <a:lnTo>
                      <a:pt x="268506" y="125780"/>
                    </a:lnTo>
                    <a:lnTo>
                      <a:pt x="258356" y="119553"/>
                    </a:lnTo>
                    <a:lnTo>
                      <a:pt x="257930" y="128397"/>
                    </a:lnTo>
                    <a:lnTo>
                      <a:pt x="244201" y="133727"/>
                    </a:lnTo>
                    <a:lnTo>
                      <a:pt x="245725" y="153485"/>
                    </a:lnTo>
                    <a:lnTo>
                      <a:pt x="237528" y="161326"/>
                    </a:lnTo>
                    <a:lnTo>
                      <a:pt x="224298" y="165546"/>
                    </a:lnTo>
                    <a:lnTo>
                      <a:pt x="223264" y="176797"/>
                    </a:lnTo>
                    <a:lnTo>
                      <a:pt x="210483" y="180551"/>
                    </a:lnTo>
                    <a:lnTo>
                      <a:pt x="189930" y="171895"/>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136" name="Polygon form 101"/>
              <p:cNvSpPr/>
              <p:nvPr/>
            </p:nvSpPr>
            <p:spPr>
              <a:xfrm>
                <a:off x="6412863" y="4355025"/>
                <a:ext cx="47955" cy="29252"/>
              </a:xfrm>
              <a:custGeom>
                <a:avLst/>
                <a:gdLst/>
                <a:ahLst/>
                <a:cxnLst/>
                <a:rect l="0" t="0" r="0" b="0"/>
                <a:pathLst>
                  <a:path w="47955" h="29252">
                    <a:moveTo>
                      <a:pt x="0" y="15773"/>
                    </a:moveTo>
                    <a:lnTo>
                      <a:pt x="3058" y="9496"/>
                    </a:lnTo>
                    <a:lnTo>
                      <a:pt x="20629" y="3835"/>
                    </a:lnTo>
                    <a:lnTo>
                      <a:pt x="34406" y="3228"/>
                    </a:lnTo>
                    <a:lnTo>
                      <a:pt x="40919" y="0"/>
                    </a:lnTo>
                    <a:lnTo>
                      <a:pt x="47955" y="3505"/>
                    </a:lnTo>
                    <a:lnTo>
                      <a:pt x="39882" y="10641"/>
                    </a:lnTo>
                    <a:lnTo>
                      <a:pt x="18036" y="21938"/>
                    </a:lnTo>
                    <a:lnTo>
                      <a:pt x="676" y="29252"/>
                    </a:lnTo>
                    <a:lnTo>
                      <a:pt x="1337" y="21110"/>
                    </a:lnTo>
                    <a:lnTo>
                      <a:pt x="0" y="15773"/>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137" name="Polygon form 102"/>
              <p:cNvSpPr/>
              <p:nvPr/>
            </p:nvSpPr>
            <p:spPr>
              <a:xfrm>
                <a:off x="4347056" y="3061819"/>
                <a:ext cx="106923" cy="71840"/>
              </a:xfrm>
              <a:custGeom>
                <a:avLst/>
                <a:gdLst/>
                <a:ahLst/>
                <a:cxnLst/>
                <a:rect l="0" t="0" r="0" b="0"/>
                <a:pathLst>
                  <a:path w="106923" h="71840">
                    <a:moveTo>
                      <a:pt x="3647" y="0"/>
                    </a:moveTo>
                    <a:lnTo>
                      <a:pt x="9707" y="9859"/>
                    </a:lnTo>
                    <a:lnTo>
                      <a:pt x="16194" y="7990"/>
                    </a:lnTo>
                    <a:lnTo>
                      <a:pt x="29886" y="11554"/>
                    </a:lnTo>
                    <a:lnTo>
                      <a:pt x="55395" y="12416"/>
                    </a:lnTo>
                    <a:lnTo>
                      <a:pt x="63179" y="6108"/>
                    </a:lnTo>
                    <a:lnTo>
                      <a:pt x="82720" y="134"/>
                    </a:lnTo>
                    <a:lnTo>
                      <a:pt x="96434" y="8697"/>
                    </a:lnTo>
                    <a:lnTo>
                      <a:pt x="106923" y="11049"/>
                    </a:lnTo>
                    <a:lnTo>
                      <a:pt x="99317" y="21232"/>
                    </a:lnTo>
                    <a:lnTo>
                      <a:pt x="95260" y="38641"/>
                    </a:lnTo>
                    <a:lnTo>
                      <a:pt x="102668" y="52340"/>
                    </a:lnTo>
                    <a:lnTo>
                      <a:pt x="87234" y="49357"/>
                    </a:lnTo>
                    <a:lnTo>
                      <a:pt x="70382" y="57261"/>
                    </a:lnTo>
                    <a:lnTo>
                      <a:pt x="71623" y="69305"/>
                    </a:lnTo>
                    <a:lnTo>
                      <a:pt x="55944" y="71840"/>
                    </a:lnTo>
                    <a:lnTo>
                      <a:pt x="42643" y="63584"/>
                    </a:lnTo>
                    <a:lnTo>
                      <a:pt x="29338" y="70436"/>
                    </a:lnTo>
                    <a:lnTo>
                      <a:pt x="16288" y="69924"/>
                    </a:lnTo>
                    <a:lnTo>
                      <a:pt x="13374" y="53961"/>
                    </a:lnTo>
                    <a:lnTo>
                      <a:pt x="3822" y="46329"/>
                    </a:lnTo>
                    <a:lnTo>
                      <a:pt x="6332" y="42879"/>
                    </a:lnTo>
                    <a:lnTo>
                      <a:pt x="4142" y="40032"/>
                    </a:lnTo>
                    <a:lnTo>
                      <a:pt x="6253" y="32302"/>
                    </a:lnTo>
                    <a:lnTo>
                      <a:pt x="12051" y="24651"/>
                    </a:lnTo>
                    <a:lnTo>
                      <a:pt x="2507" y="14345"/>
                    </a:lnTo>
                    <a:lnTo>
                      <a:pt x="0" y="5543"/>
                    </a:lnTo>
                    <a:lnTo>
                      <a:pt x="3647" y="0"/>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138" name="Polygon form 103"/>
              <p:cNvSpPr/>
              <p:nvPr/>
            </p:nvSpPr>
            <p:spPr>
              <a:xfrm>
                <a:off x="2745351" y="3862750"/>
                <a:ext cx="21926" cy="21849"/>
              </a:xfrm>
              <a:custGeom>
                <a:avLst/>
                <a:gdLst/>
                <a:ahLst/>
                <a:cxnLst/>
                <a:rect l="0" t="0" r="0" b="0"/>
                <a:pathLst>
                  <a:path w="21926" h="21849">
                    <a:moveTo>
                      <a:pt x="6394" y="3088"/>
                    </a:moveTo>
                    <a:lnTo>
                      <a:pt x="17873" y="0"/>
                    </a:lnTo>
                    <a:lnTo>
                      <a:pt x="21926" y="909"/>
                    </a:lnTo>
                    <a:lnTo>
                      <a:pt x="19926" y="19299"/>
                    </a:lnTo>
                    <a:lnTo>
                      <a:pt x="3385" y="21849"/>
                    </a:lnTo>
                    <a:lnTo>
                      <a:pt x="0" y="19588"/>
                    </a:lnTo>
                    <a:lnTo>
                      <a:pt x="6128" y="12852"/>
                    </a:lnTo>
                    <a:lnTo>
                      <a:pt x="6394" y="3088"/>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139" name="Polygon form 104"/>
              <p:cNvSpPr/>
              <p:nvPr/>
            </p:nvSpPr>
            <p:spPr>
              <a:xfrm>
                <a:off x="4097818" y="3230340"/>
                <a:ext cx="73416" cy="169963"/>
              </a:xfrm>
              <a:custGeom>
                <a:avLst/>
                <a:gdLst/>
                <a:ahLst/>
                <a:cxnLst/>
                <a:rect l="0" t="0" r="0" b="0"/>
                <a:pathLst>
                  <a:path w="73416" h="169963">
                    <a:moveTo>
                      <a:pt x="38747" y="169963"/>
                    </a:moveTo>
                    <a:lnTo>
                      <a:pt x="29522" y="126674"/>
                    </a:lnTo>
                    <a:lnTo>
                      <a:pt x="17867" y="116983"/>
                    </a:lnTo>
                    <a:lnTo>
                      <a:pt x="17537" y="111143"/>
                    </a:lnTo>
                    <a:lnTo>
                      <a:pt x="2108" y="96826"/>
                    </a:lnTo>
                    <a:lnTo>
                      <a:pt x="0" y="78656"/>
                    </a:lnTo>
                    <a:lnTo>
                      <a:pt x="10868" y="65151"/>
                    </a:lnTo>
                    <a:lnTo>
                      <a:pt x="14534" y="45230"/>
                    </a:lnTo>
                    <a:lnTo>
                      <a:pt x="10926" y="22239"/>
                    </a:lnTo>
                    <a:lnTo>
                      <a:pt x="14185" y="9837"/>
                    </a:lnTo>
                    <a:lnTo>
                      <a:pt x="33436" y="0"/>
                    </a:lnTo>
                    <a:lnTo>
                      <a:pt x="46139" y="2826"/>
                    </a:lnTo>
                    <a:lnTo>
                      <a:pt x="46106" y="15040"/>
                    </a:lnTo>
                    <a:lnTo>
                      <a:pt x="61016" y="6067"/>
                    </a:lnTo>
                    <a:lnTo>
                      <a:pt x="62502" y="10696"/>
                    </a:lnTo>
                    <a:lnTo>
                      <a:pt x="53985" y="22576"/>
                    </a:lnTo>
                    <a:lnTo>
                      <a:pt x="54323" y="33741"/>
                    </a:lnTo>
                    <a:lnTo>
                      <a:pt x="60845" y="39702"/>
                    </a:lnTo>
                    <a:lnTo>
                      <a:pt x="59310" y="60605"/>
                    </a:lnTo>
                    <a:lnTo>
                      <a:pt x="47776" y="72804"/>
                    </a:lnTo>
                    <a:lnTo>
                      <a:pt x="51740" y="85940"/>
                    </a:lnTo>
                    <a:lnTo>
                      <a:pt x="61223" y="86300"/>
                    </a:lnTo>
                    <a:lnTo>
                      <a:pt x="66285" y="97749"/>
                    </a:lnTo>
                    <a:lnTo>
                      <a:pt x="73416" y="101483"/>
                    </a:lnTo>
                    <a:lnTo>
                      <a:pt x="73115" y="120030"/>
                    </a:lnTo>
                    <a:lnTo>
                      <a:pt x="64393" y="127008"/>
                    </a:lnTo>
                    <a:lnTo>
                      <a:pt x="58991" y="134772"/>
                    </a:lnTo>
                    <a:lnTo>
                      <a:pt x="46613" y="144135"/>
                    </a:lnTo>
                    <a:lnTo>
                      <a:pt x="48913" y="154124"/>
                    </a:lnTo>
                    <a:lnTo>
                      <a:pt x="47638" y="164329"/>
                    </a:lnTo>
                    <a:lnTo>
                      <a:pt x="38747" y="169963"/>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140" name="Polygon form 105"/>
              <p:cNvSpPr/>
              <p:nvPr/>
            </p:nvSpPr>
            <p:spPr>
              <a:xfrm>
                <a:off x="4425013" y="3110869"/>
                <a:ext cx="339699" cy="150362"/>
              </a:xfrm>
              <a:custGeom>
                <a:avLst/>
                <a:gdLst/>
                <a:ahLst/>
                <a:cxnLst/>
                <a:rect l="0" t="0" r="0" b="0"/>
                <a:pathLst>
                  <a:path w="339699" h="150362">
                    <a:moveTo>
                      <a:pt x="182926" y="16385"/>
                    </a:moveTo>
                    <a:lnTo>
                      <a:pt x="209640" y="25169"/>
                    </a:lnTo>
                    <a:lnTo>
                      <a:pt x="229394" y="20935"/>
                    </a:lnTo>
                    <a:lnTo>
                      <a:pt x="244856" y="22720"/>
                    </a:lnTo>
                    <a:lnTo>
                      <a:pt x="263145" y="9525"/>
                    </a:lnTo>
                    <a:lnTo>
                      <a:pt x="281509" y="7876"/>
                    </a:lnTo>
                    <a:lnTo>
                      <a:pt x="300664" y="19337"/>
                    </a:lnTo>
                    <a:lnTo>
                      <a:pt x="305316" y="27802"/>
                    </a:lnTo>
                    <a:lnTo>
                      <a:pt x="305919" y="39665"/>
                    </a:lnTo>
                    <a:lnTo>
                      <a:pt x="320170" y="45348"/>
                    </a:lnTo>
                    <a:lnTo>
                      <a:pt x="328491" y="52252"/>
                    </a:lnTo>
                    <a:lnTo>
                      <a:pt x="317734" y="59501"/>
                    </a:lnTo>
                    <a:lnTo>
                      <a:pt x="328495" y="87223"/>
                    </a:lnTo>
                    <a:lnTo>
                      <a:pt x="326394" y="94842"/>
                    </a:lnTo>
                    <a:lnTo>
                      <a:pt x="339699" y="114067"/>
                    </a:lnTo>
                    <a:lnTo>
                      <a:pt x="331850" y="118394"/>
                    </a:lnTo>
                    <a:lnTo>
                      <a:pt x="324461" y="112361"/>
                    </a:lnTo>
                    <a:lnTo>
                      <a:pt x="303098" y="109746"/>
                    </a:lnTo>
                    <a:lnTo>
                      <a:pt x="296060" y="113710"/>
                    </a:lnTo>
                    <a:lnTo>
                      <a:pt x="276315" y="117976"/>
                    </a:lnTo>
                    <a:lnTo>
                      <a:pt x="266587" y="117791"/>
                    </a:lnTo>
                    <a:lnTo>
                      <a:pt x="247393" y="127372"/>
                    </a:lnTo>
                    <a:lnTo>
                      <a:pt x="232620" y="127775"/>
                    </a:lnTo>
                    <a:lnTo>
                      <a:pt x="222361" y="123414"/>
                    </a:lnTo>
                    <a:lnTo>
                      <a:pt x="203583" y="130583"/>
                    </a:lnTo>
                    <a:lnTo>
                      <a:pt x="197008" y="125988"/>
                    </a:lnTo>
                    <a:lnTo>
                      <a:pt x="197994" y="139539"/>
                    </a:lnTo>
                    <a:lnTo>
                      <a:pt x="193920" y="144951"/>
                    </a:lnTo>
                    <a:lnTo>
                      <a:pt x="189831" y="150362"/>
                    </a:lnTo>
                    <a:lnTo>
                      <a:pt x="181659" y="139496"/>
                    </a:lnTo>
                    <a:lnTo>
                      <a:pt x="187190" y="130250"/>
                    </a:lnTo>
                    <a:lnTo>
                      <a:pt x="176509" y="132536"/>
                    </a:lnTo>
                    <a:lnTo>
                      <a:pt x="160687" y="127254"/>
                    </a:lnTo>
                    <a:lnTo>
                      <a:pt x="150192" y="141444"/>
                    </a:lnTo>
                    <a:lnTo>
                      <a:pt x="123158" y="144672"/>
                    </a:lnTo>
                    <a:lnTo>
                      <a:pt x="106927" y="131930"/>
                    </a:lnTo>
                    <a:lnTo>
                      <a:pt x="87420" y="131455"/>
                    </a:lnTo>
                    <a:lnTo>
                      <a:pt x="84470" y="141572"/>
                    </a:lnTo>
                    <a:lnTo>
                      <a:pt x="72331" y="144651"/>
                    </a:lnTo>
                    <a:lnTo>
                      <a:pt x="53415" y="132043"/>
                    </a:lnTo>
                    <a:lnTo>
                      <a:pt x="33801" y="132788"/>
                    </a:lnTo>
                    <a:lnTo>
                      <a:pt x="20520" y="108888"/>
                    </a:lnTo>
                    <a:lnTo>
                      <a:pt x="5981" y="95668"/>
                    </a:lnTo>
                    <a:lnTo>
                      <a:pt x="12562" y="76724"/>
                    </a:lnTo>
                    <a:lnTo>
                      <a:pt x="0" y="65343"/>
                    </a:lnTo>
                    <a:lnTo>
                      <a:pt x="16924" y="41897"/>
                    </a:lnTo>
                    <a:lnTo>
                      <a:pt x="43946" y="40466"/>
                    </a:lnTo>
                    <a:lnTo>
                      <a:pt x="48947" y="21947"/>
                    </a:lnTo>
                    <a:lnTo>
                      <a:pt x="82812" y="24525"/>
                    </a:lnTo>
                    <a:lnTo>
                      <a:pt x="101593" y="8408"/>
                    </a:lnTo>
                    <a:lnTo>
                      <a:pt x="120889" y="1142"/>
                    </a:lnTo>
                    <a:lnTo>
                      <a:pt x="149638" y="0"/>
                    </a:lnTo>
                    <a:lnTo>
                      <a:pt x="182926" y="16385"/>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41" name="Polygon form 106"/>
              <p:cNvSpPr/>
              <p:nvPr/>
            </p:nvSpPr>
            <p:spPr>
              <a:xfrm>
                <a:off x="4417437" y="3111176"/>
                <a:ext cx="51858" cy="48336"/>
              </a:xfrm>
              <a:custGeom>
                <a:avLst/>
                <a:gdLst/>
                <a:ahLst/>
                <a:cxnLst/>
                <a:rect l="0" t="0" r="0" b="0"/>
                <a:pathLst>
                  <a:path w="51858" h="48336">
                    <a:moveTo>
                      <a:pt x="22167" y="35071"/>
                    </a:moveTo>
                    <a:lnTo>
                      <a:pt x="8995" y="48336"/>
                    </a:lnTo>
                    <a:lnTo>
                      <a:pt x="2145" y="37161"/>
                    </a:lnTo>
                    <a:lnTo>
                      <a:pt x="1807" y="32167"/>
                    </a:lnTo>
                    <a:lnTo>
                      <a:pt x="5668" y="29388"/>
                    </a:lnTo>
                    <a:lnTo>
                      <a:pt x="9293" y="14166"/>
                    </a:lnTo>
                    <a:lnTo>
                      <a:pt x="0" y="7904"/>
                    </a:lnTo>
                    <a:lnTo>
                      <a:pt x="16853" y="0"/>
                    </a:lnTo>
                    <a:lnTo>
                      <a:pt x="32286" y="2983"/>
                    </a:lnTo>
                    <a:lnTo>
                      <a:pt x="35559" y="12245"/>
                    </a:lnTo>
                    <a:lnTo>
                      <a:pt x="51858" y="19786"/>
                    </a:lnTo>
                    <a:lnTo>
                      <a:pt x="49437" y="25769"/>
                    </a:lnTo>
                    <a:lnTo>
                      <a:pt x="28754" y="27466"/>
                    </a:lnTo>
                    <a:lnTo>
                      <a:pt x="22167" y="35071"/>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42" name="Polygon form 107"/>
              <p:cNvSpPr/>
              <p:nvPr/>
            </p:nvSpPr>
            <p:spPr>
              <a:xfrm>
                <a:off x="6235203" y="3460292"/>
                <a:ext cx="26203" cy="88083"/>
              </a:xfrm>
              <a:custGeom>
                <a:avLst/>
                <a:gdLst/>
                <a:ahLst/>
                <a:cxnLst/>
                <a:rect l="0" t="0" r="0" b="0"/>
                <a:pathLst>
                  <a:path w="26203" h="88083">
                    <a:moveTo>
                      <a:pt x="24102" y="23313"/>
                    </a:moveTo>
                    <a:lnTo>
                      <a:pt x="26203" y="66078"/>
                    </a:lnTo>
                    <a:lnTo>
                      <a:pt x="24592" y="88083"/>
                    </a:lnTo>
                    <a:lnTo>
                      <a:pt x="8105" y="66436"/>
                    </a:lnTo>
                    <a:lnTo>
                      <a:pt x="0" y="47106"/>
                    </a:lnTo>
                    <a:lnTo>
                      <a:pt x="2730" y="20730"/>
                    </a:lnTo>
                    <a:lnTo>
                      <a:pt x="10944" y="0"/>
                    </a:lnTo>
                    <a:lnTo>
                      <a:pt x="22042" y="7288"/>
                    </a:lnTo>
                    <a:lnTo>
                      <a:pt x="24102" y="23313"/>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43" name="Polygon form 108"/>
              <p:cNvSpPr/>
              <p:nvPr/>
            </p:nvSpPr>
            <p:spPr>
              <a:xfrm>
                <a:off x="4538728" y="4154922"/>
                <a:ext cx="212069" cy="262065"/>
              </a:xfrm>
              <a:custGeom>
                <a:avLst/>
                <a:gdLst/>
                <a:ahLst/>
                <a:cxnLst/>
                <a:rect l="0" t="0" r="0" b="0"/>
                <a:pathLst>
                  <a:path w="212069" h="262065">
                    <a:moveTo>
                      <a:pt x="90789" y="0"/>
                    </a:moveTo>
                    <a:lnTo>
                      <a:pt x="94114" y="2671"/>
                    </a:lnTo>
                    <a:lnTo>
                      <a:pt x="165295" y="52307"/>
                    </a:lnTo>
                    <a:lnTo>
                      <a:pt x="166456" y="66433"/>
                    </a:lnTo>
                    <a:lnTo>
                      <a:pt x="194358" y="90850"/>
                    </a:lnTo>
                    <a:lnTo>
                      <a:pt x="184628" y="120834"/>
                    </a:lnTo>
                    <a:lnTo>
                      <a:pt x="185455" y="134641"/>
                    </a:lnTo>
                    <a:lnTo>
                      <a:pt x="197821" y="143568"/>
                    </a:lnTo>
                    <a:lnTo>
                      <a:pt x="198233" y="149905"/>
                    </a:lnTo>
                    <a:lnTo>
                      <a:pt x="192379" y="164592"/>
                    </a:lnTo>
                    <a:lnTo>
                      <a:pt x="193273" y="172000"/>
                    </a:lnTo>
                    <a:lnTo>
                      <a:pt x="191600" y="183630"/>
                    </a:lnTo>
                    <a:lnTo>
                      <a:pt x="197917" y="198938"/>
                    </a:lnTo>
                    <a:lnTo>
                      <a:pt x="205098" y="223011"/>
                    </a:lnTo>
                    <a:lnTo>
                      <a:pt x="212069" y="228387"/>
                    </a:lnTo>
                    <a:lnTo>
                      <a:pt x="195865" y="242408"/>
                    </a:lnTo>
                    <a:lnTo>
                      <a:pt x="174033" y="251718"/>
                    </a:lnTo>
                    <a:lnTo>
                      <a:pt x="162305" y="251238"/>
                    </a:lnTo>
                    <a:lnTo>
                      <a:pt x="155008" y="258491"/>
                    </a:lnTo>
                    <a:lnTo>
                      <a:pt x="141357" y="259025"/>
                    </a:lnTo>
                    <a:lnTo>
                      <a:pt x="136114" y="262065"/>
                    </a:lnTo>
                    <a:lnTo>
                      <a:pt x="112890" y="255058"/>
                    </a:lnTo>
                    <a:lnTo>
                      <a:pt x="98082" y="256930"/>
                    </a:lnTo>
                    <a:lnTo>
                      <a:pt x="93860" y="223847"/>
                    </a:lnTo>
                    <a:lnTo>
                      <a:pt x="87600" y="212479"/>
                    </a:lnTo>
                    <a:lnTo>
                      <a:pt x="83876" y="205740"/>
                    </a:lnTo>
                    <a:lnTo>
                      <a:pt x="64775" y="201115"/>
                    </a:lnTo>
                    <a:lnTo>
                      <a:pt x="53851" y="193772"/>
                    </a:lnTo>
                    <a:lnTo>
                      <a:pt x="41485" y="189630"/>
                    </a:lnTo>
                    <a:lnTo>
                      <a:pt x="33768" y="185531"/>
                    </a:lnTo>
                    <a:lnTo>
                      <a:pt x="25724" y="179319"/>
                    </a:lnTo>
                    <a:lnTo>
                      <a:pt x="15839" y="148705"/>
                    </a:lnTo>
                    <a:lnTo>
                      <a:pt x="4705" y="135083"/>
                    </a:lnTo>
                    <a:lnTo>
                      <a:pt x="1030" y="121002"/>
                    </a:lnTo>
                    <a:lnTo>
                      <a:pt x="3215" y="108393"/>
                    </a:lnTo>
                    <a:lnTo>
                      <a:pt x="0" y="86068"/>
                    </a:lnTo>
                    <a:lnTo>
                      <a:pt x="8168" y="84931"/>
                    </a:lnTo>
                    <a:lnTo>
                      <a:pt x="15437" y="76156"/>
                    </a:lnTo>
                    <a:lnTo>
                      <a:pt x="23263" y="63514"/>
                    </a:lnTo>
                    <a:lnTo>
                      <a:pt x="28184" y="58444"/>
                    </a:lnTo>
                    <a:lnTo>
                      <a:pt x="28081" y="50556"/>
                    </a:lnTo>
                    <a:lnTo>
                      <a:pt x="23883" y="45048"/>
                    </a:lnTo>
                    <a:lnTo>
                      <a:pt x="22816" y="35491"/>
                    </a:lnTo>
                    <a:lnTo>
                      <a:pt x="28534" y="32425"/>
                    </a:lnTo>
                    <a:lnTo>
                      <a:pt x="29765" y="18147"/>
                    </a:lnTo>
                    <a:lnTo>
                      <a:pt x="21989" y="4448"/>
                    </a:lnTo>
                    <a:lnTo>
                      <a:pt x="28922" y="1537"/>
                    </a:lnTo>
                    <a:lnTo>
                      <a:pt x="50562" y="1859"/>
                    </a:lnTo>
                    <a:lnTo>
                      <a:pt x="90789" y="0"/>
                    </a:lnTo>
                    <a:close/>
                  </a:path>
                </a:pathLst>
              </a:custGeom>
              <a:solidFill>
                <a:srgbClr val="74C476">
                  <a:alpha val="100000"/>
                </a:srgbClr>
              </a:solidFill>
              <a:ln w="5400">
                <a:solidFill>
                  <a:srgbClr val="7F7F7F">
                    <a:alpha val="100000"/>
                  </a:srgbClr>
                </a:solidFill>
                <a:prstDash val="solid"/>
                <a:round/>
              </a:ln>
            </p:spPr>
            <p:txBody>
              <a:bodyPr/>
              <a:lstStyle/>
              <a:p/>
            </p:txBody>
          </p:sp>
          <p:sp>
            <p:nvSpPr>
              <p:cNvPr id="144" name="Polygon form 109"/>
              <p:cNvSpPr/>
              <p:nvPr/>
            </p:nvSpPr>
            <p:spPr>
              <a:xfrm>
                <a:off x="4544124" y="4028551"/>
                <a:ext cx="107626" cy="138301"/>
              </a:xfrm>
              <a:custGeom>
                <a:avLst/>
                <a:gdLst/>
                <a:ahLst/>
                <a:cxnLst/>
                <a:rect l="0" t="0" r="0" b="0"/>
                <a:pathLst>
                  <a:path w="107626" h="138301">
                    <a:moveTo>
                      <a:pt x="45166" y="128230"/>
                    </a:moveTo>
                    <a:lnTo>
                      <a:pt x="23526" y="127908"/>
                    </a:lnTo>
                    <a:lnTo>
                      <a:pt x="16593" y="130819"/>
                    </a:lnTo>
                    <a:lnTo>
                      <a:pt x="4767" y="138301"/>
                    </a:lnTo>
                    <a:lnTo>
                      <a:pt x="0" y="135823"/>
                    </a:lnTo>
                    <a:lnTo>
                      <a:pt x="218" y="117534"/>
                    </a:lnTo>
                    <a:lnTo>
                      <a:pt x="4803" y="108265"/>
                    </a:lnTo>
                    <a:lnTo>
                      <a:pt x="5902" y="88791"/>
                    </a:lnTo>
                    <a:lnTo>
                      <a:pt x="10026" y="77508"/>
                    </a:lnTo>
                    <a:lnTo>
                      <a:pt x="17522" y="64849"/>
                    </a:lnTo>
                    <a:lnTo>
                      <a:pt x="25070" y="58397"/>
                    </a:lnTo>
                    <a:lnTo>
                      <a:pt x="31359" y="49772"/>
                    </a:lnTo>
                    <a:lnTo>
                      <a:pt x="23425" y="46494"/>
                    </a:lnTo>
                    <a:lnTo>
                      <a:pt x="24359" y="18114"/>
                    </a:lnTo>
                    <a:lnTo>
                      <a:pt x="32403" y="11479"/>
                    </a:lnTo>
                    <a:lnTo>
                      <a:pt x="45010" y="16886"/>
                    </a:lnTo>
                    <a:lnTo>
                      <a:pt x="60818" y="11172"/>
                    </a:lnTo>
                    <a:lnTo>
                      <a:pt x="74696" y="11201"/>
                    </a:lnTo>
                    <a:lnTo>
                      <a:pt x="86669" y="0"/>
                    </a:lnTo>
                    <a:lnTo>
                      <a:pt x="96250" y="16855"/>
                    </a:lnTo>
                    <a:lnTo>
                      <a:pt x="98699" y="29050"/>
                    </a:lnTo>
                    <a:lnTo>
                      <a:pt x="107626" y="56945"/>
                    </a:lnTo>
                    <a:lnTo>
                      <a:pt x="100540" y="74673"/>
                    </a:lnTo>
                    <a:lnTo>
                      <a:pt x="90874" y="90767"/>
                    </a:lnTo>
                    <a:lnTo>
                      <a:pt x="85230" y="100616"/>
                    </a:lnTo>
                    <a:lnTo>
                      <a:pt x="85393" y="126371"/>
                    </a:lnTo>
                    <a:lnTo>
                      <a:pt x="45166" y="128230"/>
                    </a:lnTo>
                    <a:close/>
                  </a:path>
                </a:pathLst>
              </a:custGeom>
              <a:solidFill>
                <a:srgbClr val="74C476">
                  <a:alpha val="100000"/>
                </a:srgbClr>
              </a:solidFill>
              <a:ln w="5400">
                <a:solidFill>
                  <a:srgbClr val="7F7F7F">
                    <a:alpha val="100000"/>
                  </a:srgbClr>
                </a:solidFill>
                <a:prstDash val="solid"/>
                <a:round/>
              </a:ln>
            </p:spPr>
            <p:txBody>
              <a:bodyPr/>
              <a:lstStyle/>
              <a:p/>
            </p:txBody>
          </p:sp>
          <p:sp>
            <p:nvSpPr>
              <p:cNvPr id="145" name="Polygon form 110"/>
              <p:cNvSpPr/>
              <p:nvPr/>
            </p:nvSpPr>
            <p:spPr>
              <a:xfrm>
                <a:off x="4329324" y="2862427"/>
                <a:ext cx="297529" cy="192741"/>
              </a:xfrm>
              <a:custGeom>
                <a:avLst/>
                <a:gdLst/>
                <a:ahLst/>
                <a:cxnLst/>
                <a:rect l="0" t="0" r="0" b="0"/>
                <a:pathLst>
                  <a:path w="297529" h="192741">
                    <a:moveTo>
                      <a:pt x="145542" y="6418"/>
                    </a:moveTo>
                    <a:lnTo>
                      <a:pt x="151754" y="7249"/>
                    </a:lnTo>
                    <a:lnTo>
                      <a:pt x="154766" y="1658"/>
                    </a:lnTo>
                    <a:lnTo>
                      <a:pt x="159894" y="2751"/>
                    </a:lnTo>
                    <a:lnTo>
                      <a:pt x="176123" y="0"/>
                    </a:lnTo>
                    <a:lnTo>
                      <a:pt x="189212" y="13413"/>
                    </a:lnTo>
                    <a:lnTo>
                      <a:pt x="186162" y="18408"/>
                    </a:lnTo>
                    <a:lnTo>
                      <a:pt x="189013" y="25874"/>
                    </a:lnTo>
                    <a:lnTo>
                      <a:pt x="202203" y="26711"/>
                    </a:lnTo>
                    <a:lnTo>
                      <a:pt x="210140" y="37039"/>
                    </a:lnTo>
                    <a:lnTo>
                      <a:pt x="210755" y="41804"/>
                    </a:lnTo>
                    <a:lnTo>
                      <a:pt x="233282" y="49753"/>
                    </a:lnTo>
                    <a:lnTo>
                      <a:pt x="245025" y="45583"/>
                    </a:lnTo>
                    <a:lnTo>
                      <a:pt x="257570" y="56626"/>
                    </a:lnTo>
                    <a:lnTo>
                      <a:pt x="267102" y="56096"/>
                    </a:lnTo>
                    <a:lnTo>
                      <a:pt x="293062" y="63270"/>
                    </a:lnTo>
                    <a:lnTo>
                      <a:pt x="294853" y="70368"/>
                    </a:lnTo>
                    <a:lnTo>
                      <a:pt x="290952" y="83230"/>
                    </a:lnTo>
                    <a:lnTo>
                      <a:pt x="297529" y="96469"/>
                    </a:lnTo>
                    <a:lnTo>
                      <a:pt x="296651" y="104614"/>
                    </a:lnTo>
                    <a:lnTo>
                      <a:pt x="280883" y="106839"/>
                    </a:lnTo>
                    <a:lnTo>
                      <a:pt x="273666" y="113830"/>
                    </a:lnTo>
                    <a:lnTo>
                      <a:pt x="275324" y="124595"/>
                    </a:lnTo>
                    <a:lnTo>
                      <a:pt x="262301" y="126885"/>
                    </a:lnTo>
                    <a:lnTo>
                      <a:pt x="252633" y="135004"/>
                    </a:lnTo>
                    <a:lnTo>
                      <a:pt x="237096" y="136677"/>
                    </a:lnTo>
                    <a:lnTo>
                      <a:pt x="224210" y="146051"/>
                    </a:lnTo>
                    <a:lnTo>
                      <a:pt x="227904" y="161078"/>
                    </a:lnTo>
                    <a:lnTo>
                      <a:pt x="237267" y="166717"/>
                    </a:lnTo>
                    <a:lnTo>
                      <a:pt x="254355" y="164841"/>
                    </a:lnTo>
                    <a:lnTo>
                      <a:pt x="252617" y="173560"/>
                    </a:lnTo>
                    <a:lnTo>
                      <a:pt x="234688" y="178203"/>
                    </a:lnTo>
                    <a:lnTo>
                      <a:pt x="213852" y="192741"/>
                    </a:lnTo>
                    <a:lnTo>
                      <a:pt x="203503" y="188031"/>
                    </a:lnTo>
                    <a:lnTo>
                      <a:pt x="205382" y="176577"/>
                    </a:lnTo>
                    <a:lnTo>
                      <a:pt x="185567" y="169909"/>
                    </a:lnTo>
                    <a:lnTo>
                      <a:pt x="187812" y="165205"/>
                    </a:lnTo>
                    <a:lnTo>
                      <a:pt x="202727" y="156798"/>
                    </a:lnTo>
                    <a:lnTo>
                      <a:pt x="196865" y="151370"/>
                    </a:lnTo>
                    <a:lnTo>
                      <a:pt x="169519" y="145843"/>
                    </a:lnTo>
                    <a:lnTo>
                      <a:pt x="166869" y="136851"/>
                    </a:lnTo>
                    <a:lnTo>
                      <a:pt x="151711" y="140165"/>
                    </a:lnTo>
                    <a:lnTo>
                      <a:pt x="147533" y="153611"/>
                    </a:lnTo>
                    <a:lnTo>
                      <a:pt x="137086" y="171750"/>
                    </a:lnTo>
                    <a:lnTo>
                      <a:pt x="128738" y="167753"/>
                    </a:lnTo>
                    <a:lnTo>
                      <a:pt x="121293" y="171799"/>
                    </a:lnTo>
                    <a:lnTo>
                      <a:pt x="113045" y="167490"/>
                    </a:lnTo>
                    <a:lnTo>
                      <a:pt x="116955" y="164782"/>
                    </a:lnTo>
                    <a:lnTo>
                      <a:pt x="118718" y="156431"/>
                    </a:lnTo>
                    <a:lnTo>
                      <a:pt x="122219" y="148632"/>
                    </a:lnTo>
                    <a:lnTo>
                      <a:pt x="120374" y="144327"/>
                    </a:lnTo>
                    <a:lnTo>
                      <a:pt x="123621" y="142329"/>
                    </a:lnTo>
                    <a:lnTo>
                      <a:pt x="125794" y="145641"/>
                    </a:lnTo>
                    <a:lnTo>
                      <a:pt x="135877" y="146148"/>
                    </a:lnTo>
                    <a:lnTo>
                      <a:pt x="140079" y="144268"/>
                    </a:lnTo>
                    <a:lnTo>
                      <a:pt x="136545" y="141882"/>
                    </a:lnTo>
                    <a:lnTo>
                      <a:pt x="137177" y="138254"/>
                    </a:lnTo>
                    <a:lnTo>
                      <a:pt x="130330" y="132230"/>
                    </a:lnTo>
                    <a:lnTo>
                      <a:pt x="126324" y="122174"/>
                    </a:lnTo>
                    <a:lnTo>
                      <a:pt x="119593" y="118345"/>
                    </a:lnTo>
                    <a:lnTo>
                      <a:pt x="119521" y="110131"/>
                    </a:lnTo>
                    <a:lnTo>
                      <a:pt x="110954" y="103782"/>
                    </a:lnTo>
                    <a:lnTo>
                      <a:pt x="103945" y="103016"/>
                    </a:lnTo>
                    <a:lnTo>
                      <a:pt x="90510" y="95730"/>
                    </a:lnTo>
                    <a:lnTo>
                      <a:pt x="79784" y="98333"/>
                    </a:lnTo>
                    <a:lnTo>
                      <a:pt x="76322" y="101971"/>
                    </a:lnTo>
                    <a:lnTo>
                      <a:pt x="69277" y="102098"/>
                    </a:lnTo>
                    <a:lnTo>
                      <a:pt x="65869" y="107822"/>
                    </a:lnTo>
                    <a:lnTo>
                      <a:pt x="53833" y="110364"/>
                    </a:lnTo>
                    <a:lnTo>
                      <a:pt x="48610" y="114173"/>
                    </a:lnTo>
                    <a:lnTo>
                      <a:pt x="40052" y="108405"/>
                    </a:lnTo>
                    <a:lnTo>
                      <a:pt x="29310" y="108496"/>
                    </a:lnTo>
                    <a:lnTo>
                      <a:pt x="18618" y="105991"/>
                    </a:lnTo>
                    <a:lnTo>
                      <a:pt x="12030" y="111279"/>
                    </a:lnTo>
                    <a:lnTo>
                      <a:pt x="10072" y="104824"/>
                    </a:lnTo>
                    <a:lnTo>
                      <a:pt x="0" y="98401"/>
                    </a:lnTo>
                    <a:lnTo>
                      <a:pt x="2070" y="88615"/>
                    </a:lnTo>
                    <a:lnTo>
                      <a:pt x="5899" y="82255"/>
                    </a:lnTo>
                    <a:lnTo>
                      <a:pt x="9699" y="83606"/>
                    </a:lnTo>
                    <a:lnTo>
                      <a:pt x="4057" y="72824"/>
                    </a:lnTo>
                    <a:lnTo>
                      <a:pt x="16419" y="52493"/>
                    </a:lnTo>
                    <a:lnTo>
                      <a:pt x="24186" y="49543"/>
                    </a:lnTo>
                    <a:lnTo>
                      <a:pt x="25010" y="42739"/>
                    </a:lnTo>
                    <a:lnTo>
                      <a:pt x="13888" y="21804"/>
                    </a:lnTo>
                    <a:lnTo>
                      <a:pt x="21520" y="20727"/>
                    </a:lnTo>
                    <a:lnTo>
                      <a:pt x="29470" y="14024"/>
                    </a:lnTo>
                    <a:lnTo>
                      <a:pt x="41937" y="13256"/>
                    </a:lnTo>
                    <a:lnTo>
                      <a:pt x="58587" y="14833"/>
                    </a:lnTo>
                    <a:lnTo>
                      <a:pt x="77606" y="20267"/>
                    </a:lnTo>
                    <a:lnTo>
                      <a:pt x="90466" y="20488"/>
                    </a:lnTo>
                    <a:lnTo>
                      <a:pt x="97155" y="23849"/>
                    </a:lnTo>
                    <a:lnTo>
                      <a:pt x="102533" y="19509"/>
                    </a:lnTo>
                    <a:lnTo>
                      <a:pt x="107756" y="25064"/>
                    </a:lnTo>
                    <a:lnTo>
                      <a:pt x="122216" y="23584"/>
                    </a:lnTo>
                    <a:lnTo>
                      <a:pt x="129094" y="25773"/>
                    </a:lnTo>
                    <a:lnTo>
                      <a:pt x="127945" y="13593"/>
                    </a:lnTo>
                    <a:lnTo>
                      <a:pt x="131955" y="8176"/>
                    </a:lnTo>
                    <a:lnTo>
                      <a:pt x="145542" y="6418"/>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146" name="Polygon form 111"/>
              <p:cNvSpPr/>
              <p:nvPr/>
            </p:nvSpPr>
            <p:spPr>
              <a:xfrm>
                <a:off x="2889559" y="4872380"/>
                <a:ext cx="95428" cy="117443"/>
              </a:xfrm>
              <a:custGeom>
                <a:avLst/>
                <a:gdLst/>
                <a:ahLst/>
                <a:cxnLst/>
                <a:rect l="0" t="0" r="0" b="0"/>
                <a:pathLst>
                  <a:path w="95428" h="117443">
                    <a:moveTo>
                      <a:pt x="900" y="2947"/>
                    </a:moveTo>
                    <a:lnTo>
                      <a:pt x="12423" y="0"/>
                    </a:lnTo>
                    <a:lnTo>
                      <a:pt x="34431" y="18436"/>
                    </a:lnTo>
                    <a:lnTo>
                      <a:pt x="41155" y="17532"/>
                    </a:lnTo>
                    <a:lnTo>
                      <a:pt x="62988" y="32691"/>
                    </a:lnTo>
                    <a:lnTo>
                      <a:pt x="79892" y="45815"/>
                    </a:lnTo>
                    <a:lnTo>
                      <a:pt x="93577" y="62156"/>
                    </a:lnTo>
                    <a:lnTo>
                      <a:pt x="87716" y="73974"/>
                    </a:lnTo>
                    <a:lnTo>
                      <a:pt x="95428" y="87670"/>
                    </a:lnTo>
                    <a:lnTo>
                      <a:pt x="90590" y="103251"/>
                    </a:lnTo>
                    <a:lnTo>
                      <a:pt x="72909" y="117443"/>
                    </a:lnTo>
                    <a:lnTo>
                      <a:pt x="58543" y="112963"/>
                    </a:lnTo>
                    <a:lnTo>
                      <a:pt x="49308" y="115887"/>
                    </a:lnTo>
                    <a:lnTo>
                      <a:pt x="30353" y="105906"/>
                    </a:lnTo>
                    <a:lnTo>
                      <a:pt x="18240" y="107080"/>
                    </a:lnTo>
                    <a:lnTo>
                      <a:pt x="4288" y="93888"/>
                    </a:lnTo>
                    <a:lnTo>
                      <a:pt x="2348" y="78014"/>
                    </a:lnTo>
                    <a:lnTo>
                      <a:pt x="5169" y="72438"/>
                    </a:lnTo>
                    <a:lnTo>
                      <a:pt x="26" y="48037"/>
                    </a:lnTo>
                    <a:lnTo>
                      <a:pt x="0" y="22697"/>
                    </a:lnTo>
                    <a:lnTo>
                      <a:pt x="900" y="2947"/>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147" name="Polygon form 112"/>
              <p:cNvSpPr/>
              <p:nvPr/>
            </p:nvSpPr>
            <p:spPr>
              <a:xfrm>
                <a:off x="1788347" y="2853260"/>
                <a:ext cx="1033957" cy="648549"/>
              </a:xfrm>
              <a:custGeom>
                <a:avLst/>
                <a:gdLst/>
                <a:ahLst/>
                <a:cxnLst/>
                <a:rect l="0" t="0" r="0" b="0"/>
                <a:pathLst>
                  <a:path w="1033957" h="648549">
                    <a:moveTo>
                      <a:pt x="621427" y="31440"/>
                    </a:move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148" name="Polygon form 113"/>
              <p:cNvSpPr/>
              <p:nvPr/>
            </p:nvSpPr>
            <p:spPr>
              <a:xfrm>
                <a:off x="1500187" y="2282908"/>
                <a:ext cx="715796" cy="415526"/>
              </a:xfrm>
              <a:custGeom>
                <a:avLst/>
                <a:gdLst/>
                <a:ahLst/>
                <a:cxnLst/>
                <a:rect l="0" t="0" r="0" b="0"/>
                <a:pathLst>
                  <a:path w="715796" h="415526">
                    <a:moveTo>
                      <a:pt x="613125" y="6640"/>
                    </a:move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149" name="Polygon form 114"/>
              <p:cNvSpPr/>
              <p:nvPr/>
            </p:nvSpPr>
            <p:spPr>
              <a:xfrm>
                <a:off x="1700379" y="2577939"/>
                <a:ext cx="49399" cy="26884"/>
              </a:xfrm>
              <a:custGeom>
                <a:avLst/>
                <a:gdLst/>
                <a:ahLst/>
                <a:cxnLst/>
                <a:rect l="0" t="0" r="0" b="0"/>
                <a:pathLst>
                  <a:path w="49399" h="26884">
                    <a:moveTo>
                      <a:pt x="22836" y="20244"/>
                    </a:move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151" name="Polygon form 116"/>
              <p:cNvSpPr/>
              <p:nvPr/>
            </p:nvSpPr>
            <p:spPr>
              <a:xfrm>
                <a:off x="1690556" y="2407840"/>
                <a:ext cx="29903" cy="22011"/>
              </a:xfrm>
              <a:custGeom>
                <a:avLst/>
                <a:gdLst/>
                <a:ahLst/>
                <a:cxnLst/>
                <a:rect l="0" t="0" r="0" b="0"/>
                <a:pathLst>
                  <a:path w="29903" h="22011">
                    <a:moveTo>
                      <a:pt x="13216" y="0"/>
                    </a:move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152" name="Polygon form 117"/>
              <p:cNvSpPr/>
              <p:nvPr/>
            </p:nvSpPr>
            <p:spPr>
              <a:xfrm>
                <a:off x="1636432" y="2493164"/>
                <a:ext cx="24130" cy="14604"/>
              </a:xfrm>
              <a:custGeom>
                <a:avLst/>
                <a:gdLst/>
                <a:ahLst/>
                <a:cxnLst/>
                <a:rect l="0" t="0" r="0" b="0"/>
                <a:pathLst>
                  <a:path w="24130" h="14604">
                    <a:moveTo>
                      <a:pt x="13646" y="12598"/>
                    </a:move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157" name="Polygon form 122"/>
              <p:cNvSpPr/>
              <p:nvPr/>
            </p:nvSpPr>
            <p:spPr>
              <a:xfrm>
                <a:off x="4915717" y="3012217"/>
                <a:ext cx="324432" cy="199703"/>
              </a:xfrm>
              <a:custGeom>
                <a:avLst/>
                <a:gdLst/>
                <a:ahLst/>
                <a:cxnLst/>
                <a:rect l="0" t="0" r="0" b="0"/>
                <a:pathLst>
                  <a:path w="324432" h="199703">
                    <a:moveTo>
                      <a:pt x="235760" y="195297"/>
                    </a:moveTo>
                    <a:lnTo>
                      <a:pt x="232121" y="180259"/>
                    </a:lnTo>
                    <a:lnTo>
                      <a:pt x="205715" y="170713"/>
                    </a:lnTo>
                    <a:lnTo>
                      <a:pt x="183981" y="159451"/>
                    </a:lnTo>
                    <a:lnTo>
                      <a:pt x="169345" y="148379"/>
                    </a:lnTo>
                    <a:lnTo>
                      <a:pt x="144648" y="132277"/>
                    </a:lnTo>
                    <a:lnTo>
                      <a:pt x="129061" y="107416"/>
                    </a:lnTo>
                    <a:lnTo>
                      <a:pt x="121987" y="103216"/>
                    </a:lnTo>
                    <a:lnTo>
                      <a:pt x="103529" y="105085"/>
                    </a:lnTo>
                    <a:lnTo>
                      <a:pt x="95509" y="100345"/>
                    </a:lnTo>
                    <a:lnTo>
                      <a:pt x="88238" y="80944"/>
                    </a:lnTo>
                    <a:lnTo>
                      <a:pt x="61419" y="68970"/>
                    </a:lnTo>
                    <a:lnTo>
                      <a:pt x="50785" y="83695"/>
                    </a:lnTo>
                    <a:lnTo>
                      <a:pt x="38249" y="92650"/>
                    </a:lnTo>
                    <a:lnTo>
                      <a:pt x="44318" y="104826"/>
                    </a:lnTo>
                    <a:lnTo>
                      <a:pt x="24790" y="105876"/>
                    </a:lnTo>
                    <a:lnTo>
                      <a:pt x="0" y="16115"/>
                    </a:lnTo>
                    <a:lnTo>
                      <a:pt x="39302" y="0"/>
                    </a:lnTo>
                    <a:lnTo>
                      <a:pt x="43084" y="1982"/>
                    </a:lnTo>
                    <a:lnTo>
                      <a:pt x="74521" y="18325"/>
                    </a:lnTo>
                    <a:lnTo>
                      <a:pt x="91189" y="26956"/>
                    </a:lnTo>
                    <a:lnTo>
                      <a:pt x="114099" y="48247"/>
                    </a:lnTo>
                    <a:lnTo>
                      <a:pt x="133024" y="43837"/>
                    </a:lnTo>
                    <a:lnTo>
                      <a:pt x="161648" y="40646"/>
                    </a:lnTo>
                    <a:lnTo>
                      <a:pt x="187747" y="57573"/>
                    </a:lnTo>
                    <a:lnTo>
                      <a:pt x="194143" y="82155"/>
                    </a:lnTo>
                    <a:lnTo>
                      <a:pt x="202591" y="81955"/>
                    </a:lnTo>
                    <a:lnTo>
                      <a:pt x="212277" y="101850"/>
                    </a:lnTo>
                    <a:lnTo>
                      <a:pt x="234550" y="101668"/>
                    </a:lnTo>
                    <a:lnTo>
                      <a:pt x="242891" y="113062"/>
                    </a:lnTo>
                    <a:lnTo>
                      <a:pt x="249314" y="112617"/>
                    </a:lnTo>
                    <a:lnTo>
                      <a:pt x="251391" y="94735"/>
                    </a:lnTo>
                    <a:lnTo>
                      <a:pt x="268576" y="76591"/>
                    </a:lnTo>
                    <a:lnTo>
                      <a:pt x="276910" y="71590"/>
                    </a:lnTo>
                    <a:lnTo>
                      <a:pt x="282814" y="73757"/>
                    </a:lnTo>
                    <a:lnTo>
                      <a:pt x="273625" y="90324"/>
                    </a:lnTo>
                    <a:lnTo>
                      <a:pt x="289372" y="98955"/>
                    </a:lnTo>
                    <a:lnTo>
                      <a:pt x="299662" y="92252"/>
                    </a:lnTo>
                    <a:lnTo>
                      <a:pt x="324432" y="104197"/>
                    </a:lnTo>
                    <a:lnTo>
                      <a:pt x="307976" y="122944"/>
                    </a:lnTo>
                    <a:lnTo>
                      <a:pt x="293972" y="121140"/>
                    </a:lnTo>
                    <a:lnTo>
                      <a:pt x="286990" y="122106"/>
                    </a:lnTo>
                    <a:lnTo>
                      <a:pt x="282346" y="115398"/>
                    </a:lnTo>
                    <a:lnTo>
                      <a:pt x="282330" y="103853"/>
                    </a:lnTo>
                    <a:lnTo>
                      <a:pt x="260963" y="110620"/>
                    </a:lnTo>
                    <a:lnTo>
                      <a:pt x="260310" y="126607"/>
                    </a:lnTo>
                    <a:lnTo>
                      <a:pt x="256115" y="140533"/>
                    </a:lnTo>
                    <a:lnTo>
                      <a:pt x="241160" y="140013"/>
                    </a:lnTo>
                    <a:lnTo>
                      <a:pt x="239786" y="151008"/>
                    </a:lnTo>
                    <a:lnTo>
                      <a:pt x="254382" y="156312"/>
                    </a:lnTo>
                    <a:lnTo>
                      <a:pt x="263480" y="174429"/>
                    </a:lnTo>
                    <a:lnTo>
                      <a:pt x="260521" y="199703"/>
                    </a:lnTo>
                    <a:lnTo>
                      <a:pt x="245697" y="195061"/>
                    </a:lnTo>
                    <a:lnTo>
                      <a:pt x="235760" y="195297"/>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158" name="Polygon form 123"/>
              <p:cNvSpPr/>
              <p:nvPr/>
            </p:nvSpPr>
            <p:spPr>
              <a:xfrm>
                <a:off x="2474833" y="3500156"/>
                <a:ext cx="15179" cy="37677"/>
              </a:xfrm>
              <a:custGeom>
                <a:avLst/>
                <a:gdLst/>
                <a:ahLst/>
                <a:cxnLst/>
                <a:rect l="0" t="0" r="0" b="0"/>
                <a:pathLst>
                  <a:path w="15179" h="37677">
                    <a:moveTo>
                      <a:pt x="12407" y="36582"/>
                    </a:moveTo>
                    <a:lnTo>
                      <a:pt x="7525" y="37677"/>
                    </a:lnTo>
                    <a:lnTo>
                      <a:pt x="5588" y="23149"/>
                    </a:lnTo>
                    <a:lnTo>
                      <a:pt x="0" y="15696"/>
                    </a:lnTo>
                    <a:lnTo>
                      <a:pt x="7389" y="0"/>
                    </a:lnTo>
                    <a:lnTo>
                      <a:pt x="12834" y="1194"/>
                    </a:lnTo>
                    <a:lnTo>
                      <a:pt x="15179" y="22107"/>
                    </a:lnTo>
                    <a:lnTo>
                      <a:pt x="12407" y="36582"/>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159" name="Polygon form 124"/>
              <p:cNvSpPr/>
              <p:nvPr/>
            </p:nvSpPr>
            <p:spPr>
              <a:xfrm>
                <a:off x="2475280" y="3458571"/>
                <a:ext cx="22148" cy="10951"/>
              </a:xfrm>
              <a:custGeom>
                <a:avLst/>
                <a:gdLst/>
                <a:ahLst/>
                <a:cxnLst/>
                <a:rect l="0" t="0" r="0" b="0"/>
                <a:pathLst>
                  <a:path w="22148" h="10951">
                    <a:moveTo>
                      <a:pt x="21267" y="7684"/>
                    </a:moveTo>
                    <a:lnTo>
                      <a:pt x="0" y="10951"/>
                    </a:lnTo>
                    <a:lnTo>
                      <a:pt x="768" y="1678"/>
                    </a:lnTo>
                    <a:lnTo>
                      <a:pt x="9994" y="0"/>
                    </a:lnTo>
                    <a:lnTo>
                      <a:pt x="22148" y="1188"/>
                    </a:lnTo>
                    <a:lnTo>
                      <a:pt x="21267" y="7684"/>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160" name="Polygon form 125"/>
              <p:cNvSpPr/>
              <p:nvPr/>
            </p:nvSpPr>
            <p:spPr>
              <a:xfrm>
                <a:off x="2499061" y="3454817"/>
                <a:ext cx="12871" cy="29313"/>
              </a:xfrm>
              <a:custGeom>
                <a:avLst/>
                <a:gdLst/>
                <a:ahLst/>
                <a:cxnLst/>
                <a:rect l="0" t="0" r="0" b="0"/>
                <a:pathLst>
                  <a:path w="12871" h="29313">
                    <a:moveTo>
                      <a:pt x="12871" y="11724"/>
                    </a:moveTo>
                    <a:lnTo>
                      <a:pt x="5812" y="29313"/>
                    </a:lnTo>
                    <a:lnTo>
                      <a:pt x="3050" y="26003"/>
                    </a:lnTo>
                    <a:lnTo>
                      <a:pt x="6186" y="12997"/>
                    </a:lnTo>
                    <a:lnTo>
                      <a:pt x="0" y="2861"/>
                    </a:lnTo>
                    <a:lnTo>
                      <a:pt x="606" y="0"/>
                    </a:lnTo>
                    <a:lnTo>
                      <a:pt x="12871" y="11724"/>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161" name="Polygon form 126"/>
              <p:cNvSpPr/>
              <p:nvPr/>
            </p:nvSpPr>
            <p:spPr>
              <a:xfrm>
                <a:off x="2521105" y="3829031"/>
                <a:ext cx="264783" cy="284819"/>
              </a:xfrm>
              <a:custGeom>
                <a:avLst/>
                <a:gdLst/>
                <a:ahLst/>
                <a:cxnLst/>
                <a:rect l="0" t="0" r="0" b="0"/>
                <a:pathLst>
                  <a:path w="264783" h="284819">
                    <a:moveTo>
                      <a:pt x="43797" y="9221"/>
                    </a:moveTo>
                    <a:lnTo>
                      <a:pt x="42731" y="15100"/>
                    </a:lnTo>
                    <a:lnTo>
                      <a:pt x="31004" y="17848"/>
                    </a:lnTo>
                    <a:lnTo>
                      <a:pt x="36438" y="29246"/>
                    </a:lnTo>
                    <a:lnTo>
                      <a:pt x="35159" y="42276"/>
                    </a:lnTo>
                    <a:lnTo>
                      <a:pt x="25417" y="56649"/>
                    </a:lnTo>
                    <a:lnTo>
                      <a:pt x="31440" y="76517"/>
                    </a:lnTo>
                    <a:lnTo>
                      <a:pt x="40008" y="74992"/>
                    </a:lnTo>
                    <a:lnTo>
                      <a:pt x="45678" y="57033"/>
                    </a:lnTo>
                    <a:lnTo>
                      <a:pt x="40253" y="48191"/>
                    </a:lnTo>
                    <a:lnTo>
                      <a:pt x="40747" y="29315"/>
                    </a:lnTo>
                    <a:lnTo>
                      <a:pt x="65942" y="19519"/>
                    </a:lnTo>
                    <a:lnTo>
                      <a:pt x="64229" y="7752"/>
                    </a:lnTo>
                    <a:lnTo>
                      <a:pt x="71766" y="0"/>
                    </a:lnTo>
                    <a:lnTo>
                      <a:pt x="77281" y="17577"/>
                    </a:lnTo>
                    <a:lnTo>
                      <a:pt x="90962" y="18163"/>
                    </a:lnTo>
                    <a:lnTo>
                      <a:pt x="102571" y="32185"/>
                    </a:lnTo>
                    <a:lnTo>
                      <a:pt x="102712" y="40420"/>
                    </a:lnTo>
                    <a:lnTo>
                      <a:pt x="120280" y="40849"/>
                    </a:lnTo>
                    <a:lnTo>
                      <a:pt x="141389" y="38548"/>
                    </a:lnTo>
                    <a:lnTo>
                      <a:pt x="151814" y="49782"/>
                    </a:lnTo>
                    <a:lnTo>
                      <a:pt x="166592" y="53010"/>
                    </a:lnTo>
                    <a:lnTo>
                      <a:pt x="178115" y="45394"/>
                    </a:lnTo>
                    <a:lnTo>
                      <a:pt x="178776" y="39161"/>
                    </a:lnTo>
                    <a:lnTo>
                      <a:pt x="203139" y="37943"/>
                    </a:lnTo>
                    <a:lnTo>
                      <a:pt x="226630" y="37859"/>
                    </a:lnTo>
                    <a:lnTo>
                      <a:pt x="209499" y="44980"/>
                    </a:lnTo>
                    <a:lnTo>
                      <a:pt x="215424" y="56724"/>
                    </a:lnTo>
                    <a:lnTo>
                      <a:pt x="230985" y="58741"/>
                    </a:lnTo>
                    <a:lnTo>
                      <a:pt x="245115" y="71033"/>
                    </a:lnTo>
                    <a:lnTo>
                      <a:pt x="247128" y="90847"/>
                    </a:lnTo>
                    <a:lnTo>
                      <a:pt x="257393" y="90377"/>
                    </a:lnTo>
                    <a:lnTo>
                      <a:pt x="264783" y="96260"/>
                    </a:lnTo>
                    <a:lnTo>
                      <a:pt x="248486" y="110637"/>
                    </a:lnTo>
                    <a:lnTo>
                      <a:pt x="246340" y="119628"/>
                    </a:lnTo>
                    <a:lnTo>
                      <a:pt x="252660" y="128841"/>
                    </a:lnTo>
                    <a:lnTo>
                      <a:pt x="247573" y="133433"/>
                    </a:lnTo>
                    <a:lnTo>
                      <a:pt x="235296" y="137315"/>
                    </a:lnTo>
                    <a:lnTo>
                      <a:pt x="235222" y="148728"/>
                    </a:lnTo>
                    <a:lnTo>
                      <a:pt x="229626" y="155497"/>
                    </a:lnTo>
                    <a:lnTo>
                      <a:pt x="242298" y="174322"/>
                    </a:lnTo>
                    <a:lnTo>
                      <a:pt x="244686" y="181306"/>
                    </a:lnTo>
                    <a:lnTo>
                      <a:pt x="237198" y="190700"/>
                    </a:lnTo>
                    <a:lnTo>
                      <a:pt x="214891" y="199856"/>
                    </a:lnTo>
                    <a:lnTo>
                      <a:pt x="200611" y="203635"/>
                    </a:lnTo>
                    <a:lnTo>
                      <a:pt x="194770" y="209463"/>
                    </a:lnTo>
                    <a:lnTo>
                      <a:pt x="179248" y="203209"/>
                    </a:lnTo>
                    <a:lnTo>
                      <a:pt x="164736" y="199974"/>
                    </a:lnTo>
                    <a:lnTo>
                      <a:pt x="160979" y="202239"/>
                    </a:lnTo>
                    <a:lnTo>
                      <a:pt x="169636" y="208702"/>
                    </a:lnTo>
                    <a:lnTo>
                      <a:pt x="168458" y="225313"/>
                    </a:lnTo>
                    <a:lnTo>
                      <a:pt x="170906" y="240927"/>
                    </a:lnTo>
                    <a:lnTo>
                      <a:pt x="187588" y="243100"/>
                    </a:lnTo>
                    <a:lnTo>
                      <a:pt x="188577" y="248306"/>
                    </a:lnTo>
                    <a:lnTo>
                      <a:pt x="174384" y="255323"/>
                    </a:lnTo>
                    <a:lnTo>
                      <a:pt x="171972" y="265812"/>
                    </a:lnTo>
                    <a:lnTo>
                      <a:pt x="163808" y="269867"/>
                    </a:lnTo>
                    <a:lnTo>
                      <a:pt x="149081" y="275637"/>
                    </a:lnTo>
                    <a:lnTo>
                      <a:pt x="145212" y="283224"/>
                    </a:lnTo>
                    <a:lnTo>
                      <a:pt x="129855" y="284819"/>
                    </a:lnTo>
                    <a:lnTo>
                      <a:pt x="119077" y="271674"/>
                    </a:lnTo>
                    <a:lnTo>
                      <a:pt x="113358" y="246890"/>
                    </a:lnTo>
                    <a:lnTo>
                      <a:pt x="108260" y="238188"/>
                    </a:lnTo>
                    <a:lnTo>
                      <a:pt x="101205" y="232689"/>
                    </a:lnTo>
                    <a:lnTo>
                      <a:pt x="111467" y="220353"/>
                    </a:lnTo>
                    <a:lnTo>
                      <a:pt x="110922" y="214788"/>
                    </a:lnTo>
                    <a:lnTo>
                      <a:pt x="105506" y="207381"/>
                    </a:lnTo>
                    <a:lnTo>
                      <a:pt x="102022" y="190849"/>
                    </a:lnTo>
                    <a:lnTo>
                      <a:pt x="104173" y="173033"/>
                    </a:lnTo>
                    <a:lnTo>
                      <a:pt x="108884" y="164718"/>
                    </a:lnTo>
                    <a:lnTo>
                      <a:pt x="112975" y="151361"/>
                    </a:lnTo>
                    <a:lnTo>
                      <a:pt x="106197" y="147042"/>
                    </a:lnTo>
                    <a:lnTo>
                      <a:pt x="94852" y="149797"/>
                    </a:lnTo>
                    <a:lnTo>
                      <a:pt x="80731" y="148364"/>
                    </a:lnTo>
                    <a:lnTo>
                      <a:pt x="72657" y="150968"/>
                    </a:lnTo>
                    <a:lnTo>
                      <a:pt x="59817" y="129440"/>
                    </a:lnTo>
                    <a:lnTo>
                      <a:pt x="48552" y="126171"/>
                    </a:lnTo>
                    <a:lnTo>
                      <a:pt x="23133" y="128352"/>
                    </a:lnTo>
                    <a:lnTo>
                      <a:pt x="18915" y="119610"/>
                    </a:lnTo>
                    <a:lnTo>
                      <a:pt x="14191" y="117486"/>
                    </a:lnTo>
                    <a:lnTo>
                      <a:pt x="13794" y="112271"/>
                    </a:lnTo>
                    <a:lnTo>
                      <a:pt x="16672" y="103057"/>
                    </a:lnTo>
                    <a:lnTo>
                      <a:pt x="15741" y="92996"/>
                    </a:lnTo>
                    <a:lnTo>
                      <a:pt x="11761" y="87460"/>
                    </a:lnTo>
                    <a:lnTo>
                      <a:pt x="10013" y="75959"/>
                    </a:lnTo>
                    <a:lnTo>
                      <a:pt x="0" y="74172"/>
                    </a:lnTo>
                    <a:lnTo>
                      <a:pt x="6489" y="59638"/>
                    </a:lnTo>
                    <a:lnTo>
                      <a:pt x="10251" y="41860"/>
                    </a:lnTo>
                    <a:lnTo>
                      <a:pt x="16689" y="32663"/>
                    </a:lnTo>
                    <a:lnTo>
                      <a:pt x="24854" y="25615"/>
                    </a:lnTo>
                    <a:lnTo>
                      <a:pt x="30878" y="13219"/>
                    </a:lnTo>
                    <a:lnTo>
                      <a:pt x="43797" y="9221"/>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162" name="Polygon form 127"/>
              <p:cNvSpPr/>
              <p:nvPr/>
            </p:nvSpPr>
            <p:spPr>
              <a:xfrm>
                <a:off x="5906145" y="3526874"/>
                <a:ext cx="189086" cy="381484"/>
              </a:xfrm>
              <a:custGeom>
                <a:avLst/>
                <a:gdLst/>
                <a:ahLst/>
                <a:cxnLst/>
                <a:rect l="0" t="0" r="0" b="0"/>
                <a:pathLst>
                  <a:path w="189086" h="381484">
                    <a:moveTo>
                      <a:pt x="117040" y="44059"/>
                    </a:moveTo>
                    <a:lnTo>
                      <a:pt x="97163" y="67245"/>
                    </a:lnTo>
                    <a:lnTo>
                      <a:pt x="86974" y="92277"/>
                    </a:lnTo>
                    <a:lnTo>
                      <a:pt x="86749" y="110351"/>
                    </a:lnTo>
                    <a:lnTo>
                      <a:pt x="107161" y="137045"/>
                    </a:lnTo>
                    <a:lnTo>
                      <a:pt x="131889" y="170250"/>
                    </a:lnTo>
                    <a:lnTo>
                      <a:pt x="152424" y="185690"/>
                    </a:lnTo>
                    <a:lnTo>
                      <a:pt x="167979" y="206180"/>
                    </a:lnTo>
                    <a:lnTo>
                      <a:pt x="184967" y="254096"/>
                    </a:lnTo>
                    <a:lnTo>
                      <a:pt x="189086" y="300030"/>
                    </a:lnTo>
                    <a:lnTo>
                      <a:pt x="175081" y="317584"/>
                    </a:lnTo>
                    <a:lnTo>
                      <a:pt x="154771" y="334843"/>
                    </a:lnTo>
                    <a:lnTo>
                      <a:pt x="141268" y="356850"/>
                    </a:lnTo>
                    <a:lnTo>
                      <a:pt x="119307" y="381484"/>
                    </a:lnTo>
                    <a:lnTo>
                      <a:pt x="110529" y="364970"/>
                    </a:lnTo>
                    <a:lnTo>
                      <a:pt x="114148" y="347291"/>
                    </a:lnTo>
                    <a:lnTo>
                      <a:pt x="97959" y="332857"/>
                    </a:lnTo>
                    <a:lnTo>
                      <a:pt x="113628" y="322058"/>
                    </a:lnTo>
                    <a:lnTo>
                      <a:pt x="133902" y="319726"/>
                    </a:lnTo>
                    <a:lnTo>
                      <a:pt x="123322" y="304192"/>
                    </a:lnTo>
                    <a:lnTo>
                      <a:pt x="153357" y="283403"/>
                    </a:lnTo>
                    <a:lnTo>
                      <a:pt x="151105" y="252184"/>
                    </a:lnTo>
                    <a:lnTo>
                      <a:pt x="143835" y="234984"/>
                    </a:lnTo>
                    <a:lnTo>
                      <a:pt x="142949" y="208917"/>
                    </a:lnTo>
                    <a:lnTo>
                      <a:pt x="134792" y="190741"/>
                    </a:lnTo>
                    <a:lnTo>
                      <a:pt x="116832" y="173190"/>
                    </a:lnTo>
                    <a:lnTo>
                      <a:pt x="100267" y="150806"/>
                    </a:lnTo>
                    <a:lnTo>
                      <a:pt x="78061" y="120855"/>
                    </a:lnTo>
                    <a:lnTo>
                      <a:pt x="51859" y="106288"/>
                    </a:lnTo>
                    <a:lnTo>
                      <a:pt x="55318" y="96822"/>
                    </a:lnTo>
                    <a:lnTo>
                      <a:pt x="66003" y="89600"/>
                    </a:lnTo>
                    <a:lnTo>
                      <a:pt x="53471" y="67435"/>
                    </a:lnTo>
                    <a:lnTo>
                      <a:pt x="30029" y="68177"/>
                    </a:lnTo>
                    <a:lnTo>
                      <a:pt x="16005" y="45193"/>
                    </a:lnTo>
                    <a:lnTo>
                      <a:pt x="0" y="25410"/>
                    </a:lnTo>
                    <a:lnTo>
                      <a:pt x="8562" y="18720"/>
                    </a:lnTo>
                    <a:lnTo>
                      <a:pt x="23638" y="18194"/>
                    </a:lnTo>
                    <a:lnTo>
                      <a:pt x="41211" y="14421"/>
                    </a:lnTo>
                    <a:lnTo>
                      <a:pt x="53655" y="0"/>
                    </a:lnTo>
                    <a:lnTo>
                      <a:pt x="65286" y="9231"/>
                    </a:lnTo>
                    <a:lnTo>
                      <a:pt x="83742" y="13144"/>
                    </a:lnTo>
                    <a:lnTo>
                      <a:pt x="84630" y="28123"/>
                    </a:lnTo>
                    <a:lnTo>
                      <a:pt x="96300" y="38200"/>
                    </a:lnTo>
                    <a:lnTo>
                      <a:pt x="117040" y="44059"/>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163" name="Polygon form 128"/>
              <p:cNvSpPr/>
              <p:nvPr/>
            </p:nvSpPr>
            <p:spPr>
              <a:xfrm>
                <a:off x="4788968" y="3665665"/>
                <a:ext cx="201052" cy="158768"/>
              </a:xfrm>
              <a:custGeom>
                <a:avLst/>
                <a:gdLst/>
                <a:ahLst/>
                <a:cxnLst/>
                <a:rect l="0" t="0" r="0" b="0"/>
                <a:pathLst>
                  <a:path w="201052" h="158768">
                    <a:moveTo>
                      <a:pt x="201052" y="57276"/>
                    </a:moveTo>
                    <a:lnTo>
                      <a:pt x="187632" y="64064"/>
                    </a:lnTo>
                    <a:lnTo>
                      <a:pt x="184835" y="75004"/>
                    </a:lnTo>
                    <a:lnTo>
                      <a:pt x="185091" y="83373"/>
                    </a:lnTo>
                    <a:lnTo>
                      <a:pt x="166602" y="93972"/>
                    </a:lnTo>
                    <a:lnTo>
                      <a:pt x="136421" y="105778"/>
                    </a:lnTo>
                    <a:lnTo>
                      <a:pt x="120249" y="123250"/>
                    </a:lnTo>
                    <a:lnTo>
                      <a:pt x="111766" y="124692"/>
                    </a:lnTo>
                    <a:lnTo>
                      <a:pt x="105820" y="123309"/>
                    </a:lnTo>
                    <a:lnTo>
                      <a:pt x="95117" y="133581"/>
                    </a:lnTo>
                    <a:lnTo>
                      <a:pt x="82996" y="138416"/>
                    </a:lnTo>
                    <a:lnTo>
                      <a:pt x="66701" y="139848"/>
                    </a:lnTo>
                    <a:lnTo>
                      <a:pt x="61862" y="141285"/>
                    </a:lnTo>
                    <a:lnTo>
                      <a:pt x="57994" y="147777"/>
                    </a:lnTo>
                    <a:lnTo>
                      <a:pt x="52986" y="149608"/>
                    </a:lnTo>
                    <a:lnTo>
                      <a:pt x="50333" y="155849"/>
                    </a:lnTo>
                    <a:lnTo>
                      <a:pt x="40635" y="155398"/>
                    </a:lnTo>
                    <a:lnTo>
                      <a:pt x="34586" y="158768"/>
                    </a:lnTo>
                    <a:lnTo>
                      <a:pt x="20995" y="157646"/>
                    </a:lnTo>
                    <a:lnTo>
                      <a:pt x="15095" y="143436"/>
                    </a:lnTo>
                    <a:lnTo>
                      <a:pt x="14850" y="130092"/>
                    </a:lnTo>
                    <a:lnTo>
                      <a:pt x="11218" y="122923"/>
                    </a:lnTo>
                    <a:lnTo>
                      <a:pt x="6253" y="104917"/>
                    </a:lnTo>
                    <a:lnTo>
                      <a:pt x="0" y="94946"/>
                    </a:lnTo>
                    <a:lnTo>
                      <a:pt x="3811" y="93720"/>
                    </a:lnTo>
                    <a:lnTo>
                      <a:pt x="1056" y="82596"/>
                    </a:lnTo>
                    <a:lnTo>
                      <a:pt x="3081" y="77867"/>
                    </a:lnTo>
                    <a:lnTo>
                      <a:pt x="1462" y="67238"/>
                    </a:lnTo>
                    <a:lnTo>
                      <a:pt x="9402" y="59361"/>
                    </a:lnTo>
                    <a:lnTo>
                      <a:pt x="6640" y="49101"/>
                    </a:lnTo>
                    <a:lnTo>
                      <a:pt x="10837" y="37050"/>
                    </a:lnTo>
                    <a:lnTo>
                      <a:pt x="19281" y="43297"/>
                    </a:lnTo>
                    <a:lnTo>
                      <a:pt x="24352" y="41027"/>
                    </a:lnTo>
                    <a:lnTo>
                      <a:pt x="46631" y="40189"/>
                    </a:lnTo>
                    <a:lnTo>
                      <a:pt x="50377" y="42587"/>
                    </a:lnTo>
                    <a:lnTo>
                      <a:pt x="69282" y="44792"/>
                    </a:lnTo>
                    <a:lnTo>
                      <a:pt x="76597" y="43475"/>
                    </a:lnTo>
                    <a:lnTo>
                      <a:pt x="82114" y="51560"/>
                    </a:lnTo>
                    <a:lnTo>
                      <a:pt x="90809" y="47368"/>
                    </a:lnTo>
                    <a:lnTo>
                      <a:pt x="102414" y="21505"/>
                    </a:lnTo>
                    <a:lnTo>
                      <a:pt x="119398" y="10239"/>
                    </a:lnTo>
                    <a:lnTo>
                      <a:pt x="174031" y="0"/>
                    </a:lnTo>
                    <a:lnTo>
                      <a:pt x="193133" y="40229"/>
                    </a:lnTo>
                    <a:lnTo>
                      <a:pt x="201052" y="57276"/>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164" name="Polygon form 129"/>
              <p:cNvSpPr/>
              <p:nvPr/>
            </p:nvSpPr>
            <p:spPr>
              <a:xfrm>
                <a:off x="4266259" y="4667602"/>
                <a:ext cx="312616" cy="306062"/>
              </a:xfrm>
              <a:custGeom>
                <a:avLst/>
                <a:gdLst/>
                <a:ahLst/>
                <a:cxnLst/>
                <a:rect l="0" t="0" r="0" b="0"/>
                <a:pathLst>
                  <a:path w="312616" h="306062">
                    <a:moveTo>
                      <a:pt x="282305" y="174206"/>
                    </a:moveTo>
                    <a:lnTo>
                      <a:pt x="278321" y="177659"/>
                    </a:lnTo>
                    <a:lnTo>
                      <a:pt x="269232" y="189860"/>
                    </a:lnTo>
                    <a:lnTo>
                      <a:pt x="262827" y="202238"/>
                    </a:lnTo>
                    <a:lnTo>
                      <a:pt x="250603" y="219448"/>
                    </a:lnTo>
                    <a:lnTo>
                      <a:pt x="227265" y="244141"/>
                    </a:lnTo>
                    <a:lnTo>
                      <a:pt x="212851" y="258483"/>
                    </a:lnTo>
                    <a:lnTo>
                      <a:pt x="197918" y="269303"/>
                    </a:lnTo>
                    <a:lnTo>
                      <a:pt x="177876" y="278430"/>
                    </a:lnTo>
                    <a:lnTo>
                      <a:pt x="168431" y="279565"/>
                    </a:lnTo>
                    <a:lnTo>
                      <a:pt x="165446" y="286250"/>
                    </a:lnTo>
                    <a:lnTo>
                      <a:pt x="154668" y="282528"/>
                    </a:lnTo>
                    <a:lnTo>
                      <a:pt x="145206" y="287016"/>
                    </a:lnTo>
                    <a:lnTo>
                      <a:pt x="125804" y="282108"/>
                    </a:lnTo>
                    <a:lnTo>
                      <a:pt x="114480" y="284924"/>
                    </a:lnTo>
                    <a:lnTo>
                      <a:pt x="107016" y="283570"/>
                    </a:lnTo>
                    <a:lnTo>
                      <a:pt x="87412" y="292898"/>
                    </a:lnTo>
                    <a:lnTo>
                      <a:pt x="71540" y="296554"/>
                    </a:lnTo>
                    <a:lnTo>
                      <a:pt x="59595" y="305568"/>
                    </a:lnTo>
                    <a:lnTo>
                      <a:pt x="51273" y="306062"/>
                    </a:lnTo>
                    <a:lnTo>
                      <a:pt x="44183" y="297367"/>
                    </a:lnTo>
                    <a:lnTo>
                      <a:pt x="38051" y="296864"/>
                    </a:lnTo>
                    <a:lnTo>
                      <a:pt x="30923" y="286001"/>
                    </a:lnTo>
                    <a:lnTo>
                      <a:pt x="29836" y="289343"/>
                    </a:lnTo>
                    <a:lnTo>
                      <a:pt x="27838" y="282827"/>
                    </a:lnTo>
                    <a:lnTo>
                      <a:pt x="28865" y="268662"/>
                    </a:lnTo>
                    <a:lnTo>
                      <a:pt x="23923" y="252417"/>
                    </a:lnTo>
                    <a:lnTo>
                      <a:pt x="30138" y="248070"/>
                    </a:lnTo>
                    <a:lnTo>
                      <a:pt x="30805" y="229521"/>
                    </a:lnTo>
                    <a:lnTo>
                      <a:pt x="20018" y="206806"/>
                    </a:lnTo>
                    <a:lnTo>
                      <a:pt x="11813" y="186266"/>
                    </a:lnTo>
                    <a:lnTo>
                      <a:pt x="11788" y="186201"/>
                    </a:lnTo>
                    <a:lnTo>
                      <a:pt x="0" y="154714"/>
                    </a:lnTo>
                    <a:lnTo>
                      <a:pt x="9564" y="142832"/>
                    </a:lnTo>
                    <a:lnTo>
                      <a:pt x="16631" y="149501"/>
                    </a:lnTo>
                    <a:lnTo>
                      <a:pt x="19249" y="159855"/>
                    </a:lnTo>
                    <a:lnTo>
                      <a:pt x="27544" y="161681"/>
                    </a:lnTo>
                    <a:lnTo>
                      <a:pt x="39040" y="166344"/>
                    </a:lnTo>
                    <a:lnTo>
                      <a:pt x="49178" y="164663"/>
                    </a:lnTo>
                    <a:lnTo>
                      <a:pt x="66598" y="152447"/>
                    </a:lnTo>
                    <a:lnTo>
                      <a:pt x="71568" y="63165"/>
                    </a:lnTo>
                    <a:lnTo>
                      <a:pt x="76500" y="66835"/>
                    </a:lnTo>
                    <a:lnTo>
                      <a:pt x="86477" y="89898"/>
                    </a:lnTo>
                    <a:lnTo>
                      <a:pt x="83902" y="104616"/>
                    </a:lnTo>
                    <a:lnTo>
                      <a:pt x="87615" y="113141"/>
                    </a:lnTo>
                    <a:lnTo>
                      <a:pt x="101256" y="110792"/>
                    </a:lnTo>
                    <a:lnTo>
                      <a:pt x="111340" y="100083"/>
                    </a:lnTo>
                    <a:lnTo>
                      <a:pt x="120726" y="92888"/>
                    </a:lnTo>
                    <a:lnTo>
                      <a:pt x="126061" y="81343"/>
                    </a:lnTo>
                    <a:lnTo>
                      <a:pt x="135638" y="75819"/>
                    </a:lnTo>
                    <a:lnTo>
                      <a:pt x="143434" y="78831"/>
                    </a:lnTo>
                    <a:lnTo>
                      <a:pt x="152038" y="85694"/>
                    </a:lnTo>
                    <a:lnTo>
                      <a:pt x="167347" y="87041"/>
                    </a:lnTo>
                    <a:lnTo>
                      <a:pt x="179824" y="81526"/>
                    </a:lnTo>
                    <a:lnTo>
                      <a:pt x="182253" y="73993"/>
                    </a:lnTo>
                    <a:lnTo>
                      <a:pt x="186366" y="62442"/>
                    </a:lnTo>
                    <a:lnTo>
                      <a:pt x="196819" y="60607"/>
                    </a:lnTo>
                    <a:lnTo>
                      <a:pt x="203145" y="51568"/>
                    </a:lnTo>
                    <a:lnTo>
                      <a:pt x="210562" y="35492"/>
                    </a:lnTo>
                    <a:lnTo>
                      <a:pt x="228878" y="17576"/>
                    </a:lnTo>
                    <a:lnTo>
                      <a:pt x="257103" y="0"/>
                    </a:lnTo>
                    <a:lnTo>
                      <a:pt x="264865" y="344"/>
                    </a:lnTo>
                    <a:lnTo>
                      <a:pt x="273829" y="4547"/>
                    </a:lnTo>
                    <a:lnTo>
                      <a:pt x="280475" y="1704"/>
                    </a:lnTo>
                    <a:lnTo>
                      <a:pt x="290462" y="4237"/>
                    </a:lnTo>
                    <a:lnTo>
                      <a:pt x="297030" y="38479"/>
                    </a:lnTo>
                    <a:lnTo>
                      <a:pt x="300601" y="55772"/>
                    </a:lnTo>
                    <a:lnTo>
                      <a:pt x="294980" y="82772"/>
                    </a:lnTo>
                    <a:lnTo>
                      <a:pt x="295850" y="91501"/>
                    </a:lnTo>
                    <a:lnTo>
                      <a:pt x="286694" y="86939"/>
                    </a:lnTo>
                    <a:lnTo>
                      <a:pt x="281086" y="88599"/>
                    </a:lnTo>
                    <a:lnTo>
                      <a:pt x="278709" y="95637"/>
                    </a:lnTo>
                    <a:lnTo>
                      <a:pt x="272788" y="104674"/>
                    </a:lnTo>
                    <a:lnTo>
                      <a:pt x="272247" y="113059"/>
                    </a:lnTo>
                    <a:lnTo>
                      <a:pt x="282317" y="126346"/>
                    </a:lnTo>
                    <a:lnTo>
                      <a:pt x="293552" y="123875"/>
                    </a:lnTo>
                    <a:lnTo>
                      <a:pt x="298357" y="113156"/>
                    </a:lnTo>
                    <a:lnTo>
                      <a:pt x="312616" y="113552"/>
                    </a:lnTo>
                    <a:lnTo>
                      <a:pt x="306274" y="131146"/>
                    </a:lnTo>
                    <a:lnTo>
                      <a:pt x="302136" y="151267"/>
                    </a:lnTo>
                    <a:lnTo>
                      <a:pt x="296234" y="162144"/>
                    </a:lnTo>
                    <a:lnTo>
                      <a:pt x="282305" y="174206"/>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65" name="Polygon form 130"/>
              <p:cNvSpPr/>
              <p:nvPr/>
            </p:nvSpPr>
            <p:spPr>
              <a:xfrm>
                <a:off x="4462981" y="4826281"/>
                <a:ext cx="44640" cy="48189"/>
              </a:xfrm>
              <a:custGeom>
                <a:avLst/>
                <a:gdLst/>
                <a:ahLst/>
                <a:cxnLst/>
                <a:rect l="0" t="0" r="0" b="0"/>
                <a:pathLst>
                  <a:path w="44640" h="48189">
                    <a:moveTo>
                      <a:pt x="38821" y="7568"/>
                    </a:moveTo>
                    <a:lnTo>
                      <a:pt x="31317" y="0"/>
                    </a:lnTo>
                    <a:lnTo>
                      <a:pt x="22159" y="4831"/>
                    </a:lnTo>
                    <a:lnTo>
                      <a:pt x="11238" y="14179"/>
                    </a:lnTo>
                    <a:lnTo>
                      <a:pt x="0" y="29388"/>
                    </a:lnTo>
                    <a:lnTo>
                      <a:pt x="12301" y="48189"/>
                    </a:lnTo>
                    <a:lnTo>
                      <a:pt x="19155" y="45870"/>
                    </a:lnTo>
                    <a:lnTo>
                      <a:pt x="23269" y="38177"/>
                    </a:lnTo>
                    <a:lnTo>
                      <a:pt x="33969" y="34532"/>
                    </a:lnTo>
                    <a:lnTo>
                      <a:pt x="37854" y="26671"/>
                    </a:lnTo>
                    <a:lnTo>
                      <a:pt x="44640" y="14964"/>
                    </a:lnTo>
                    <a:lnTo>
                      <a:pt x="38821" y="7568"/>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66" name="Polygon form 131"/>
              <p:cNvSpPr/>
              <p:nvPr/>
            </p:nvSpPr>
            <p:spPr>
              <a:xfrm>
                <a:off x="4385347" y="4331741"/>
                <a:ext cx="231350" cy="235316"/>
              </a:xfrm>
              <a:custGeom>
                <a:avLst/>
                <a:gdLst/>
                <a:ahLst/>
                <a:cxnLst/>
                <a:rect l="0" t="0" r="0" b="0"/>
                <a:pathLst>
                  <a:path w="231350" h="235316">
                    <a:moveTo>
                      <a:pt x="218156" y="24295"/>
                    </a:moveTo>
                    <a:lnTo>
                      <a:pt x="227074" y="35177"/>
                    </a:lnTo>
                    <a:lnTo>
                      <a:pt x="231350" y="55823"/>
                    </a:lnTo>
                    <a:lnTo>
                      <a:pt x="227771" y="62387"/>
                    </a:lnTo>
                    <a:lnTo>
                      <a:pt x="223084" y="82054"/>
                    </a:lnTo>
                    <a:lnTo>
                      <a:pt x="226017" y="102203"/>
                    </a:lnTo>
                    <a:lnTo>
                      <a:pt x="219507" y="110617"/>
                    </a:lnTo>
                    <a:lnTo>
                      <a:pt x="212573" y="133135"/>
                    </a:lnTo>
                    <a:lnTo>
                      <a:pt x="222531" y="139499"/>
                    </a:lnTo>
                    <a:lnTo>
                      <a:pt x="162485" y="159081"/>
                    </a:lnTo>
                    <a:lnTo>
                      <a:pt x="163515" y="176357"/>
                    </a:lnTo>
                    <a:lnTo>
                      <a:pt x="148636" y="179570"/>
                    </a:lnTo>
                    <a:lnTo>
                      <a:pt x="137116" y="189149"/>
                    </a:lnTo>
                    <a:lnTo>
                      <a:pt x="134351" y="197538"/>
                    </a:lnTo>
                    <a:lnTo>
                      <a:pt x="127314" y="199393"/>
                    </a:lnTo>
                    <a:lnTo>
                      <a:pt x="109486" y="219201"/>
                    </a:lnTo>
                    <a:lnTo>
                      <a:pt x="97992" y="234803"/>
                    </a:lnTo>
                    <a:lnTo>
                      <a:pt x="91435" y="235316"/>
                    </a:lnTo>
                    <a:lnTo>
                      <a:pt x="85290" y="232479"/>
                    </a:lnTo>
                    <a:lnTo>
                      <a:pt x="63796" y="229672"/>
                    </a:lnTo>
                    <a:lnTo>
                      <a:pt x="60401" y="227838"/>
                    </a:lnTo>
                    <a:lnTo>
                      <a:pt x="60347" y="225828"/>
                    </a:lnTo>
                    <a:lnTo>
                      <a:pt x="52953" y="220318"/>
                    </a:lnTo>
                    <a:lnTo>
                      <a:pt x="40456" y="218842"/>
                    </a:lnTo>
                    <a:lnTo>
                      <a:pt x="24370" y="224241"/>
                    </a:lnTo>
                    <a:lnTo>
                      <a:pt x="12342" y="209048"/>
                    </a:lnTo>
                    <a:lnTo>
                      <a:pt x="0" y="189178"/>
                    </a:lnTo>
                    <a:lnTo>
                      <a:pt x="3405" y="112200"/>
                    </a:lnTo>
                    <a:lnTo>
                      <a:pt x="44068" y="112693"/>
                    </a:lnTo>
                    <a:lnTo>
                      <a:pt x="42665" y="104328"/>
                    </a:lnTo>
                    <a:lnTo>
                      <a:pt x="45853" y="95274"/>
                    </a:lnTo>
                    <a:lnTo>
                      <a:pt x="42748" y="83904"/>
                    </a:lnTo>
                    <a:lnTo>
                      <a:pt x="45306" y="72172"/>
                    </a:lnTo>
                    <a:lnTo>
                      <a:pt x="43440" y="64647"/>
                    </a:lnTo>
                    <a:lnTo>
                      <a:pt x="50181" y="65284"/>
                    </a:lnTo>
                    <a:lnTo>
                      <a:pt x="51097" y="72815"/>
                    </a:lnTo>
                    <a:lnTo>
                      <a:pt x="60291" y="72270"/>
                    </a:lnTo>
                    <a:lnTo>
                      <a:pt x="72660" y="74559"/>
                    </a:lnTo>
                    <a:lnTo>
                      <a:pt x="78868" y="85587"/>
                    </a:lnTo>
                    <a:lnTo>
                      <a:pt x="94428" y="89042"/>
                    </a:lnTo>
                    <a:lnTo>
                      <a:pt x="106638" y="81451"/>
                    </a:lnTo>
                    <a:lnTo>
                      <a:pt x="110606" y="94173"/>
                    </a:lnTo>
                    <a:lnTo>
                      <a:pt x="125473" y="97639"/>
                    </a:lnTo>
                    <a:lnTo>
                      <a:pt x="132300" y="108010"/>
                    </a:lnTo>
                    <a:lnTo>
                      <a:pt x="139811" y="121401"/>
                    </a:lnTo>
                    <a:lnTo>
                      <a:pt x="154742" y="121692"/>
                    </a:lnTo>
                    <a:lnTo>
                      <a:pt x="154120" y="95528"/>
                    </a:lnTo>
                    <a:lnTo>
                      <a:pt x="148590" y="99908"/>
                    </a:lnTo>
                    <a:lnTo>
                      <a:pt x="135260" y="90395"/>
                    </a:lnTo>
                    <a:lnTo>
                      <a:pt x="130125" y="86054"/>
                    </a:lnTo>
                    <a:lnTo>
                      <a:pt x="133349" y="61730"/>
                    </a:lnTo>
                    <a:lnTo>
                      <a:pt x="137688" y="33038"/>
                    </a:lnTo>
                    <a:lnTo>
                      <a:pt x="133588" y="22326"/>
                    </a:lnTo>
                    <a:lnTo>
                      <a:pt x="139586" y="6870"/>
                    </a:lnTo>
                    <a:lnTo>
                      <a:pt x="144925" y="3992"/>
                    </a:lnTo>
                    <a:lnTo>
                      <a:pt x="171427" y="0"/>
                    </a:lnTo>
                    <a:lnTo>
                      <a:pt x="179106" y="2500"/>
                    </a:lnTo>
                    <a:lnTo>
                      <a:pt x="187149" y="8712"/>
                    </a:lnTo>
                    <a:lnTo>
                      <a:pt x="194867" y="12811"/>
                    </a:lnTo>
                    <a:lnTo>
                      <a:pt x="207232" y="16953"/>
                    </a:lnTo>
                    <a:lnTo>
                      <a:pt x="218156" y="24295"/>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167" name="Polygon form 132"/>
              <p:cNvSpPr/>
              <p:nvPr/>
            </p:nvSpPr>
            <p:spPr>
              <a:xfrm>
                <a:off x="4449143" y="4508098"/>
                <a:ext cx="148139" cy="164051"/>
              </a:xfrm>
              <a:custGeom>
                <a:avLst/>
                <a:gdLst/>
                <a:ahLst/>
                <a:cxnLst/>
                <a:rect l="0" t="0" r="0" b="0"/>
                <a:pathLst>
                  <a:path w="148139" h="164051">
                    <a:moveTo>
                      <a:pt x="107577" y="163741"/>
                    </a:moveTo>
                    <a:lnTo>
                      <a:pt x="97590" y="161208"/>
                    </a:lnTo>
                    <a:lnTo>
                      <a:pt x="90944" y="164051"/>
                    </a:lnTo>
                    <a:lnTo>
                      <a:pt x="81980" y="159848"/>
                    </a:lnTo>
                    <a:lnTo>
                      <a:pt x="74219" y="159504"/>
                    </a:lnTo>
                    <a:lnTo>
                      <a:pt x="62744" y="148430"/>
                    </a:lnTo>
                    <a:lnTo>
                      <a:pt x="48170" y="144570"/>
                    </a:lnTo>
                    <a:lnTo>
                      <a:pt x="43471" y="129151"/>
                    </a:lnTo>
                    <a:lnTo>
                      <a:pt x="43931" y="120604"/>
                    </a:lnTo>
                    <a:lnTo>
                      <a:pt x="35855" y="117927"/>
                    </a:lnTo>
                    <a:lnTo>
                      <a:pt x="15536" y="91139"/>
                    </a:lnTo>
                    <a:lnTo>
                      <a:pt x="10188" y="77077"/>
                    </a:lnTo>
                    <a:lnTo>
                      <a:pt x="6518" y="72728"/>
                    </a:lnTo>
                    <a:lnTo>
                      <a:pt x="0" y="53314"/>
                    </a:lnTo>
                    <a:lnTo>
                      <a:pt x="21494" y="56121"/>
                    </a:lnTo>
                    <a:lnTo>
                      <a:pt x="27639" y="58958"/>
                    </a:lnTo>
                    <a:lnTo>
                      <a:pt x="34196" y="58445"/>
                    </a:lnTo>
                    <a:lnTo>
                      <a:pt x="45690" y="42844"/>
                    </a:lnTo>
                    <a:lnTo>
                      <a:pt x="63518" y="23036"/>
                    </a:lnTo>
                    <a:lnTo>
                      <a:pt x="70555" y="21180"/>
                    </a:lnTo>
                    <a:lnTo>
                      <a:pt x="73320" y="12792"/>
                    </a:lnTo>
                    <a:lnTo>
                      <a:pt x="84840" y="3213"/>
                    </a:lnTo>
                    <a:lnTo>
                      <a:pt x="99719" y="0"/>
                    </a:lnTo>
                    <a:lnTo>
                      <a:pt x="100533" y="9059"/>
                    </a:lnTo>
                    <a:lnTo>
                      <a:pt x="116758" y="8700"/>
                    </a:lnTo>
                    <a:lnTo>
                      <a:pt x="125492" y="13892"/>
                    </a:lnTo>
                    <a:lnTo>
                      <a:pt x="129357" y="19931"/>
                    </a:lnTo>
                    <a:lnTo>
                      <a:pt x="138501" y="21771"/>
                    </a:lnTo>
                    <a:lnTo>
                      <a:pt x="148139" y="29657"/>
                    </a:lnTo>
                    <a:lnTo>
                      <a:pt x="146375" y="60385"/>
                    </a:lnTo>
                    <a:lnTo>
                      <a:pt x="141566" y="77174"/>
                    </a:lnTo>
                    <a:lnTo>
                      <a:pt x="139572" y="95305"/>
                    </a:lnTo>
                    <a:lnTo>
                      <a:pt x="142190" y="102526"/>
                    </a:lnTo>
                    <a:lnTo>
                      <a:pt x="139048" y="116793"/>
                    </a:lnTo>
                    <a:lnTo>
                      <a:pt x="135994" y="118972"/>
                    </a:lnTo>
                    <a:lnTo>
                      <a:pt x="129713" y="136421"/>
                    </a:lnTo>
                    <a:lnTo>
                      <a:pt x="107577" y="163741"/>
                    </a:lnTo>
                    <a:close/>
                  </a:path>
                </a:pathLst>
              </a:custGeom>
              <a:solidFill>
                <a:srgbClr val="41AB5D">
                  <a:alpha val="100000"/>
                </a:srgbClr>
              </a:solidFill>
              <a:ln w="5400">
                <a:solidFill>
                  <a:srgbClr val="7F7F7F">
                    <a:alpha val="100000"/>
                  </a:srgbClr>
                </a:solidFill>
                <a:prstDash val="solid"/>
                <a:round/>
              </a:ln>
            </p:spPr>
            <p:txBody>
              <a:bodyPr/>
              <a:lstStyle/>
              <a:p/>
            </p:txBody>
          </p:sp>
          <p:sp>
            <p:nvSpPr>
              <p:cNvPr id="168" name="Polygon form 133"/>
              <p:cNvSpPr/>
              <p:nvPr/>
            </p:nvSpPr>
            <p:spPr>
              <a:xfrm>
                <a:off x="4230670" y="3038965"/>
                <a:ext cx="67853" cy="62079"/>
              </a:xfrm>
              <a:custGeom>
                <a:avLst/>
                <a:gdLst/>
                <a:ahLst/>
                <a:cxnLst/>
                <a:rect l="0" t="0" r="0" b="0"/>
                <a:pathLst>
                  <a:path w="67853" h="62079">
                    <a:moveTo>
                      <a:pt x="55752" y="8610"/>
                    </a:moveTo>
                    <a:lnTo>
                      <a:pt x="61961" y="8464"/>
                    </a:lnTo>
                    <a:lnTo>
                      <a:pt x="58671" y="19143"/>
                    </a:lnTo>
                    <a:lnTo>
                      <a:pt x="67853" y="28326"/>
                    </a:lnTo>
                    <a:lnTo>
                      <a:pt x="66408" y="39718"/>
                    </a:lnTo>
                    <a:lnTo>
                      <a:pt x="62433" y="40837"/>
                    </a:lnTo>
                    <a:lnTo>
                      <a:pt x="59400" y="43082"/>
                    </a:lnTo>
                    <a:lnTo>
                      <a:pt x="54271" y="48763"/>
                    </a:lnTo>
                    <a:lnTo>
                      <a:pt x="52894" y="62079"/>
                    </a:lnTo>
                    <a:lnTo>
                      <a:pt x="36727" y="53114"/>
                    </a:lnTo>
                    <a:lnTo>
                      <a:pt x="29341" y="43099"/>
                    </a:lnTo>
                    <a:lnTo>
                      <a:pt x="22305" y="37827"/>
                    </a:lnTo>
                    <a:lnTo>
                      <a:pt x="13638" y="28894"/>
                    </a:lnTo>
                    <a:lnTo>
                      <a:pt x="9305" y="21452"/>
                    </a:lnTo>
                    <a:lnTo>
                      <a:pt x="0" y="10253"/>
                    </a:lnTo>
                    <a:lnTo>
                      <a:pt x="2794" y="195"/>
                    </a:lnTo>
                    <a:lnTo>
                      <a:pt x="9384" y="5674"/>
                    </a:lnTo>
                    <a:lnTo>
                      <a:pt x="12685" y="624"/>
                    </a:lnTo>
                    <a:lnTo>
                      <a:pt x="20632" y="0"/>
                    </a:lnTo>
                    <a:lnTo>
                      <a:pt x="35694" y="3839"/>
                    </a:lnTo>
                    <a:lnTo>
                      <a:pt x="47502" y="3361"/>
                    </a:lnTo>
                    <a:lnTo>
                      <a:pt x="55752" y="8610"/>
                    </a:lnTo>
                    <a:close/>
                  </a:path>
                </a:pathLst>
              </a:custGeom>
              <a:solidFill>
                <a:srgbClr val="74C476">
                  <a:alpha val="100000"/>
                </a:srgbClr>
              </a:solidFill>
              <a:ln w="5400">
                <a:solidFill>
                  <a:srgbClr val="7F7F7F">
                    <a:alpha val="100000"/>
                  </a:srgbClr>
                </a:solidFill>
                <a:prstDash val="solid"/>
                <a:round/>
              </a:ln>
            </p:spPr>
            <p:txBody>
              <a:bodyPr/>
              <a:lstStyle/>
              <a:p/>
            </p:txBody>
          </p:sp>
          <p:sp>
            <p:nvSpPr>
              <p:cNvPr id="169" name="Polygon form 134"/>
              <p:cNvSpPr/>
              <p:nvPr/>
            </p:nvSpPr>
            <p:spPr>
              <a:xfrm>
                <a:off x="4334501" y="2771979"/>
                <a:ext cx="149022" cy="116221"/>
              </a:xfrm>
              <a:custGeom>
                <a:avLst/>
                <a:gdLst/>
                <a:ahLst/>
                <a:cxnLst/>
                <a:rect l="0" t="0" r="0" b="0"/>
                <a:pathLst>
                  <a:path w="149022" h="116221">
                    <a:moveTo>
                      <a:pt x="0" y="55927"/>
                    </a:moveTo>
                    <a:lnTo>
                      <a:pt x="15396" y="55810"/>
                    </a:lnTo>
                    <a:lnTo>
                      <a:pt x="31204" y="46389"/>
                    </a:lnTo>
                    <a:lnTo>
                      <a:pt x="32660" y="32693"/>
                    </a:lnTo>
                    <a:lnTo>
                      <a:pt x="44259" y="24705"/>
                    </a:lnTo>
                    <a:lnTo>
                      <a:pt x="40937" y="13927"/>
                    </a:lnTo>
                    <a:lnTo>
                      <a:pt x="49726" y="9670"/>
                    </a:lnTo>
                    <a:lnTo>
                      <a:pt x="64765" y="0"/>
                    </a:lnTo>
                    <a:lnTo>
                      <a:pt x="82274" y="5682"/>
                    </a:lnTo>
                    <a:lnTo>
                      <a:pt x="85631" y="11621"/>
                    </a:lnTo>
                    <a:lnTo>
                      <a:pt x="93259" y="8552"/>
                    </a:lnTo>
                    <a:lnTo>
                      <a:pt x="109646" y="13944"/>
                    </a:lnTo>
                    <a:lnTo>
                      <a:pt x="113436" y="25235"/>
                    </a:lnTo>
                    <a:lnTo>
                      <a:pt x="111353" y="31826"/>
                    </a:lnTo>
                    <a:lnTo>
                      <a:pt x="124351" y="47391"/>
                    </a:lnTo>
                    <a:lnTo>
                      <a:pt x="131669" y="51638"/>
                    </a:lnTo>
                    <a:lnTo>
                      <a:pt x="131577" y="56022"/>
                    </a:lnTo>
                    <a:lnTo>
                      <a:pt x="143141" y="60007"/>
                    </a:lnTo>
                    <a:lnTo>
                      <a:pt x="149022" y="66331"/>
                    </a:lnTo>
                    <a:lnTo>
                      <a:pt x="143865" y="71765"/>
                    </a:lnTo>
                    <a:lnTo>
                      <a:pt x="130808" y="71240"/>
                    </a:lnTo>
                    <a:lnTo>
                      <a:pt x="128165" y="73569"/>
                    </a:lnTo>
                    <a:lnTo>
                      <a:pt x="133461" y="81495"/>
                    </a:lnTo>
                    <a:lnTo>
                      <a:pt x="140366" y="96866"/>
                    </a:lnTo>
                    <a:lnTo>
                      <a:pt x="126778" y="98624"/>
                    </a:lnTo>
                    <a:lnTo>
                      <a:pt x="122769" y="104041"/>
                    </a:lnTo>
                    <a:lnTo>
                      <a:pt x="123918" y="116221"/>
                    </a:lnTo>
                    <a:lnTo>
                      <a:pt x="117039" y="114032"/>
                    </a:lnTo>
                    <a:lnTo>
                      <a:pt x="102579" y="115512"/>
                    </a:lnTo>
                    <a:lnTo>
                      <a:pt x="97356" y="109957"/>
                    </a:lnTo>
                    <a:lnTo>
                      <a:pt x="91979" y="114297"/>
                    </a:lnTo>
                    <a:lnTo>
                      <a:pt x="85290" y="110936"/>
                    </a:lnTo>
                    <a:lnTo>
                      <a:pt x="72429" y="110715"/>
                    </a:lnTo>
                    <a:lnTo>
                      <a:pt x="53411" y="105281"/>
                    </a:lnTo>
                    <a:lnTo>
                      <a:pt x="36760" y="103704"/>
                    </a:lnTo>
                    <a:lnTo>
                      <a:pt x="24293" y="104472"/>
                    </a:lnTo>
                    <a:lnTo>
                      <a:pt x="16344" y="111175"/>
                    </a:lnTo>
                    <a:lnTo>
                      <a:pt x="8711" y="112252"/>
                    </a:lnTo>
                    <a:lnTo>
                      <a:pt x="6905" y="101511"/>
                    </a:lnTo>
                    <a:lnTo>
                      <a:pt x="360" y="90413"/>
                    </a:lnTo>
                    <a:lnTo>
                      <a:pt x="9317" y="85316"/>
                    </a:lnTo>
                    <a:lnTo>
                      <a:pt x="8017" y="75692"/>
                    </a:lnTo>
                    <a:lnTo>
                      <a:pt x="2246" y="66591"/>
                    </a:lnTo>
                    <a:lnTo>
                      <a:pt x="0" y="55927"/>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170" name="Polygon form 135"/>
              <p:cNvSpPr/>
              <p:nvPr/>
            </p:nvSpPr>
            <p:spPr>
              <a:xfrm>
                <a:off x="4297508" y="3099871"/>
                <a:ext cx="33302" cy="73909"/>
              </a:xfrm>
              <a:custGeom>
                <a:avLst/>
                <a:gdLst/>
                <a:ahLst/>
                <a:cxnLst/>
                <a:rect l="0" t="0" r="0" b="0"/>
                <a:pathLst>
                  <a:path w="33302" h="73909">
                    <a:moveTo>
                      <a:pt x="23221" y="19929"/>
                    </a:moveTo>
                    <a:lnTo>
                      <a:pt x="21766" y="28179"/>
                    </a:lnTo>
                    <a:lnTo>
                      <a:pt x="25219" y="38508"/>
                    </a:lnTo>
                    <a:lnTo>
                      <a:pt x="33063" y="44298"/>
                    </a:lnTo>
                    <a:lnTo>
                      <a:pt x="33302" y="50650"/>
                    </a:lnTo>
                    <a:lnTo>
                      <a:pt x="27893" y="54226"/>
                    </a:lnTo>
                    <a:lnTo>
                      <a:pt x="27544" y="62091"/>
                    </a:lnTo>
                    <a:lnTo>
                      <a:pt x="20346" y="73909"/>
                    </a:lnTo>
                    <a:lnTo>
                      <a:pt x="17186" y="72254"/>
                    </a:lnTo>
                    <a:lnTo>
                      <a:pt x="16372" y="66943"/>
                    </a:lnTo>
                    <a:lnTo>
                      <a:pt x="5880" y="58947"/>
                    </a:lnTo>
                    <a:lnTo>
                      <a:pt x="3361" y="47456"/>
                    </a:lnTo>
                    <a:lnTo>
                      <a:pt x="3416" y="30957"/>
                    </a:lnTo>
                    <a:lnTo>
                      <a:pt x="5144" y="23430"/>
                    </a:lnTo>
                    <a:lnTo>
                      <a:pt x="1860" y="19660"/>
                    </a:lnTo>
                    <a:lnTo>
                      <a:pt x="0" y="11989"/>
                    </a:lnTo>
                    <a:lnTo>
                      <a:pt x="6474" y="0"/>
                    </a:lnTo>
                    <a:lnTo>
                      <a:pt x="8001" y="4531"/>
                    </a:lnTo>
                    <a:lnTo>
                      <a:pt x="12488" y="2333"/>
                    </a:lnTo>
                    <a:lnTo>
                      <a:pt x="16810" y="8768"/>
                    </a:lnTo>
                    <a:lnTo>
                      <a:pt x="21216" y="11188"/>
                    </a:lnTo>
                    <a:lnTo>
                      <a:pt x="23221" y="19929"/>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171" name="Polygon form 136"/>
              <p:cNvSpPr/>
              <p:nvPr/>
            </p:nvSpPr>
            <p:spPr>
              <a:xfrm>
                <a:off x="2228901" y="3662573"/>
                <a:ext cx="31668" cy="65797"/>
              </a:xfrm>
              <a:custGeom>
                <a:avLst/>
                <a:gdLst/>
                <a:ahLst/>
                <a:cxnLst/>
                <a:rect l="0" t="0" r="0" b="0"/>
                <a:pathLst>
                  <a:path w="31668" h="65797">
                    <a:moveTo>
                      <a:pt x="9415" y="17035"/>
                    </a:moveTo>
                    <a:lnTo>
                      <a:pt x="9895" y="13306"/>
                    </a:lnTo>
                    <a:lnTo>
                      <a:pt x="12421" y="12207"/>
                    </a:lnTo>
                    <a:lnTo>
                      <a:pt x="15406" y="15300"/>
                    </a:lnTo>
                    <a:lnTo>
                      <a:pt x="24907" y="227"/>
                    </a:lnTo>
                    <a:lnTo>
                      <a:pt x="28616" y="0"/>
                    </a:lnTo>
                    <a:lnTo>
                      <a:pt x="28046" y="3712"/>
                    </a:lnTo>
                    <a:lnTo>
                      <a:pt x="31668" y="3932"/>
                    </a:lnTo>
                    <a:lnTo>
                      <a:pt x="30176" y="10800"/>
                    </a:lnTo>
                    <a:lnTo>
                      <a:pt x="25232" y="21651"/>
                    </a:lnTo>
                    <a:lnTo>
                      <a:pt x="26274" y="25610"/>
                    </a:lnTo>
                    <a:lnTo>
                      <a:pt x="22788" y="34606"/>
                    </a:lnTo>
                    <a:lnTo>
                      <a:pt x="23619" y="37058"/>
                    </a:lnTo>
                    <a:lnTo>
                      <a:pt x="19374" y="49786"/>
                    </a:lnTo>
                    <a:lnTo>
                      <a:pt x="14547" y="56404"/>
                    </a:lnTo>
                    <a:lnTo>
                      <a:pt x="10934" y="57121"/>
                    </a:lnTo>
                    <a:lnTo>
                      <a:pt x="5776" y="65797"/>
                    </a:lnTo>
                    <a:lnTo>
                      <a:pt x="0" y="65660"/>
                    </a:lnTo>
                    <a:lnTo>
                      <a:pt x="5959" y="37105"/>
                    </a:lnTo>
                    <a:lnTo>
                      <a:pt x="9415" y="17035"/>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172" name="Polygon form 137"/>
              <p:cNvSpPr/>
              <p:nvPr/>
            </p:nvSpPr>
            <p:spPr>
              <a:xfrm>
                <a:off x="2598431" y="4373911"/>
                <a:ext cx="250958" cy="325729"/>
              </a:xfrm>
              <a:custGeom>
                <a:avLst/>
                <a:gdLst/>
                <a:ahLst/>
                <a:cxnLst/>
                <a:rect l="0" t="0" r="0" b="0"/>
                <a:pathLst>
                  <a:path w="250958" h="325729">
                    <a:moveTo>
                      <a:pt x="160434" y="302719"/>
                    </a:moveTo>
                    <a:lnTo>
                      <a:pt x="138542" y="302199"/>
                    </a:lnTo>
                    <a:lnTo>
                      <a:pt x="134120" y="322238"/>
                    </a:lnTo>
                    <a:lnTo>
                      <a:pt x="120202" y="304668"/>
                    </a:lnTo>
                    <a:lnTo>
                      <a:pt x="94344" y="299242"/>
                    </a:lnTo>
                    <a:lnTo>
                      <a:pt x="81981" y="321988"/>
                    </a:lnTo>
                    <a:lnTo>
                      <a:pt x="68820" y="325729"/>
                    </a:lnTo>
                    <a:lnTo>
                      <a:pt x="55925" y="291777"/>
                    </a:lnTo>
                    <a:lnTo>
                      <a:pt x="41457" y="264222"/>
                    </a:lnTo>
                    <a:lnTo>
                      <a:pt x="44056" y="240091"/>
                    </a:lnTo>
                    <a:lnTo>
                      <a:pt x="32520" y="229812"/>
                    </a:lnTo>
                    <a:lnTo>
                      <a:pt x="27537" y="211962"/>
                    </a:lnTo>
                    <a:lnTo>
                      <a:pt x="15885" y="195274"/>
                    </a:lnTo>
                    <a:lnTo>
                      <a:pt x="24764" y="168230"/>
                    </a:lnTo>
                    <a:lnTo>
                      <a:pt x="14003" y="147509"/>
                    </a:lnTo>
                    <a:lnTo>
                      <a:pt x="17517" y="139078"/>
                    </a:lnTo>
                    <a:lnTo>
                      <a:pt x="13030" y="129928"/>
                    </a:lnTo>
                    <a:lnTo>
                      <a:pt x="19304" y="117386"/>
                    </a:lnTo>
                    <a:lnTo>
                      <a:pt x="17555" y="96239"/>
                    </a:lnTo>
                    <a:lnTo>
                      <a:pt x="16851" y="78757"/>
                    </a:lnTo>
                    <a:lnTo>
                      <a:pt x="20279" y="70286"/>
                    </a:lnTo>
                    <a:lnTo>
                      <a:pt x="0" y="30505"/>
                    </a:lnTo>
                    <a:lnTo>
                      <a:pt x="14717" y="32423"/>
                    </a:lnTo>
                    <a:lnTo>
                      <a:pt x="24750" y="31751"/>
                    </a:lnTo>
                    <a:lnTo>
                      <a:pt x="28538" y="24183"/>
                    </a:lnTo>
                    <a:lnTo>
                      <a:pt x="44921" y="13915"/>
                    </a:lnTo>
                    <a:lnTo>
                      <a:pt x="54591" y="4479"/>
                    </a:lnTo>
                    <a:lnTo>
                      <a:pt x="79961" y="0"/>
                    </a:lnTo>
                    <a:lnTo>
                      <a:pt x="79153" y="18600"/>
                    </a:lnTo>
                    <a:lnTo>
                      <a:pt x="82252" y="28099"/>
                    </a:lnTo>
                    <a:lnTo>
                      <a:pt x="81945" y="44732"/>
                    </a:lnTo>
                    <a:lnTo>
                      <a:pt x="104958" y="66641"/>
                    </a:lnTo>
                    <a:lnTo>
                      <a:pt x="127159" y="70434"/>
                    </a:lnTo>
                    <a:lnTo>
                      <a:pt x="135611" y="79570"/>
                    </a:lnTo>
                    <a:lnTo>
                      <a:pt x="149211" y="84288"/>
                    </a:lnTo>
                    <a:lnTo>
                      <a:pt x="157895" y="91352"/>
                    </a:lnTo>
                    <a:lnTo>
                      <a:pt x="170135" y="90941"/>
                    </a:lnTo>
                    <a:lnTo>
                      <a:pt x="182082" y="98106"/>
                    </a:lnTo>
                    <a:lnTo>
                      <a:pt x="184200" y="112357"/>
                    </a:lnTo>
                    <a:lnTo>
                      <a:pt x="188646" y="119505"/>
                    </a:lnTo>
                    <a:lnTo>
                      <a:pt x="189892" y="130137"/>
                    </a:lnTo>
                    <a:lnTo>
                      <a:pt x="184261" y="130634"/>
                    </a:lnTo>
                    <a:lnTo>
                      <a:pt x="194550" y="159235"/>
                    </a:lnTo>
                    <a:lnTo>
                      <a:pt x="231803" y="159665"/>
                    </a:lnTo>
                    <a:lnTo>
                      <a:pt x="230391" y="173930"/>
                    </a:lnTo>
                    <a:lnTo>
                      <a:pt x="233473" y="183612"/>
                    </a:lnTo>
                    <a:lnTo>
                      <a:pt x="244758" y="190347"/>
                    </a:lnTo>
                    <a:lnTo>
                      <a:pt x="250958" y="205568"/>
                    </a:lnTo>
                    <a:lnTo>
                      <a:pt x="249696" y="225004"/>
                    </a:lnTo>
                    <a:lnTo>
                      <a:pt x="245673" y="235878"/>
                    </a:lnTo>
                    <a:lnTo>
                      <a:pt x="249192" y="249865"/>
                    </a:lnTo>
                    <a:lnTo>
                      <a:pt x="243812" y="255064"/>
                    </a:lnTo>
                    <a:lnTo>
                      <a:pt x="242560" y="247486"/>
                    </a:lnTo>
                    <a:lnTo>
                      <a:pt x="223146" y="235233"/>
                    </a:lnTo>
                    <a:lnTo>
                      <a:pt x="205251" y="235222"/>
                    </a:lnTo>
                    <a:lnTo>
                      <a:pt x="172651" y="243049"/>
                    </a:lnTo>
                    <a:lnTo>
                      <a:pt x="166282" y="264947"/>
                    </a:lnTo>
                    <a:lnTo>
                      <a:pt x="167602" y="278226"/>
                    </a:lnTo>
                    <a:lnTo>
                      <a:pt x="164282" y="307929"/>
                    </a:lnTo>
                    <a:lnTo>
                      <a:pt x="160434" y="302719"/>
                    </a:lnTo>
                    <a:close/>
                  </a:path>
                </a:pathLst>
              </a:custGeom>
              <a:solidFill>
                <a:srgbClr val="74C476">
                  <a:alpha val="100000"/>
                </a:srgbClr>
              </a:solidFill>
              <a:ln w="5400">
                <a:solidFill>
                  <a:srgbClr val="7F7F7F">
                    <a:alpha val="100000"/>
                  </a:srgbClr>
                </a:solidFill>
                <a:prstDash val="solid"/>
                <a:round/>
              </a:ln>
            </p:spPr>
            <p:txBody>
              <a:bodyPr/>
              <a:lstStyle/>
              <a:p/>
            </p:txBody>
          </p:sp>
          <p:sp>
            <p:nvSpPr>
              <p:cNvPr id="173" name="Polygon form 138"/>
              <p:cNvSpPr/>
              <p:nvPr/>
            </p:nvSpPr>
            <p:spPr>
              <a:xfrm>
                <a:off x="2505108" y="4002315"/>
                <a:ext cx="771868" cy="957735"/>
              </a:xfrm>
              <a:custGeom>
                <a:avLst/>
                <a:gdLst/>
                <a:ahLst/>
                <a:cxnLst/>
                <a:rect l="0" t="0" r="0" b="0"/>
                <a:pathLst>
                  <a:path w="771868" h="957735">
                    <a:moveTo>
                      <a:pt x="385352" y="873012"/>
                    </a:moveTo>
                    <a:lnTo>
                      <a:pt x="404104" y="838916"/>
                    </a:lnTo>
                    <a:lnTo>
                      <a:pt x="421151" y="814588"/>
                    </a:lnTo>
                    <a:lnTo>
                      <a:pt x="432105" y="804307"/>
                    </a:lnTo>
                    <a:lnTo>
                      <a:pt x="445782" y="790432"/>
                    </a:lnTo>
                    <a:lnTo>
                      <a:pt x="443224" y="770864"/>
                    </a:lnTo>
                    <a:lnTo>
                      <a:pt x="431694" y="756934"/>
                    </a:lnTo>
                    <a:lnTo>
                      <a:pt x="423049" y="761840"/>
                    </a:lnTo>
                    <a:lnTo>
                      <a:pt x="424682" y="747612"/>
                    </a:lnTo>
                    <a:lnTo>
                      <a:pt x="425179" y="733060"/>
                    </a:lnTo>
                    <a:lnTo>
                      <a:pt x="423318" y="719582"/>
                    </a:lnTo>
                    <a:lnTo>
                      <a:pt x="415882" y="715276"/>
                    </a:lnTo>
                    <a:lnTo>
                      <a:pt x="409316" y="719393"/>
                    </a:lnTo>
                    <a:lnTo>
                      <a:pt x="402094" y="718456"/>
                    </a:lnTo>
                    <a:lnTo>
                      <a:pt x="398567" y="709059"/>
                    </a:lnTo>
                    <a:lnTo>
                      <a:pt x="393764" y="686606"/>
                    </a:lnTo>
                    <a:lnTo>
                      <a:pt x="389231" y="679347"/>
                    </a:lnTo>
                    <a:lnTo>
                      <a:pt x="375482" y="672962"/>
                    </a:lnTo>
                    <a:lnTo>
                      <a:pt x="368332" y="677932"/>
                    </a:lnTo>
                    <a:lnTo>
                      <a:pt x="347570" y="673631"/>
                    </a:lnTo>
                    <a:lnTo>
                      <a:pt x="344503" y="640226"/>
                    </a:lnTo>
                    <a:lnTo>
                      <a:pt x="337135" y="626660"/>
                    </a:lnTo>
                    <a:lnTo>
                      <a:pt x="342515" y="621462"/>
                    </a:lnTo>
                    <a:lnTo>
                      <a:pt x="338997" y="607475"/>
                    </a:lnTo>
                    <a:lnTo>
                      <a:pt x="343020" y="596600"/>
                    </a:lnTo>
                    <a:lnTo>
                      <a:pt x="344282" y="577164"/>
                    </a:lnTo>
                    <a:lnTo>
                      <a:pt x="338081" y="561944"/>
                    </a:lnTo>
                    <a:lnTo>
                      <a:pt x="326797" y="555208"/>
                    </a:lnTo>
                    <a:lnTo>
                      <a:pt x="323714" y="545527"/>
                    </a:lnTo>
                    <a:lnTo>
                      <a:pt x="325127" y="531261"/>
                    </a:lnTo>
                    <a:lnTo>
                      <a:pt x="287873" y="530832"/>
                    </a:lnTo>
                    <a:lnTo>
                      <a:pt x="277585" y="502231"/>
                    </a:lnTo>
                    <a:lnTo>
                      <a:pt x="283215" y="501734"/>
                    </a:lnTo>
                    <a:lnTo>
                      <a:pt x="281969" y="491101"/>
                    </a:lnTo>
                    <a:lnTo>
                      <a:pt x="277524" y="483953"/>
                    </a:lnTo>
                    <a:lnTo>
                      <a:pt x="275405" y="469702"/>
                    </a:lnTo>
                    <a:lnTo>
                      <a:pt x="263458" y="462538"/>
                    </a:lnTo>
                    <a:lnTo>
                      <a:pt x="251218" y="462948"/>
                    </a:lnTo>
                    <a:lnTo>
                      <a:pt x="242534" y="455884"/>
                    </a:lnTo>
                    <a:lnTo>
                      <a:pt x="228934" y="451166"/>
                    </a:lnTo>
                    <a:lnTo>
                      <a:pt x="220482" y="442030"/>
                    </a:lnTo>
                    <a:lnTo>
                      <a:pt x="198281" y="438237"/>
                    </a:lnTo>
                    <a:lnTo>
                      <a:pt x="175268" y="416328"/>
                    </a:lnTo>
                    <a:lnTo>
                      <a:pt x="175575" y="399695"/>
                    </a:lnTo>
                    <a:lnTo>
                      <a:pt x="172476" y="390196"/>
                    </a:lnTo>
                    <a:lnTo>
                      <a:pt x="173285" y="371596"/>
                    </a:lnTo>
                    <a:lnTo>
                      <a:pt x="147915" y="376075"/>
                    </a:lnTo>
                    <a:lnTo>
                      <a:pt x="138244" y="385511"/>
                    </a:lnTo>
                    <a:lnTo>
                      <a:pt x="121861" y="395779"/>
                    </a:lnTo>
                    <a:lnTo>
                      <a:pt x="118073" y="403348"/>
                    </a:lnTo>
                    <a:lnTo>
                      <a:pt x="108040" y="404019"/>
                    </a:lnTo>
                    <a:lnTo>
                      <a:pt x="93323" y="402101"/>
                    </a:lnTo>
                    <a:lnTo>
                      <a:pt x="82629" y="406530"/>
                    </a:lnTo>
                    <a:lnTo>
                      <a:pt x="73497" y="403789"/>
                    </a:lnTo>
                    <a:lnTo>
                      <a:pt x="71963" y="365951"/>
                    </a:lnTo>
                    <a:lnTo>
                      <a:pt x="56936" y="380820"/>
                    </a:lnTo>
                    <a:lnTo>
                      <a:pt x="39595" y="380388"/>
                    </a:lnTo>
                    <a:lnTo>
                      <a:pt x="31202" y="367172"/>
                    </a:lnTo>
                    <a:lnTo>
                      <a:pt x="18082" y="365878"/>
                    </a:lnTo>
                    <a:lnTo>
                      <a:pt x="21474" y="355112"/>
                    </a:lnTo>
                    <a:lnTo>
                      <a:pt x="9554" y="340039"/>
                    </a:lnTo>
                    <a:lnTo>
                      <a:pt x="0" y="317620"/>
                    </a:lnTo>
                    <a:lnTo>
                      <a:pt x="4926" y="313002"/>
                    </a:lnTo>
                    <a:lnTo>
                      <a:pt x="4328" y="302448"/>
                    </a:lnTo>
                    <a:lnTo>
                      <a:pt x="15848" y="295136"/>
                    </a:lnTo>
                    <a:lnTo>
                      <a:pt x="13233" y="281646"/>
                    </a:lnTo>
                    <a:lnTo>
                      <a:pt x="17868" y="272920"/>
                    </a:lnTo>
                    <a:lnTo>
                      <a:pt x="18812" y="261256"/>
                    </a:lnTo>
                    <a:lnTo>
                      <a:pt x="40717" y="244132"/>
                    </a:lnTo>
                    <a:lnTo>
                      <a:pt x="56713" y="239247"/>
                    </a:lnTo>
                    <a:lnTo>
                      <a:pt x="59237" y="235486"/>
                    </a:lnTo>
                    <a:lnTo>
                      <a:pt x="77039" y="236565"/>
                    </a:lnTo>
                    <a:lnTo>
                      <a:pt x="84465" y="168264"/>
                    </a:lnTo>
                    <a:lnTo>
                      <a:pt x="84828" y="157467"/>
                    </a:lnTo>
                    <a:lnTo>
                      <a:pt x="81651" y="143214"/>
                    </a:lnTo>
                    <a:lnTo>
                      <a:pt x="72870" y="134132"/>
                    </a:lnTo>
                    <a:lnTo>
                      <a:pt x="72994" y="116034"/>
                    </a:lnTo>
                    <a:lnTo>
                      <a:pt x="84130" y="111940"/>
                    </a:lnTo>
                    <a:lnTo>
                      <a:pt x="88065" y="114519"/>
                    </a:lnTo>
                    <a:lnTo>
                      <a:pt x="88786" y="104986"/>
                    </a:lnTo>
                    <a:lnTo>
                      <a:pt x="77239" y="102398"/>
                    </a:lnTo>
                    <a:lnTo>
                      <a:pt x="77153" y="86814"/>
                    </a:lnTo>
                    <a:lnTo>
                      <a:pt x="115602" y="87447"/>
                    </a:lnTo>
                    <a:lnTo>
                      <a:pt x="122241" y="78893"/>
                    </a:lnTo>
                    <a:lnTo>
                      <a:pt x="127621" y="86786"/>
                    </a:lnTo>
                    <a:lnTo>
                      <a:pt x="131324" y="101446"/>
                    </a:lnTo>
                    <a:lnTo>
                      <a:pt x="135074" y="98390"/>
                    </a:lnTo>
                    <a:lnTo>
                      <a:pt x="145853" y="111535"/>
                    </a:lnTo>
                    <a:lnTo>
                      <a:pt x="161209" y="109940"/>
                    </a:lnTo>
                    <a:lnTo>
                      <a:pt x="165078" y="102353"/>
                    </a:lnTo>
                    <a:lnTo>
                      <a:pt x="179805" y="96584"/>
                    </a:lnTo>
                    <a:lnTo>
                      <a:pt x="187970" y="92528"/>
                    </a:lnTo>
                    <a:lnTo>
                      <a:pt x="190382" y="82039"/>
                    </a:lnTo>
                    <a:lnTo>
                      <a:pt x="204574" y="75022"/>
                    </a:lnTo>
                    <a:lnTo>
                      <a:pt x="203586" y="69816"/>
                    </a:lnTo>
                    <a:lnTo>
                      <a:pt x="186904" y="67643"/>
                    </a:lnTo>
                    <a:lnTo>
                      <a:pt x="184456" y="52029"/>
                    </a:lnTo>
                    <a:lnTo>
                      <a:pt x="185634" y="35418"/>
                    </a:lnTo>
                    <a:lnTo>
                      <a:pt x="176976" y="28955"/>
                    </a:lnTo>
                    <a:lnTo>
                      <a:pt x="180734" y="26690"/>
                    </a:lnTo>
                    <a:lnTo>
                      <a:pt x="195246" y="29925"/>
                    </a:lnTo>
                    <a:lnTo>
                      <a:pt x="210768" y="36179"/>
                    </a:lnTo>
                    <a:lnTo>
                      <a:pt x="216608" y="30351"/>
                    </a:lnTo>
                    <a:lnTo>
                      <a:pt x="230889" y="26573"/>
                    </a:lnTo>
                    <a:lnTo>
                      <a:pt x="253196" y="17416"/>
                    </a:lnTo>
                    <a:lnTo>
                      <a:pt x="260684" y="8022"/>
                    </a:lnTo>
                    <a:lnTo>
                      <a:pt x="258295" y="1038"/>
                    </a:lnTo>
                    <a:lnTo>
                      <a:pt x="268575" y="0"/>
                    </a:lnTo>
                    <a:lnTo>
                      <a:pt x="272980" y="5713"/>
                    </a:lnTo>
                    <a:lnTo>
                      <a:pt x="270095" y="16542"/>
                    </a:lnTo>
                    <a:lnTo>
                      <a:pt x="276764" y="20312"/>
                    </a:lnTo>
                    <a:lnTo>
                      <a:pt x="280991" y="31802"/>
                    </a:lnTo>
                    <a:lnTo>
                      <a:pt x="275319" y="40478"/>
                    </a:lnTo>
                    <a:lnTo>
                      <a:pt x="271768" y="61486"/>
                    </a:lnTo>
                    <a:lnTo>
                      <a:pt x="276626" y="73981"/>
                    </a:lnTo>
                    <a:lnTo>
                      <a:pt x="277915" y="85408"/>
                    </a:lnTo>
                    <a:lnTo>
                      <a:pt x="289948" y="97006"/>
                    </a:lnTo>
                    <a:lnTo>
                      <a:pt x="299627" y="98242"/>
                    </a:lnTo>
                    <a:lnTo>
                      <a:pt x="301849" y="93414"/>
                    </a:lnTo>
                    <a:lnTo>
                      <a:pt x="308096" y="92357"/>
                    </a:lnTo>
                    <a:lnTo>
                      <a:pt x="317068" y="88046"/>
                    </a:lnTo>
                    <a:lnTo>
                      <a:pt x="323555" y="81503"/>
                    </a:lnTo>
                    <a:lnTo>
                      <a:pt x="334448" y="83612"/>
                    </a:lnTo>
                    <a:lnTo>
                      <a:pt x="339260" y="82739"/>
                    </a:lnTo>
                    <a:lnTo>
                      <a:pt x="349969" y="84773"/>
                    </a:lnTo>
                    <a:lnTo>
                      <a:pt x="351803" y="79746"/>
                    </a:lnTo>
                    <a:lnTo>
                      <a:pt x="348552" y="74846"/>
                    </a:lnTo>
                    <a:lnTo>
                      <a:pt x="350623" y="67721"/>
                    </a:lnTo>
                    <a:lnTo>
                      <a:pt x="358556" y="69926"/>
                    </a:lnTo>
                    <a:lnTo>
                      <a:pt x="367908" y="67432"/>
                    </a:lnTo>
                    <a:lnTo>
                      <a:pt x="379141" y="72668"/>
                    </a:lnTo>
                    <a:lnTo>
                      <a:pt x="387697" y="77757"/>
                    </a:lnTo>
                    <a:lnTo>
                      <a:pt x="393888" y="71104"/>
                    </a:lnTo>
                    <a:lnTo>
                      <a:pt x="398289" y="72141"/>
                    </a:lnTo>
                    <a:lnTo>
                      <a:pt x="400897" y="79063"/>
                    </a:lnTo>
                    <a:lnTo>
                      <a:pt x="410366" y="77325"/>
                    </a:lnTo>
                    <a:lnTo>
                      <a:pt x="418046" y="68011"/>
                    </a:lnTo>
                    <a:lnTo>
                      <a:pt x="424384" y="49944"/>
                    </a:lnTo>
                    <a:lnTo>
                      <a:pt x="436494" y="27517"/>
                    </a:lnTo>
                    <a:lnTo>
                      <a:pt x="443236" y="26381"/>
                    </a:lnTo>
                    <a:lnTo>
                      <a:pt x="447835" y="39966"/>
                    </a:lnTo>
                    <a:lnTo>
                      <a:pt x="458281" y="82886"/>
                    </a:lnTo>
                    <a:lnTo>
                      <a:pt x="468798" y="86950"/>
                    </a:lnTo>
                    <a:lnTo>
                      <a:pt x="469210" y="103873"/>
                    </a:lnTo>
                    <a:lnTo>
                      <a:pt x="454296" y="124051"/>
                    </a:lnTo>
                    <a:lnTo>
                      <a:pt x="460433" y="131443"/>
                    </a:lnTo>
                    <a:lnTo>
                      <a:pt x="495332" y="135288"/>
                    </a:lnTo>
                    <a:lnTo>
                      <a:pt x="496134" y="159838"/>
                    </a:lnTo>
                    <a:lnTo>
                      <a:pt x="511055" y="143759"/>
                    </a:lnTo>
                    <a:lnTo>
                      <a:pt x="535928" y="152540"/>
                    </a:lnTo>
                    <a:lnTo>
                      <a:pt x="568799" y="167442"/>
                    </a:lnTo>
                    <a:lnTo>
                      <a:pt x="578553" y="181748"/>
                    </a:lnTo>
                    <a:lnTo>
                      <a:pt x="575466" y="195279"/>
                    </a:lnTo>
                    <a:lnTo>
                      <a:pt x="598325" y="187710"/>
                    </a:lnTo>
                    <a:lnTo>
                      <a:pt x="636874" y="200548"/>
                    </a:lnTo>
                    <a:lnTo>
                      <a:pt x="666340" y="199543"/>
                    </a:lnTo>
                    <a:lnTo>
                      <a:pt x="695768" y="219645"/>
                    </a:lnTo>
                    <a:lnTo>
                      <a:pt x="721399" y="246855"/>
                    </a:lnTo>
                    <a:lnTo>
                      <a:pt x="736713" y="253830"/>
                    </a:lnTo>
                    <a:lnTo>
                      <a:pt x="753584" y="254756"/>
                    </a:lnTo>
                    <a:lnTo>
                      <a:pt x="760872" y="262405"/>
                    </a:lnTo>
                    <a:lnTo>
                      <a:pt x="768232" y="293339"/>
                    </a:lnTo>
                    <a:lnTo>
                      <a:pt x="771868" y="308034"/>
                    </a:lnTo>
                    <a:lnTo>
                      <a:pt x="765214" y="348258"/>
                    </a:lnTo>
                    <a:lnTo>
                      <a:pt x="755763" y="364184"/>
                    </a:lnTo>
                    <a:lnTo>
                      <a:pt x="729435" y="398193"/>
                    </a:lnTo>
                    <a:lnTo>
                      <a:pt x="718193" y="425787"/>
                    </a:lnTo>
                    <a:lnTo>
                      <a:pt x="704770" y="446998"/>
                    </a:lnTo>
                    <a:lnTo>
                      <a:pt x="699914" y="447513"/>
                    </a:lnTo>
                    <a:lnTo>
                      <a:pt x="695424" y="465470"/>
                    </a:lnTo>
                    <a:lnTo>
                      <a:pt x="699500" y="511075"/>
                    </a:lnTo>
                    <a:lnTo>
                      <a:pt x="696579" y="548653"/>
                    </a:lnTo>
                    <a:lnTo>
                      <a:pt x="695666" y="564727"/>
                    </a:lnTo>
                    <a:lnTo>
                      <a:pt x="690265" y="574401"/>
                    </a:lnTo>
                    <a:lnTo>
                      <a:pt x="689381" y="606988"/>
                    </a:lnTo>
                    <a:lnTo>
                      <a:pt x="672598" y="639026"/>
                    </a:lnTo>
                    <a:lnTo>
                      <a:pt x="671636" y="664223"/>
                    </a:lnTo>
                    <a:lnTo>
                      <a:pt x="657182" y="675002"/>
                    </a:lnTo>
                    <a:lnTo>
                      <a:pt x="654165" y="689670"/>
                    </a:lnTo>
                    <a:lnTo>
                      <a:pt x="633460" y="689932"/>
                    </a:lnTo>
                    <a:lnTo>
                      <a:pt x="604506" y="699784"/>
                    </a:lnTo>
                    <a:lnTo>
                      <a:pt x="592322" y="710862"/>
                    </a:lnTo>
                    <a:lnTo>
                      <a:pt x="571880" y="718363"/>
                    </a:lnTo>
                    <a:lnTo>
                      <a:pt x="551932" y="738213"/>
                    </a:lnTo>
                    <a:lnTo>
                      <a:pt x="539055" y="762748"/>
                    </a:lnTo>
                    <a:lnTo>
                      <a:pt x="538767" y="781041"/>
                    </a:lnTo>
                    <a:lnTo>
                      <a:pt x="543749" y="794463"/>
                    </a:lnTo>
                    <a:lnTo>
                      <a:pt x="543760" y="819205"/>
                    </a:lnTo>
                    <a:lnTo>
                      <a:pt x="541275" y="831213"/>
                    </a:lnTo>
                    <a:lnTo>
                      <a:pt x="530293" y="844946"/>
                    </a:lnTo>
                    <a:lnTo>
                      <a:pt x="516645" y="888421"/>
                    </a:lnTo>
                    <a:lnTo>
                      <a:pt x="503774" y="908208"/>
                    </a:lnTo>
                    <a:lnTo>
                      <a:pt x="493325" y="919961"/>
                    </a:lnTo>
                    <a:lnTo>
                      <a:pt x="489266" y="943427"/>
                    </a:lnTo>
                    <a:lnTo>
                      <a:pt x="479880" y="957735"/>
                    </a:lnTo>
                    <a:lnTo>
                      <a:pt x="472167" y="944039"/>
                    </a:lnTo>
                    <a:lnTo>
                      <a:pt x="478029" y="932221"/>
                    </a:lnTo>
                    <a:lnTo>
                      <a:pt x="464344" y="915880"/>
                    </a:lnTo>
                    <a:lnTo>
                      <a:pt x="447440" y="902757"/>
                    </a:lnTo>
                    <a:lnTo>
                      <a:pt x="425606" y="887597"/>
                    </a:lnTo>
                    <a:lnTo>
                      <a:pt x="418883" y="888501"/>
                    </a:lnTo>
                    <a:lnTo>
                      <a:pt x="396875" y="870065"/>
                    </a:lnTo>
                    <a:lnTo>
                      <a:pt x="385352" y="873012"/>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74" name="Polygon form 139"/>
              <p:cNvSpPr/>
              <p:nvPr/>
            </p:nvSpPr>
            <p:spPr>
              <a:xfrm>
                <a:off x="6211465" y="3987860"/>
                <a:ext cx="23058" cy="38189"/>
              </a:xfrm>
              <a:custGeom>
                <a:avLst/>
                <a:gdLst/>
                <a:ahLst/>
                <a:cxnLst/>
                <a:rect l="0" t="0" r="0" b="0"/>
                <a:pathLst>
                  <a:path w="23058" h="38189">
                    <a:moveTo>
                      <a:pt x="0" y="24606"/>
                    </a:moveTo>
                    <a:lnTo>
                      <a:pt x="7229" y="14656"/>
                    </a:lnTo>
                    <a:lnTo>
                      <a:pt x="23058" y="0"/>
                    </a:lnTo>
                    <a:lnTo>
                      <a:pt x="23010" y="13020"/>
                    </a:lnTo>
                    <a:lnTo>
                      <a:pt x="22832" y="29902"/>
                    </a:lnTo>
                    <a:lnTo>
                      <a:pt x="13370" y="29159"/>
                    </a:lnTo>
                    <a:lnTo>
                      <a:pt x="9694" y="38189"/>
                    </a:lnTo>
                    <a:lnTo>
                      <a:pt x="0" y="24606"/>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175" name="Polygon form 140"/>
              <p:cNvSpPr/>
              <p:nvPr/>
            </p:nvSpPr>
            <p:spPr>
              <a:xfrm>
                <a:off x="5624508" y="3414256"/>
                <a:ext cx="62900" cy="39907"/>
              </a:xfrm>
              <a:custGeom>
                <a:avLst/>
                <a:gdLst/>
                <a:ahLst/>
                <a:cxnLst/>
                <a:rect l="0" t="0" r="0" b="0"/>
                <a:pathLst>
                  <a:path w="62900" h="39907">
                    <a:moveTo>
                      <a:pt x="50255" y="11813"/>
                    </a:moveTo>
                    <a:lnTo>
                      <a:pt x="60010" y="19520"/>
                    </a:lnTo>
                    <a:lnTo>
                      <a:pt x="62900" y="35076"/>
                    </a:lnTo>
                    <a:lnTo>
                      <a:pt x="47924" y="36485"/>
                    </a:lnTo>
                    <a:lnTo>
                      <a:pt x="31775" y="35472"/>
                    </a:lnTo>
                    <a:lnTo>
                      <a:pt x="21101" y="39907"/>
                    </a:lnTo>
                    <a:lnTo>
                      <a:pt x="1713" y="31071"/>
                    </a:lnTo>
                    <a:lnTo>
                      <a:pt x="0" y="26049"/>
                    </a:lnTo>
                    <a:lnTo>
                      <a:pt x="7277" y="6824"/>
                    </a:lnTo>
                    <a:lnTo>
                      <a:pt x="15516" y="0"/>
                    </a:lnTo>
                    <a:lnTo>
                      <a:pt x="30337" y="5232"/>
                    </a:lnTo>
                    <a:lnTo>
                      <a:pt x="40278" y="5404"/>
                    </a:lnTo>
                    <a:lnTo>
                      <a:pt x="50255" y="11813"/>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176" name="Polygon form 141"/>
              <p:cNvSpPr/>
              <p:nvPr/>
            </p:nvSpPr>
            <p:spPr>
              <a:xfrm>
                <a:off x="4337827" y="4559579"/>
                <a:ext cx="185535" cy="221164"/>
              </a:xfrm>
              <a:custGeom>
                <a:avLst/>
                <a:gdLst/>
                <a:ahLst/>
                <a:cxnLst/>
                <a:rect l="0" t="0" r="0" b="0"/>
                <a:pathLst>
                  <a:path w="185535" h="221164">
                    <a:moveTo>
                      <a:pt x="117834" y="21247"/>
                    </a:moveTo>
                    <a:lnTo>
                      <a:pt x="121504" y="25596"/>
                    </a:lnTo>
                    <a:lnTo>
                      <a:pt x="126852" y="39658"/>
                    </a:lnTo>
                    <a:lnTo>
                      <a:pt x="147171" y="66446"/>
                    </a:lnTo>
                    <a:lnTo>
                      <a:pt x="155247" y="69123"/>
                    </a:lnTo>
                    <a:lnTo>
                      <a:pt x="154787" y="77671"/>
                    </a:lnTo>
                    <a:lnTo>
                      <a:pt x="159486" y="93089"/>
                    </a:lnTo>
                    <a:lnTo>
                      <a:pt x="174060" y="96949"/>
                    </a:lnTo>
                    <a:lnTo>
                      <a:pt x="185535" y="108023"/>
                    </a:lnTo>
                    <a:lnTo>
                      <a:pt x="157310" y="125599"/>
                    </a:lnTo>
                    <a:lnTo>
                      <a:pt x="138993" y="143515"/>
                    </a:lnTo>
                    <a:lnTo>
                      <a:pt x="131576" y="159591"/>
                    </a:lnTo>
                    <a:lnTo>
                      <a:pt x="125251" y="168630"/>
                    </a:lnTo>
                    <a:lnTo>
                      <a:pt x="114797" y="170465"/>
                    </a:lnTo>
                    <a:lnTo>
                      <a:pt x="110685" y="182016"/>
                    </a:lnTo>
                    <a:lnTo>
                      <a:pt x="108255" y="189549"/>
                    </a:lnTo>
                    <a:lnTo>
                      <a:pt x="95779" y="195064"/>
                    </a:lnTo>
                    <a:lnTo>
                      <a:pt x="80469" y="193717"/>
                    </a:lnTo>
                    <a:lnTo>
                      <a:pt x="71866" y="186854"/>
                    </a:lnTo>
                    <a:lnTo>
                      <a:pt x="64069" y="183842"/>
                    </a:lnTo>
                    <a:lnTo>
                      <a:pt x="54492" y="189366"/>
                    </a:lnTo>
                    <a:lnTo>
                      <a:pt x="49157" y="200911"/>
                    </a:lnTo>
                    <a:lnTo>
                      <a:pt x="39772" y="208106"/>
                    </a:lnTo>
                    <a:lnTo>
                      <a:pt x="29687" y="218815"/>
                    </a:lnTo>
                    <a:lnTo>
                      <a:pt x="16047" y="221164"/>
                    </a:lnTo>
                    <a:lnTo>
                      <a:pt x="12334" y="212639"/>
                    </a:lnTo>
                    <a:lnTo>
                      <a:pt x="14909" y="197921"/>
                    </a:lnTo>
                    <a:lnTo>
                      <a:pt x="4932" y="174858"/>
                    </a:lnTo>
                    <a:lnTo>
                      <a:pt x="0" y="171188"/>
                    </a:lnTo>
                    <a:lnTo>
                      <a:pt x="3397" y="100626"/>
                    </a:lnTo>
                    <a:lnTo>
                      <a:pt x="22306" y="99913"/>
                    </a:lnTo>
                    <a:lnTo>
                      <a:pt x="26603" y="13769"/>
                    </a:lnTo>
                    <a:lnTo>
                      <a:pt x="41021" y="13056"/>
                    </a:lnTo>
                    <a:lnTo>
                      <a:pt x="71183" y="4772"/>
                    </a:lnTo>
                    <a:lnTo>
                      <a:pt x="78136" y="14797"/>
                    </a:lnTo>
                    <a:lnTo>
                      <a:pt x="90899" y="5394"/>
                    </a:lnTo>
                    <a:lnTo>
                      <a:pt x="96768" y="5380"/>
                    </a:lnTo>
                    <a:lnTo>
                      <a:pt x="107921" y="0"/>
                    </a:lnTo>
                    <a:lnTo>
                      <a:pt x="111316" y="1834"/>
                    </a:lnTo>
                    <a:lnTo>
                      <a:pt x="117834" y="21247"/>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177" name="Polygon form 142"/>
              <p:cNvSpPr/>
              <p:nvPr/>
            </p:nvSpPr>
            <p:spPr>
              <a:xfrm>
                <a:off x="4245176" y="3862146"/>
                <a:ext cx="254554" cy="214894"/>
              </a:xfrm>
              <a:custGeom>
                <a:avLst/>
                <a:gdLst/>
                <a:ahLst/>
                <a:cxnLst/>
                <a:rect l="0" t="0" r="0" b="0"/>
                <a:pathLst>
                  <a:path w="254554" h="214894">
                    <a:moveTo>
                      <a:pt x="15682" y="90376"/>
                    </a:moveTo>
                    <a:lnTo>
                      <a:pt x="31925" y="88530"/>
                    </a:lnTo>
                    <a:lnTo>
                      <a:pt x="35472" y="82308"/>
                    </a:lnTo>
                    <a:lnTo>
                      <a:pt x="38736" y="82773"/>
                    </a:lnTo>
                    <a:lnTo>
                      <a:pt x="43720" y="88236"/>
                    </a:lnTo>
                    <a:lnTo>
                      <a:pt x="68354" y="78937"/>
                    </a:lnTo>
                    <a:lnTo>
                      <a:pt x="76561" y="69481"/>
                    </a:lnTo>
                    <a:lnTo>
                      <a:pt x="86673" y="61004"/>
                    </a:lnTo>
                    <a:lnTo>
                      <a:pt x="84584" y="52498"/>
                    </a:lnTo>
                    <a:lnTo>
                      <a:pt x="90084" y="50260"/>
                    </a:lnTo>
                    <a:lnTo>
                      <a:pt x="109076" y="51710"/>
                    </a:lnTo>
                    <a:lnTo>
                      <a:pt x="127339" y="40450"/>
                    </a:lnTo>
                    <a:lnTo>
                      <a:pt x="140943" y="14007"/>
                    </a:lnTo>
                    <a:lnTo>
                      <a:pt x="150648" y="4175"/>
                    </a:lnTo>
                    <a:lnTo>
                      <a:pt x="162943" y="0"/>
                    </a:lnTo>
                    <a:lnTo>
                      <a:pt x="165430" y="10348"/>
                    </a:lnTo>
                    <a:lnTo>
                      <a:pt x="177112" y="25439"/>
                    </a:lnTo>
                    <a:lnTo>
                      <a:pt x="177405" y="35316"/>
                    </a:lnTo>
                    <a:lnTo>
                      <a:pt x="174444" y="45401"/>
                    </a:lnTo>
                    <a:lnTo>
                      <a:pt x="175870" y="52920"/>
                    </a:lnTo>
                    <a:lnTo>
                      <a:pt x="182830" y="59869"/>
                    </a:lnTo>
                    <a:lnTo>
                      <a:pt x="198017" y="70405"/>
                    </a:lnTo>
                    <a:lnTo>
                      <a:pt x="208982" y="80158"/>
                    </a:lnTo>
                    <a:lnTo>
                      <a:pt x="209317" y="88029"/>
                    </a:lnTo>
                    <a:lnTo>
                      <a:pt x="222786" y="100605"/>
                    </a:lnTo>
                    <a:lnTo>
                      <a:pt x="231178" y="111066"/>
                    </a:lnTo>
                    <a:lnTo>
                      <a:pt x="236394" y="125589"/>
                    </a:lnTo>
                    <a:lnTo>
                      <a:pt x="251270" y="135144"/>
                    </a:lnTo>
                    <a:lnTo>
                      <a:pt x="254554" y="142820"/>
                    </a:lnTo>
                    <a:lnTo>
                      <a:pt x="248085" y="145406"/>
                    </a:lnTo>
                    <a:lnTo>
                      <a:pt x="235438" y="144876"/>
                    </a:lnTo>
                    <a:lnTo>
                      <a:pt x="220577" y="142358"/>
                    </a:lnTo>
                    <a:lnTo>
                      <a:pt x="213281" y="144449"/>
                    </a:lnTo>
                    <a:lnTo>
                      <a:pt x="210402" y="150344"/>
                    </a:lnTo>
                    <a:lnTo>
                      <a:pt x="204028" y="151083"/>
                    </a:lnTo>
                    <a:lnTo>
                      <a:pt x="196188" y="145975"/>
                    </a:lnTo>
                    <a:lnTo>
                      <a:pt x="174386" y="158099"/>
                    </a:lnTo>
                    <a:lnTo>
                      <a:pt x="165375" y="155683"/>
                    </a:lnTo>
                    <a:lnTo>
                      <a:pt x="162687" y="157553"/>
                    </a:lnTo>
                    <a:lnTo>
                      <a:pt x="156937" y="172177"/>
                    </a:lnTo>
                    <a:lnTo>
                      <a:pt x="142182" y="167475"/>
                    </a:lnTo>
                    <a:lnTo>
                      <a:pt x="127736" y="165114"/>
                    </a:lnTo>
                    <a:lnTo>
                      <a:pt x="115094" y="156209"/>
                    </a:lnTo>
                    <a:lnTo>
                      <a:pt x="98792" y="148014"/>
                    </a:lnTo>
                    <a:lnTo>
                      <a:pt x="88311" y="155816"/>
                    </a:lnTo>
                    <a:lnTo>
                      <a:pt x="80740" y="168102"/>
                    </a:lnTo>
                    <a:lnTo>
                      <a:pt x="79088" y="184965"/>
                    </a:lnTo>
                    <a:lnTo>
                      <a:pt x="66393" y="183628"/>
                    </a:lnTo>
                    <a:lnTo>
                      <a:pt x="53016" y="179581"/>
                    </a:lnTo>
                    <a:lnTo>
                      <a:pt x="41335" y="192399"/>
                    </a:lnTo>
                    <a:lnTo>
                      <a:pt x="31093" y="214894"/>
                    </a:lnTo>
                    <a:lnTo>
                      <a:pt x="28985" y="207894"/>
                    </a:lnTo>
                    <a:lnTo>
                      <a:pt x="28054" y="196873"/>
                    </a:lnTo>
                    <a:lnTo>
                      <a:pt x="18992" y="189106"/>
                    </a:lnTo>
                    <a:lnTo>
                      <a:pt x="11641" y="176644"/>
                    </a:lnTo>
                    <a:lnTo>
                      <a:pt x="9906" y="167972"/>
                    </a:lnTo>
                    <a:lnTo>
                      <a:pt x="504" y="155366"/>
                    </a:lnTo>
                    <a:lnTo>
                      <a:pt x="2040" y="148166"/>
                    </a:lnTo>
                    <a:lnTo>
                      <a:pt x="0" y="137995"/>
                    </a:lnTo>
                    <a:lnTo>
                      <a:pt x="1358" y="119267"/>
                    </a:lnTo>
                    <a:lnTo>
                      <a:pt x="6043" y="114874"/>
                    </a:lnTo>
                    <a:lnTo>
                      <a:pt x="15682" y="90376"/>
                    </a:lnTo>
                    <a:close/>
                  </a:path>
                </a:pathLst>
              </a:custGeom>
              <a:solidFill>
                <a:srgbClr val="41AB5D">
                  <a:alpha val="100000"/>
                </a:srgbClr>
              </a:solidFill>
              <a:ln w="5400">
                <a:solidFill>
                  <a:srgbClr val="7F7F7F">
                    <a:alpha val="100000"/>
                  </a:srgbClr>
                </a:solidFill>
                <a:prstDash val="solid"/>
                <a:round/>
              </a:ln>
            </p:spPr>
            <p:txBody>
              <a:bodyPr/>
              <a:lstStyle/>
              <a:p/>
            </p:txBody>
          </p:sp>
          <p:sp>
            <p:nvSpPr>
              <p:cNvPr id="178" name="Polygon form 143"/>
              <p:cNvSpPr/>
              <p:nvPr/>
            </p:nvSpPr>
            <p:spPr>
              <a:xfrm>
                <a:off x="1932096" y="2341557"/>
                <a:ext cx="1138377" cy="746440"/>
              </a:xfrm>
              <a:custGeom>
                <a:avLst/>
                <a:gdLst/>
                <a:ahLst/>
                <a:cxnLst/>
                <a:rect l="0" t="0" r="0" b="0"/>
                <a:pathLst>
                  <a:path w="1138377" h="746440">
                    <a:moveTo>
                      <a:pt x="863762" y="69138"/>
                    </a:moveTo>
                    <a:lnTo>
                      <a:pt x="844356" y="92791"/>
                    </a:lnTo>
                    <a:lnTo>
                      <a:pt x="875624" y="75978"/>
                    </a:lnTo>
                    <a:lnTo>
                      <a:pt x="878555" y="92078"/>
                    </a:lnTo>
                    <a:lnTo>
                      <a:pt x="861326" y="109026"/>
                    </a:lnTo>
                    <a:lnTo>
                      <a:pt x="861566" y="125730"/>
                    </a:lnTo>
                    <a:lnTo>
                      <a:pt x="887641" y="109904"/>
                    </a:lnTo>
                    <a:lnTo>
                      <a:pt x="912156" y="90507"/>
                    </a:lnTo>
                    <a:lnTo>
                      <a:pt x="932599" y="65071"/>
                    </a:lnTo>
                    <a:lnTo>
                      <a:pt x="948701" y="68159"/>
                    </a:lnTo>
                    <a:lnTo>
                      <a:pt x="964361" y="72920"/>
                    </a:lnTo>
                    <a:lnTo>
                      <a:pt x="972488" y="85687"/>
                    </a:lnTo>
                    <a:lnTo>
                      <a:pt x="964816" y="97330"/>
                    </a:lnTo>
                    <a:lnTo>
                      <a:pt x="946390" y="109113"/>
                    </a:lnTo>
                    <a:lnTo>
                      <a:pt x="946442" y="122301"/>
                    </a:lnTo>
                    <a:lnTo>
                      <a:pt x="936777" y="133591"/>
                    </a:lnTo>
                    <a:lnTo>
                      <a:pt x="899806" y="148135"/>
                    </a:lnTo>
                    <a:lnTo>
                      <a:pt x="879098" y="150388"/>
                    </a:lnTo>
                    <a:lnTo>
                      <a:pt x="870774" y="142297"/>
                    </a:lnTo>
                    <a:lnTo>
                      <a:pt x="858316" y="153768"/>
                    </a:lnTo>
                    <a:lnTo>
                      <a:pt x="831331" y="172581"/>
                    </a:lnTo>
                    <a:lnTo>
                      <a:pt x="820070" y="182562"/>
                    </a:lnTo>
                    <a:lnTo>
                      <a:pt x="793188" y="197262"/>
                    </a:lnTo>
                    <a:lnTo>
                      <a:pt x="772911" y="197267"/>
                    </a:lnTo>
                    <a:lnTo>
                      <a:pt x="755084" y="206349"/>
                    </a:lnTo>
                    <a:lnTo>
                      <a:pt x="743110" y="221607"/>
                    </a:lnTo>
                    <a:lnTo>
                      <a:pt x="725204" y="223245"/>
                    </a:lnTo>
                    <a:lnTo>
                      <a:pt x="694666" y="240981"/>
                    </a:lnTo>
                    <a:lnTo>
                      <a:pt x="660559" y="266371"/>
                    </a:lnTo>
                    <a:lnTo>
                      <a:pt x="641875" y="284630"/>
                    </a:lnTo>
                    <a:lnTo>
                      <a:pt x="621860" y="312227"/>
                    </a:lnTo>
                    <a:lnTo>
                      <a:pt x="640102" y="317988"/>
                    </a:lnTo>
                    <a:lnTo>
                      <a:pt x="631717" y="340926"/>
                    </a:lnTo>
                    <a:lnTo>
                      <a:pt x="626741" y="359676"/>
                    </a:lnTo>
                    <a:lnTo>
                      <a:pt x="650190" y="356597"/>
                    </a:lnTo>
                    <a:lnTo>
                      <a:pt x="670951" y="369158"/>
                    </a:lnTo>
                    <a:lnTo>
                      <a:pt x="680163" y="379442"/>
                    </a:lnTo>
                    <a:lnTo>
                      <a:pt x="684031" y="391626"/>
                    </a:lnTo>
                    <a:lnTo>
                      <a:pt x="698875" y="399664"/>
                    </a:lnTo>
                    <a:lnTo>
                      <a:pt x="708995" y="410992"/>
                    </a:lnTo>
                    <a:lnTo>
                      <a:pt x="733104" y="414177"/>
                    </a:lnTo>
                    <a:lnTo>
                      <a:pt x="748264" y="417666"/>
                    </a:lnTo>
                    <a:lnTo>
                      <a:pt x="734566" y="438415"/>
                    </a:lnTo>
                    <a:lnTo>
                      <a:pt x="726598" y="463072"/>
                    </a:lnTo>
                    <a:lnTo>
                      <a:pt x="724077" y="490967"/>
                    </a:lnTo>
                    <a:lnTo>
                      <a:pt x="736202" y="515560"/>
                    </a:lnTo>
                    <a:lnTo>
                      <a:pt x="752120" y="508432"/>
                    </a:lnTo>
                    <a:lnTo>
                      <a:pt x="772598" y="484025"/>
                    </a:lnTo>
                    <a:lnTo>
                      <a:pt x="783482" y="445253"/>
                    </a:lnTo>
                    <a:lnTo>
                      <a:pt x="779216" y="431814"/>
                    </a:lnTo>
                    <a:lnTo>
                      <a:pt x="809412" y="422113"/>
                    </a:lnTo>
                    <a:lnTo>
                      <a:pt x="835247" y="406324"/>
                    </a:lnTo>
                    <a:lnTo>
                      <a:pt x="852239" y="390074"/>
                    </a:lnTo>
                    <a:lnTo>
                      <a:pt x="859417" y="373906"/>
                    </a:lnTo>
                    <a:lnTo>
                      <a:pt x="860279" y="352824"/>
                    </a:lnTo>
                    <a:lnTo>
                      <a:pt x="852455" y="333569"/>
                    </a:lnTo>
                    <a:lnTo>
                      <a:pt x="883656" y="309624"/>
                    </a:lnTo>
                    <a:lnTo>
                      <a:pt x="889805" y="287557"/>
                    </a:lnTo>
                    <a:lnTo>
                      <a:pt x="907125" y="249997"/>
                    </a:lnTo>
                    <a:lnTo>
                      <a:pt x="920114" y="245167"/>
                    </a:lnTo>
                    <a:lnTo>
                      <a:pt x="940161" y="253259"/>
                    </a:lnTo>
                    <a:lnTo>
                      <a:pt x="953200" y="256528"/>
                    </a:lnTo>
                    <a:lnTo>
                      <a:pt x="968367" y="251021"/>
                    </a:lnTo>
                    <a:lnTo>
                      <a:pt x="976856" y="259937"/>
                    </a:lnTo>
                    <a:lnTo>
                      <a:pt x="986621" y="274875"/>
                    </a:lnTo>
                    <a:lnTo>
                      <a:pt x="985942" y="284422"/>
                    </a:lnTo>
                    <a:lnTo>
                      <a:pt x="1010436" y="287788"/>
                    </a:lnTo>
                    <a:lnTo>
                      <a:pt x="999649" y="307880"/>
                    </a:lnTo>
                    <a:lnTo>
                      <a:pt x="989281" y="338485"/>
                    </a:lnTo>
                    <a:lnTo>
                      <a:pt x="1000865" y="343025"/>
                    </a:lnTo>
                    <a:lnTo>
                      <a:pt x="1004792" y="357798"/>
                    </a:lnTo>
                    <a:lnTo>
                      <a:pt x="1032487" y="345663"/>
                    </a:lnTo>
                    <a:lnTo>
                      <a:pt x="1058984" y="319949"/>
                    </a:lnTo>
                    <a:lnTo>
                      <a:pt x="1073875" y="309328"/>
                    </a:lnTo>
                    <a:lnTo>
                      <a:pt x="1075253" y="331380"/>
                    </a:lnTo>
                    <a:lnTo>
                      <a:pt x="1080815" y="363067"/>
                    </a:lnTo>
                    <a:lnTo>
                      <a:pt x="1085123" y="392808"/>
                    </a:lnTo>
                    <a:lnTo>
                      <a:pt x="1072753" y="407637"/>
                    </a:lnTo>
                    <a:lnTo>
                      <a:pt x="1087554" y="422257"/>
                    </a:lnTo>
                    <a:lnTo>
                      <a:pt x="1095966" y="436723"/>
                    </a:lnTo>
                    <a:lnTo>
                      <a:pt x="1118243" y="444136"/>
                    </a:lnTo>
                    <a:lnTo>
                      <a:pt x="1125350" y="452301"/>
                    </a:lnTo>
                    <a:lnTo>
                      <a:pt x="1124136" y="473030"/>
                    </a:lnTo>
                    <a:lnTo>
                      <a:pt x="1135226" y="476788"/>
                    </a:lnTo>
                    <a:lnTo>
                      <a:pt x="1138377" y="486186"/>
                    </a:lnTo>
                    <a:lnTo>
                      <a:pt x="1130275" y="513421"/>
                    </a:lnTo>
                    <a:lnTo>
                      <a:pt x="1115619" y="522019"/>
                    </a:lnTo>
                    <a:lnTo>
                      <a:pt x="1101247" y="530016"/>
                    </a:lnTo>
                    <a:lnTo>
                      <a:pt x="1071832" y="537447"/>
                    </a:lnTo>
                    <a:lnTo>
                      <a:pt x="1044638" y="556443"/>
                    </a:lnTo>
                    <a:lnTo>
                      <a:pt x="1015886" y="559112"/>
                    </a:lnTo>
                    <a:lnTo>
                      <a:pt x="983159" y="552343"/>
                    </a:lnTo>
                    <a:lnTo>
                      <a:pt x="959015" y="550965"/>
                    </a:lnTo>
                    <a:lnTo>
                      <a:pt x="941676" y="551799"/>
                    </a:lnTo>
                    <a:lnTo>
                      <a:pt x="921458" y="568532"/>
                    </a:lnTo>
                    <a:lnTo>
                      <a:pt x="896615" y="578236"/>
                    </a:lnTo>
                    <a:lnTo>
                      <a:pt x="860672" y="609221"/>
                    </a:lnTo>
                    <a:lnTo>
                      <a:pt x="833133" y="630732"/>
                    </a:lnTo>
                    <a:lnTo>
                      <a:pt x="848699" y="627458"/>
                    </a:lnTo>
                    <a:lnTo>
                      <a:pt x="887199" y="596814"/>
                    </a:lnTo>
                    <a:lnTo>
                      <a:pt x="929086" y="578297"/>
                    </a:lnTo>
                    <a:lnTo>
                      <a:pt x="954341" y="577090"/>
                    </a:lnTo>
                    <a:lnTo>
                      <a:pt x="964473" y="589709"/>
                    </a:lnTo>
                    <a:lnTo>
                      <a:pt x="943147" y="605293"/>
                    </a:lnTo>
                    <a:lnTo>
                      <a:pt x="939171" y="631777"/>
                    </a:lnTo>
                    <a:lnTo>
                      <a:pt x="938333" y="650408"/>
                    </a:lnTo>
                    <a:lnTo>
                      <a:pt x="956045" y="663571"/>
                    </a:lnTo>
                    <a:lnTo>
                      <a:pt x="984910" y="661277"/>
                    </a:lnTo>
                    <a:lnTo>
                      <a:pt x="1010419" y="634654"/>
                    </a:lnTo>
                    <a:lnTo>
                      <a:pt x="1005952" y="652349"/>
                    </a:lnTo>
                    <a:lnTo>
                      <a:pt x="1014020" y="661628"/>
                    </a:lnTo>
                    <a:lnTo>
                      <a:pt x="988261" y="676690"/>
                    </a:lnTo>
                    <a:lnTo>
                      <a:pt x="946295" y="689563"/>
                    </a:lnTo>
                    <a:lnTo>
                      <a:pt x="926352" y="698685"/>
                    </a:lnTo>
                    <a:lnTo>
                      <a:pt x="901745" y="715418"/>
                    </a:lnTo>
                    <a:lnTo>
                      <a:pt x="889384" y="713038"/>
                    </a:lnTo>
                    <a:lnTo>
                      <a:pt x="895489" y="692337"/>
                    </a:lnTo>
                    <a:lnTo>
                      <a:pt x="931437" y="673511"/>
                    </a:lnTo>
                    <a:lnTo>
                      <a:pt x="904245" y="673062"/>
                    </a:lnTo>
                    <a:lnTo>
                      <a:pt x="884545" y="675149"/>
                    </a:lnTo>
                    <a:lnTo>
                      <a:pt x="878342" y="660825"/>
                    </a:lnTo>
                    <a:lnTo>
                      <a:pt x="890208" y="627578"/>
                    </a:lnTo>
                    <a:lnTo>
                      <a:pt x="885435" y="620180"/>
                    </a:lnTo>
                    <a:lnTo>
                      <a:pt x="872831" y="623757"/>
                    </a:lnTo>
                    <a:lnTo>
                      <a:pt x="869731" y="617072"/>
                    </a:lnTo>
                    <a:lnTo>
                      <a:pt x="850257" y="634822"/>
                    </a:lnTo>
                    <a:lnTo>
                      <a:pt x="838184" y="653549"/>
                    </a:lnTo>
                    <a:lnTo>
                      <a:pt x="828200" y="664358"/>
                    </a:lnTo>
                    <a:lnTo>
                      <a:pt x="819709" y="667776"/>
                    </a:lnTo>
                    <a:lnTo>
                      <a:pt x="813895" y="668729"/>
                    </a:lnTo>
                    <a:lnTo>
                      <a:pt x="810018" y="674675"/>
                    </a:lnTo>
                    <a:lnTo>
                      <a:pt x="779081" y="673086"/>
                    </a:lnTo>
                    <a:lnTo>
                      <a:pt x="753547" y="671893"/>
                    </a:lnTo>
                    <a:lnTo>
                      <a:pt x="744262" y="675988"/>
                    </a:lnTo>
                    <a:lnTo>
                      <a:pt x="719765" y="692665"/>
                    </a:lnTo>
                    <a:lnTo>
                      <a:pt x="716931" y="694459"/>
                    </a:lnTo>
                    <a:lnTo>
                      <a:pt x="707904" y="703722"/>
                    </a:lnTo>
                    <a:lnTo>
                      <a:pt x="692384" y="702865"/>
                    </a:lnTo>
                    <a:lnTo>
                      <a:pt x="675742" y="702039"/>
                    </a:lnTo>
                    <a:lnTo>
                      <a:pt x="666600" y="705509"/>
                    </a:lnTo>
                    <a:lnTo>
                      <a:pt x="667471" y="710486"/>
                    </a:lnTo>
                    <a:lnTo>
                      <a:pt x="666124" y="718065"/>
                    </a:lnTo>
                    <a:lnTo>
                      <a:pt x="664845" y="720539"/>
                    </a:lnTo>
                    <a:lnTo>
                      <a:pt x="637919" y="731532"/>
                    </a:lnTo>
                    <a:lnTo>
                      <a:pt x="618871" y="734412"/>
                    </a:lnTo>
                    <a:lnTo>
                      <a:pt x="593961" y="746440"/>
                    </a:lnTo>
                    <a:lnTo>
                      <a:pt x="589672" y="746195"/>
                    </a:lnTo>
                    <a:lnTo>
                      <a:pt x="585377" y="741972"/>
                    </a:lnTo>
                    <a:lnTo>
                      <a:pt x="584842" y="738339"/>
                    </a:lnTo>
                    <a:lnTo>
                      <a:pt x="586228" y="735789"/>
                    </a:lnTo>
                    <a:lnTo>
                      <a:pt x="593378" y="727381"/>
                    </a:lnTo>
                    <a:lnTo>
                      <a:pt x="606744" y="714303"/>
                    </a:lnTo>
                    <a:lnTo>
                      <a:pt x="617534" y="700050"/>
                    </a:lnTo>
                    <a:lnTo>
                      <a:pt x="622926" y="678493"/>
                    </a:lnTo>
                    <a:lnTo>
                      <a:pt x="628747" y="655997"/>
                    </a:lnTo>
                    <a:lnTo>
                      <a:pt x="616448" y="643410"/>
                    </a:lnTo>
                    <a:lnTo>
                      <a:pt x="620396" y="639178"/>
                    </a:lnTo>
                    <a:lnTo>
                      <a:pt x="619295" y="636028"/>
                    </a:lnTo>
                    <a:lnTo>
                      <a:pt x="614766" y="635742"/>
                    </a:lnTo>
                    <a:lnTo>
                      <a:pt x="613178" y="631645"/>
                    </a:lnTo>
                    <a:lnTo>
                      <a:pt x="614945" y="625787"/>
                    </a:lnTo>
                    <a:lnTo>
                      <a:pt x="610610" y="628118"/>
                    </a:lnTo>
                    <a:lnTo>
                      <a:pt x="606540" y="627079"/>
                    </a:lnTo>
                    <a:lnTo>
                      <a:pt x="608639" y="624715"/>
                    </a:lnTo>
                    <a:lnTo>
                      <a:pt x="605865" y="622053"/>
                    </a:lnTo>
                    <a:lnTo>
                      <a:pt x="607213" y="615506"/>
                    </a:lnTo>
                    <a:lnTo>
                      <a:pt x="598148" y="606831"/>
                    </a:lnTo>
                    <a:lnTo>
                      <a:pt x="588800" y="597793"/>
                    </a:lnTo>
                    <a:lnTo>
                      <a:pt x="577485" y="587248"/>
                    </a:lnTo>
                    <a:lnTo>
                      <a:pt x="566686" y="577316"/>
                    </a:lnTo>
                    <a:lnTo>
                      <a:pt x="548827" y="583231"/>
                    </a:lnTo>
                    <a:lnTo>
                      <a:pt x="543431" y="583097"/>
                    </a:lnTo>
                    <a:lnTo>
                      <a:pt x="526830" y="575310"/>
                    </a:lnTo>
                    <a:lnTo>
                      <a:pt x="512183" y="577546"/>
                    </a:lnTo>
                    <a:lnTo>
                      <a:pt x="500542" y="568803"/>
                    </a:lnTo>
                    <a:lnTo>
                      <a:pt x="486264" y="563676"/>
                    </a:lnTo>
                    <a:lnTo>
                      <a:pt x="475919" y="561322"/>
                    </a:lnTo>
                    <a:lnTo>
                      <a:pt x="473192" y="556796"/>
                    </a:lnTo>
                    <a:lnTo>
                      <a:pt x="477677" y="543143"/>
                    </a:lnTo>
                    <a:lnTo>
                      <a:pt x="472254" y="542842"/>
                    </a:lnTo>
                    <a:lnTo>
                      <a:pt x="467060" y="552240"/>
                    </a:lnTo>
                    <a:lnTo>
                      <a:pt x="434227" y="549630"/>
                    </a:lnTo>
                    <a:lnTo>
                      <a:pt x="380100" y="545213"/>
                    </a:lnTo>
                    <a:lnTo>
                      <a:pt x="326571" y="540626"/>
                    </a:lnTo>
                    <a:lnTo>
                      <a:pt x="279489" y="536409"/>
                    </a:lnTo>
                    <a:lnTo>
                      <a:pt x="232624" y="532048"/>
                    </a:lnTo>
                    <a:lnTo>
                      <a:pt x="186738" y="527611"/>
                    </a:lnTo>
                    <a:lnTo>
                      <a:pt x="139538" y="522867"/>
                    </a:lnTo>
                    <a:lnTo>
                      <a:pt x="124364" y="521303"/>
                    </a:lnTo>
                    <a:lnTo>
                      <a:pt x="78686" y="516473"/>
                    </a:lnTo>
                    <a:lnTo>
                      <a:pt x="35204" y="511703"/>
                    </a:lnTo>
                    <a:lnTo>
                      <a:pt x="33200" y="511412"/>
                    </a:lnTo>
                    <a:lnTo>
                      <a:pt x="21712" y="483922"/>
                    </a:lnTo>
                    <a:lnTo>
                      <a:pt x="19069" y="472077"/>
                    </a:lnTo>
                    <a:lnTo>
                      <a:pt x="0" y="458722"/>
                    </a:lnTo>
                    <a:lnTo>
                      <a:pt x="9074" y="436115"/>
                    </a:lnTo>
                    <a:lnTo>
                      <a:pt x="23339" y="421445"/>
                    </a:lnTo>
                    <a:lnTo>
                      <a:pt x="13385" y="408797"/>
                    </a:lnTo>
                    <a:lnTo>
                      <a:pt x="27418" y="388982"/>
                    </a:lnTo>
                    <a:lnTo>
                      <a:pt x="25464" y="369281"/>
                    </a:lnTo>
                    <a:lnTo>
                      <a:pt x="36147" y="356877"/>
                    </a:lnTo>
                    <a:lnTo>
                      <a:pt x="54265" y="346349"/>
                    </a:lnTo>
                    <a:lnTo>
                      <a:pt x="67523" y="331241"/>
                    </a:lnTo>
                    <a:lnTo>
                      <a:pt x="58199" y="313006"/>
                    </a:lnTo>
                    <a:lnTo>
                      <a:pt x="70201" y="284162"/>
                    </a:lnTo>
                    <a:lnTo>
                      <a:pt x="78494" y="266161"/>
                    </a:lnTo>
                    <a:lnTo>
                      <a:pt x="77041" y="253930"/>
                    </a:lnTo>
                    <a:lnTo>
                      <a:pt x="78005" y="243142"/>
                    </a:lnTo>
                    <a:lnTo>
                      <a:pt x="83621" y="230148"/>
                    </a:lnTo>
                    <a:lnTo>
                      <a:pt x="62778" y="235798"/>
                    </a:lnTo>
                    <a:lnTo>
                      <a:pt x="36563" y="246957"/>
                    </a:lnTo>
                    <a:lnTo>
                      <a:pt x="41225" y="230017"/>
                    </a:lnTo>
                    <a:lnTo>
                      <a:pt x="43217" y="218574"/>
                    </a:lnTo>
                    <a:lnTo>
                      <a:pt x="37851" y="210346"/>
                    </a:lnTo>
                    <a:lnTo>
                      <a:pt x="26187" y="207781"/>
                    </a:lnTo>
                    <a:lnTo>
                      <a:pt x="178138" y="79975"/>
                    </a:lnTo>
                    <a:lnTo>
                      <a:pt x="283887" y="0"/>
                    </a:lnTo>
                    <a:lnTo>
                      <a:pt x="297180" y="8014"/>
                    </a:lnTo>
                    <a:lnTo>
                      <a:pt x="300782" y="20748"/>
                    </a:lnTo>
                    <a:lnTo>
                      <a:pt x="309761" y="24343"/>
                    </a:lnTo>
                    <a:lnTo>
                      <a:pt x="331186" y="16705"/>
                    </a:lnTo>
                    <a:lnTo>
                      <a:pt x="353316" y="11805"/>
                    </a:lnTo>
                    <a:lnTo>
                      <a:pt x="366403" y="16638"/>
                    </a:lnTo>
                    <a:lnTo>
                      <a:pt x="395128" y="9336"/>
                    </a:lnTo>
                    <a:lnTo>
                      <a:pt x="420101" y="6283"/>
                    </a:lnTo>
                    <a:lnTo>
                      <a:pt x="416532" y="16237"/>
                    </a:lnTo>
                    <a:lnTo>
                      <a:pt x="431169" y="12216"/>
                    </a:lnTo>
                    <a:lnTo>
                      <a:pt x="446355" y="2315"/>
                    </a:lnTo>
                    <a:lnTo>
                      <a:pt x="451163" y="5577"/>
                    </a:lnTo>
                    <a:lnTo>
                      <a:pt x="446405" y="27475"/>
                    </a:lnTo>
                    <a:lnTo>
                      <a:pt x="479222" y="14465"/>
                    </a:lnTo>
                    <a:lnTo>
                      <a:pt x="461009" y="31289"/>
                    </a:lnTo>
                    <a:lnTo>
                      <a:pt x="479276" y="29364"/>
                    </a:lnTo>
                    <a:lnTo>
                      <a:pt x="491085" y="23454"/>
                    </a:lnTo>
                    <a:lnTo>
                      <a:pt x="503422" y="26348"/>
                    </a:lnTo>
                    <a:lnTo>
                      <a:pt x="510403" y="37672"/>
                    </a:lnTo>
                    <a:lnTo>
                      <a:pt x="528557" y="48931"/>
                    </a:lnTo>
                    <a:lnTo>
                      <a:pt x="540592" y="54535"/>
                    </a:lnTo>
                    <a:lnTo>
                      <a:pt x="553673" y="54368"/>
                    </a:lnTo>
                    <a:lnTo>
                      <a:pt x="557665" y="67511"/>
                    </a:lnTo>
                    <a:lnTo>
                      <a:pt x="529194" y="76849"/>
                    </a:lnTo>
                    <a:lnTo>
                      <a:pt x="545940" y="84086"/>
                    </a:lnTo>
                    <a:lnTo>
                      <a:pt x="581299" y="84912"/>
                    </a:lnTo>
                    <a:lnTo>
                      <a:pt x="595566" y="82022"/>
                    </a:lnTo>
                    <a:lnTo>
                      <a:pt x="595204" y="97019"/>
                    </a:lnTo>
                    <a:lnTo>
                      <a:pt x="619653" y="86848"/>
                    </a:lnTo>
                    <a:lnTo>
                      <a:pt x="616692" y="75933"/>
                    </a:lnTo>
                    <a:lnTo>
                      <a:pt x="632137" y="68961"/>
                    </a:lnTo>
                    <a:lnTo>
                      <a:pt x="647815" y="69392"/>
                    </a:lnTo>
                    <a:lnTo>
                      <a:pt x="659663" y="68079"/>
                    </a:lnTo>
                    <a:lnTo>
                      <a:pt x="664184" y="74473"/>
                    </a:lnTo>
                    <a:lnTo>
                      <a:pt x="664703" y="88070"/>
                    </a:lnTo>
                    <a:lnTo>
                      <a:pt x="680088" y="87570"/>
                    </a:lnTo>
                    <a:lnTo>
                      <a:pt x="692436" y="99986"/>
                    </a:lnTo>
                    <a:lnTo>
                      <a:pt x="714944" y="98132"/>
                    </a:lnTo>
                    <a:lnTo>
                      <a:pt x="732575" y="100344"/>
                    </a:lnTo>
                    <a:lnTo>
                      <a:pt x="743736" y="85891"/>
                    </a:lnTo>
                    <a:lnTo>
                      <a:pt x="758221" y="82860"/>
                    </a:lnTo>
                    <a:lnTo>
                      <a:pt x="770564" y="92368"/>
                    </a:lnTo>
                    <a:lnTo>
                      <a:pt x="751915" y="114223"/>
                    </a:lnTo>
                    <a:lnTo>
                      <a:pt x="775465" y="96486"/>
                    </a:lnTo>
                    <a:lnTo>
                      <a:pt x="784959" y="97977"/>
                    </a:lnTo>
                    <a:lnTo>
                      <a:pt x="810232" y="75263"/>
                    </a:lnTo>
                    <a:lnTo>
                      <a:pt x="809454" y="59968"/>
                    </a:lnTo>
                    <a:lnTo>
                      <a:pt x="803586" y="49495"/>
                    </a:lnTo>
                    <a:lnTo>
                      <a:pt x="827438" y="24367"/>
                    </a:lnTo>
                    <a:lnTo>
                      <a:pt x="856479" y="9039"/>
                    </a:lnTo>
                    <a:lnTo>
                      <a:pt x="868567" y="13967"/>
                    </a:lnTo>
                    <a:lnTo>
                      <a:pt x="871474" y="25017"/>
                    </a:lnTo>
                    <a:lnTo>
                      <a:pt x="865317" y="52192"/>
                    </a:lnTo>
                    <a:lnTo>
                      <a:pt x="844942" y="62612"/>
                    </a:lnTo>
                    <a:lnTo>
                      <a:pt x="863762" y="69138"/>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79" name="Polygon form 144"/>
              <p:cNvSpPr/>
              <p:nvPr/>
            </p:nvSpPr>
            <p:spPr>
              <a:xfrm>
                <a:off x="2832696" y="2316122"/>
                <a:ext cx="288821" cy="295279"/>
              </a:xfrm>
              <a:custGeom>
                <a:avLst/>
                <a:gdLst/>
                <a:ahLst/>
                <a:cxnLst/>
                <a:rect l="0" t="0" r="0" b="0"/>
                <a:pathLst>
                  <a:path w="288821" h="295279">
                    <a:moveTo>
                      <a:pt x="81337" y="14156"/>
                    </a:moveTo>
                    <a:lnTo>
                      <a:pt x="78458" y="29109"/>
                    </a:lnTo>
                    <a:lnTo>
                      <a:pt x="104674" y="11405"/>
                    </a:lnTo>
                    <a:lnTo>
                      <a:pt x="141721" y="4036"/>
                    </a:lnTo>
                    <a:lnTo>
                      <a:pt x="142612" y="29209"/>
                    </a:lnTo>
                    <a:lnTo>
                      <a:pt x="129072" y="44213"/>
                    </a:lnTo>
                    <a:lnTo>
                      <a:pt x="157747" y="39093"/>
                    </a:lnTo>
                    <a:lnTo>
                      <a:pt x="175918" y="30631"/>
                    </a:lnTo>
                    <a:lnTo>
                      <a:pt x="193594" y="44075"/>
                    </a:lnTo>
                    <a:lnTo>
                      <a:pt x="202223" y="56219"/>
                    </a:lnTo>
                    <a:lnTo>
                      <a:pt x="196675" y="66496"/>
                    </a:lnTo>
                    <a:lnTo>
                      <a:pt x="222899" y="62622"/>
                    </a:lnTo>
                    <a:lnTo>
                      <a:pt x="225652" y="78304"/>
                    </a:lnTo>
                    <a:lnTo>
                      <a:pt x="249521" y="89357"/>
                    </a:lnTo>
                    <a:lnTo>
                      <a:pt x="254464" y="99472"/>
                    </a:lnTo>
                    <a:lnTo>
                      <a:pt x="253011" y="122221"/>
                    </a:lnTo>
                    <a:lnTo>
                      <a:pt x="222930" y="131840"/>
                    </a:lnTo>
                    <a:lnTo>
                      <a:pt x="244152" y="149046"/>
                    </a:lnTo>
                    <a:lnTo>
                      <a:pt x="261850" y="155419"/>
                    </a:lnTo>
                    <a:lnTo>
                      <a:pt x="268781" y="178270"/>
                    </a:lnTo>
                    <a:lnTo>
                      <a:pt x="288821" y="180975"/>
                    </a:lnTo>
                    <a:lnTo>
                      <a:pt x="275982" y="197447"/>
                    </a:lnTo>
                    <a:lnTo>
                      <a:pt x="237901" y="223809"/>
                    </a:lnTo>
                    <a:lnTo>
                      <a:pt x="226553" y="212700"/>
                    </a:lnTo>
                    <a:lnTo>
                      <a:pt x="217951" y="188631"/>
                    </a:lnTo>
                    <a:lnTo>
                      <a:pt x="199041" y="190594"/>
                    </a:lnTo>
                    <a:lnTo>
                      <a:pt x="189651" y="204092"/>
                    </a:lnTo>
                    <a:lnTo>
                      <a:pt x="196176" y="218744"/>
                    </a:lnTo>
                    <a:lnTo>
                      <a:pt x="208764" y="230761"/>
                    </a:lnTo>
                    <a:lnTo>
                      <a:pt x="211072" y="237411"/>
                    </a:lnTo>
                    <a:lnTo>
                      <a:pt x="207902" y="261529"/>
                    </a:lnTo>
                    <a:lnTo>
                      <a:pt x="194420" y="278428"/>
                    </a:lnTo>
                    <a:lnTo>
                      <a:pt x="180022" y="270952"/>
                    </a:lnTo>
                    <a:lnTo>
                      <a:pt x="155287" y="249812"/>
                    </a:lnTo>
                    <a:lnTo>
                      <a:pt x="163952" y="271525"/>
                    </a:lnTo>
                    <a:lnTo>
                      <a:pt x="171146" y="286798"/>
                    </a:lnTo>
                    <a:lnTo>
                      <a:pt x="169229" y="295279"/>
                    </a:lnTo>
                    <a:lnTo>
                      <a:pt x="135847" y="283499"/>
                    </a:lnTo>
                    <a:lnTo>
                      <a:pt x="113302" y="267816"/>
                    </a:lnTo>
                    <a:lnTo>
                      <a:pt x="103003" y="255158"/>
                    </a:lnTo>
                    <a:lnTo>
                      <a:pt x="111642" y="248747"/>
                    </a:lnTo>
                    <a:lnTo>
                      <a:pt x="98272" y="235222"/>
                    </a:lnTo>
                    <a:lnTo>
                      <a:pt x="85378" y="222417"/>
                    </a:lnTo>
                    <a:lnTo>
                      <a:pt x="81429" y="229309"/>
                    </a:lnTo>
                    <a:lnTo>
                      <a:pt x="39855" y="230444"/>
                    </a:lnTo>
                    <a:lnTo>
                      <a:pt x="33555" y="221517"/>
                    </a:lnTo>
                    <a:lnTo>
                      <a:pt x="53544" y="204715"/>
                    </a:lnTo>
                    <a:lnTo>
                      <a:pt x="78923" y="206007"/>
                    </a:lnTo>
                    <a:lnTo>
                      <a:pt x="108344" y="204806"/>
                    </a:lnTo>
                    <a:lnTo>
                      <a:pt x="109076" y="196064"/>
                    </a:lnTo>
                    <a:lnTo>
                      <a:pt x="121020" y="184569"/>
                    </a:lnTo>
                    <a:lnTo>
                      <a:pt x="152340" y="162655"/>
                    </a:lnTo>
                    <a:lnTo>
                      <a:pt x="155321" y="151992"/>
                    </a:lnTo>
                    <a:lnTo>
                      <a:pt x="155480" y="143602"/>
                    </a:lnTo>
                    <a:lnTo>
                      <a:pt x="143288" y="130917"/>
                    </a:lnTo>
                    <a:lnTo>
                      <a:pt x="122944" y="121227"/>
                    </a:lnTo>
                    <a:lnTo>
                      <a:pt x="135088" y="115839"/>
                    </a:lnTo>
                    <a:lnTo>
                      <a:pt x="131908" y="100398"/>
                    </a:lnTo>
                    <a:lnTo>
                      <a:pt x="121886" y="98325"/>
                    </a:lnTo>
                    <a:lnTo>
                      <a:pt x="117826" y="89715"/>
                    </a:lnTo>
                    <a:lnTo>
                      <a:pt x="106216" y="96137"/>
                    </a:lnTo>
                    <a:lnTo>
                      <a:pt x="81551" y="97553"/>
                    </a:lnTo>
                    <a:lnTo>
                      <a:pt x="40620" y="89080"/>
                    </a:lnTo>
                    <a:lnTo>
                      <a:pt x="20150" y="80327"/>
                    </a:lnTo>
                    <a:lnTo>
                      <a:pt x="3299" y="75320"/>
                    </a:lnTo>
                    <a:lnTo>
                      <a:pt x="0" y="66441"/>
                    </a:lnTo>
                    <a:lnTo>
                      <a:pt x="21328" y="56931"/>
                    </a:lnTo>
                    <a:lnTo>
                      <a:pt x="4468" y="55507"/>
                    </a:lnTo>
                    <a:lnTo>
                      <a:pt x="20743" y="32030"/>
                    </a:lnTo>
                    <a:lnTo>
                      <a:pt x="47604" y="12315"/>
                    </a:lnTo>
                    <a:lnTo>
                      <a:pt x="67622" y="3902"/>
                    </a:lnTo>
                    <a:lnTo>
                      <a:pt x="102446" y="0"/>
                    </a:lnTo>
                    <a:lnTo>
                      <a:pt x="81337" y="14156"/>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80" name="Polygon form 145"/>
              <p:cNvSpPr/>
              <p:nvPr/>
            </p:nvSpPr>
            <p:spPr>
              <a:xfrm>
                <a:off x="2949030" y="2110254"/>
                <a:ext cx="402364" cy="155695"/>
              </a:xfrm>
              <a:custGeom>
                <a:avLst/>
                <a:gdLst/>
                <a:ahLst/>
                <a:cxnLst/>
                <a:rect l="0" t="0" r="0" b="0"/>
                <a:pathLst>
                  <a:path w="402364" h="155695">
                    <a:moveTo>
                      <a:pt x="347149" y="4579"/>
                    </a:moveTo>
                    <a:lnTo>
                      <a:pt x="371143" y="7278"/>
                    </a:lnTo>
                    <a:lnTo>
                      <a:pt x="389405" y="10923"/>
                    </a:lnTo>
                    <a:lnTo>
                      <a:pt x="402364" y="17757"/>
                    </a:lnTo>
                    <a:lnTo>
                      <a:pt x="397431" y="23877"/>
                    </a:lnTo>
                    <a:lnTo>
                      <a:pt x="366136" y="32961"/>
                    </a:lnTo>
                    <a:lnTo>
                      <a:pt x="338751" y="36665"/>
                    </a:lnTo>
                    <a:lnTo>
                      <a:pt x="325798" y="41415"/>
                    </a:lnTo>
                    <a:lnTo>
                      <a:pt x="347482" y="42173"/>
                    </a:lnTo>
                    <a:lnTo>
                      <a:pt x="313189" y="55080"/>
                    </a:lnTo>
                    <a:lnTo>
                      <a:pt x="291659" y="60828"/>
                    </a:lnTo>
                    <a:lnTo>
                      <a:pt x="259323" y="78665"/>
                    </a:lnTo>
                    <a:lnTo>
                      <a:pt x="235016" y="81404"/>
                    </a:lnTo>
                    <a:lnTo>
                      <a:pt x="224607" y="85716"/>
                    </a:lnTo>
                    <a:lnTo>
                      <a:pt x="191260" y="86514"/>
                    </a:lnTo>
                    <a:lnTo>
                      <a:pt x="203108" y="90116"/>
                    </a:lnTo>
                    <a:lnTo>
                      <a:pt x="192497" y="93790"/>
                    </a:lnTo>
                    <a:lnTo>
                      <a:pt x="191759" y="105475"/>
                    </a:lnTo>
                    <a:lnTo>
                      <a:pt x="175227" y="112731"/>
                    </a:lnTo>
                    <a:lnTo>
                      <a:pt x="153401" y="118243"/>
                    </a:lnTo>
                    <a:lnTo>
                      <a:pt x="140808" y="126850"/>
                    </a:lnTo>
                    <a:lnTo>
                      <a:pt x="120009" y="132753"/>
                    </a:lnTo>
                    <a:lnTo>
                      <a:pt x="117136" y="137992"/>
                    </a:lnTo>
                    <a:lnTo>
                      <a:pt x="136403" y="138224"/>
                    </a:lnTo>
                    <a:lnTo>
                      <a:pt x="132027" y="143809"/>
                    </a:lnTo>
                    <a:lnTo>
                      <a:pt x="91326" y="155695"/>
                    </a:lnTo>
                    <a:lnTo>
                      <a:pt x="68117" y="147589"/>
                    </a:lnTo>
                    <a:lnTo>
                      <a:pt x="32985" y="148977"/>
                    </a:lnTo>
                    <a:lnTo>
                      <a:pt x="19333" y="145146"/>
                    </a:lnTo>
                    <a:lnTo>
                      <a:pt x="0" y="142548"/>
                    </a:lnTo>
                    <a:lnTo>
                      <a:pt x="8946" y="131703"/>
                    </a:lnTo>
                    <a:lnTo>
                      <a:pt x="33513" y="127981"/>
                    </a:lnTo>
                    <a:lnTo>
                      <a:pt x="43759" y="111482"/>
                    </a:lnTo>
                    <a:lnTo>
                      <a:pt x="51670" y="110332"/>
                    </a:lnTo>
                    <a:lnTo>
                      <a:pt x="70781" y="121833"/>
                    </a:lnTo>
                    <a:lnTo>
                      <a:pt x="69874" y="106523"/>
                    </a:lnTo>
                    <a:lnTo>
                      <a:pt x="57090" y="101157"/>
                    </a:lnTo>
                    <a:lnTo>
                      <a:pt x="73867" y="93067"/>
                    </a:lnTo>
                    <a:lnTo>
                      <a:pt x="97260" y="88877"/>
                    </a:lnTo>
                    <a:lnTo>
                      <a:pt x="107623" y="81271"/>
                    </a:lnTo>
                    <a:lnTo>
                      <a:pt x="101742" y="71721"/>
                    </a:lnTo>
                    <a:lnTo>
                      <a:pt x="108834" y="60051"/>
                    </a:lnTo>
                    <a:lnTo>
                      <a:pt x="135230" y="62564"/>
                    </a:lnTo>
                    <a:lnTo>
                      <a:pt x="140839" y="65423"/>
                    </a:lnTo>
                    <a:lnTo>
                      <a:pt x="164214" y="58145"/>
                    </a:lnTo>
                    <a:lnTo>
                      <a:pt x="144237" y="54354"/>
                    </a:lnTo>
                    <a:lnTo>
                      <a:pt x="108109" y="53818"/>
                    </a:lnTo>
                    <a:lnTo>
                      <a:pt x="98391" y="45350"/>
                    </a:lnTo>
                    <a:lnTo>
                      <a:pt x="99619" y="36037"/>
                    </a:lnTo>
                    <a:lnTo>
                      <a:pt x="95226" y="29015"/>
                    </a:lnTo>
                    <a:lnTo>
                      <a:pt x="101242" y="21488"/>
                    </a:lnTo>
                    <a:lnTo>
                      <a:pt x="119938" y="18108"/>
                    </a:lnTo>
                    <a:lnTo>
                      <a:pt x="131817" y="17983"/>
                    </a:lnTo>
                    <a:lnTo>
                      <a:pt x="154241" y="15396"/>
                    </a:lnTo>
                    <a:lnTo>
                      <a:pt x="176690" y="7917"/>
                    </a:lnTo>
                    <a:lnTo>
                      <a:pt x="187228" y="9622"/>
                    </a:lnTo>
                    <a:lnTo>
                      <a:pt x="191255" y="16278"/>
                    </a:lnTo>
                    <a:lnTo>
                      <a:pt x="210398" y="4701"/>
                    </a:lnTo>
                    <a:lnTo>
                      <a:pt x="226338" y="1721"/>
                    </a:lnTo>
                    <a:lnTo>
                      <a:pt x="245580" y="0"/>
                    </a:lnTo>
                    <a:lnTo>
                      <a:pt x="275187" y="269"/>
                    </a:lnTo>
                    <a:lnTo>
                      <a:pt x="277963" y="2885"/>
                    </a:lnTo>
                    <a:lnTo>
                      <a:pt x="308624" y="172"/>
                    </a:lnTo>
                    <a:lnTo>
                      <a:pt x="327831" y="2380"/>
                    </a:lnTo>
                    <a:lnTo>
                      <a:pt x="347149" y="4579"/>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81" name="Polygon form 146"/>
              <p:cNvSpPr/>
              <p:nvPr/>
            </p:nvSpPr>
            <p:spPr>
              <a:xfrm>
                <a:off x="2481958" y="2298592"/>
                <a:ext cx="206351" cy="116478"/>
              </a:xfrm>
              <a:custGeom>
                <a:avLst/>
                <a:gdLst/>
                <a:ahLst/>
                <a:cxnLst/>
                <a:rect l="0" t="0" r="0" b="0"/>
                <a:pathLst>
                  <a:path w="206351" h="116478">
                    <a:moveTo>
                      <a:pt x="119766" y="5352"/>
                    </a:moveTo>
                    <a:lnTo>
                      <a:pt x="102436" y="15035"/>
                    </a:lnTo>
                    <a:lnTo>
                      <a:pt x="134603" y="10907"/>
                    </a:lnTo>
                    <a:lnTo>
                      <a:pt x="137618" y="23566"/>
                    </a:lnTo>
                    <a:lnTo>
                      <a:pt x="162668" y="13542"/>
                    </a:lnTo>
                    <a:lnTo>
                      <a:pt x="164923" y="21774"/>
                    </a:lnTo>
                    <a:lnTo>
                      <a:pt x="150807" y="44499"/>
                    </a:lnTo>
                    <a:lnTo>
                      <a:pt x="166285" y="35820"/>
                    </a:lnTo>
                    <a:lnTo>
                      <a:pt x="182716" y="12344"/>
                    </a:lnTo>
                    <a:lnTo>
                      <a:pt x="196017" y="10037"/>
                    </a:lnTo>
                    <a:lnTo>
                      <a:pt x="203272" y="14619"/>
                    </a:lnTo>
                    <a:lnTo>
                      <a:pt x="206351" y="24756"/>
                    </a:lnTo>
                    <a:lnTo>
                      <a:pt x="191009" y="47190"/>
                    </a:lnTo>
                    <a:lnTo>
                      <a:pt x="178603" y="63376"/>
                    </a:lnTo>
                    <a:lnTo>
                      <a:pt x="187261" y="76404"/>
                    </a:lnTo>
                    <a:lnTo>
                      <a:pt x="198376" y="89127"/>
                    </a:lnTo>
                    <a:lnTo>
                      <a:pt x="187680" y="99021"/>
                    </a:lnTo>
                    <a:lnTo>
                      <a:pt x="166252" y="99011"/>
                    </a:lnTo>
                    <a:lnTo>
                      <a:pt x="165677" y="108491"/>
                    </a:lnTo>
                    <a:lnTo>
                      <a:pt x="153783" y="116478"/>
                    </a:lnTo>
                    <a:lnTo>
                      <a:pt x="135241" y="110796"/>
                    </a:lnTo>
                    <a:lnTo>
                      <a:pt x="120475" y="102642"/>
                    </a:lnTo>
                    <a:lnTo>
                      <a:pt x="105211" y="102640"/>
                    </a:lnTo>
                    <a:lnTo>
                      <a:pt x="75115" y="108050"/>
                    </a:lnTo>
                    <a:lnTo>
                      <a:pt x="41383" y="108287"/>
                    </a:lnTo>
                    <a:lnTo>
                      <a:pt x="17970" y="108153"/>
                    </a:lnTo>
                    <a:lnTo>
                      <a:pt x="22642" y="96846"/>
                    </a:lnTo>
                    <a:lnTo>
                      <a:pt x="13092" y="88993"/>
                    </a:lnTo>
                    <a:lnTo>
                      <a:pt x="0" y="90347"/>
                    </a:lnTo>
                    <a:lnTo>
                      <a:pt x="5044" y="71129"/>
                    </a:lnTo>
                    <a:lnTo>
                      <a:pt x="15334" y="69613"/>
                    </a:lnTo>
                    <a:lnTo>
                      <a:pt x="37298" y="67762"/>
                    </a:lnTo>
                    <a:lnTo>
                      <a:pt x="52487" y="70509"/>
                    </a:lnTo>
                    <a:lnTo>
                      <a:pt x="71763" y="68223"/>
                    </a:lnTo>
                    <a:lnTo>
                      <a:pt x="55118" y="60669"/>
                    </a:lnTo>
                    <a:lnTo>
                      <a:pt x="28696" y="59790"/>
                    </a:lnTo>
                    <a:lnTo>
                      <a:pt x="13022" y="57562"/>
                    </a:lnTo>
                    <a:lnTo>
                      <a:pt x="16317" y="48775"/>
                    </a:lnTo>
                    <a:lnTo>
                      <a:pt x="52558" y="42833"/>
                    </a:lnTo>
                    <a:lnTo>
                      <a:pt x="34833" y="41255"/>
                    </a:lnTo>
                    <a:lnTo>
                      <a:pt x="22007" y="33328"/>
                    </a:lnTo>
                    <a:lnTo>
                      <a:pt x="50633" y="18008"/>
                    </a:lnTo>
                    <a:lnTo>
                      <a:pt x="68579" y="10173"/>
                    </a:lnTo>
                    <a:lnTo>
                      <a:pt x="113500" y="0"/>
                    </a:lnTo>
                    <a:lnTo>
                      <a:pt x="119766" y="5352"/>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82" name="Polygon form 147"/>
              <p:cNvSpPr/>
              <p:nvPr/>
            </p:nvSpPr>
            <p:spPr>
              <a:xfrm>
                <a:off x="2967727" y="2867305"/>
                <a:ext cx="110403" cy="123152"/>
              </a:xfrm>
              <a:custGeom>
                <a:avLst/>
                <a:gdLst/>
                <a:ahLst/>
                <a:cxnLst/>
                <a:rect l="0" t="0" r="0" b="0"/>
                <a:pathLst>
                  <a:path w="110403" h="123152">
                    <a:moveTo>
                      <a:pt x="75697" y="22711"/>
                    </a:moveTo>
                    <a:lnTo>
                      <a:pt x="58064" y="43456"/>
                    </a:lnTo>
                    <a:lnTo>
                      <a:pt x="71325" y="35717"/>
                    </a:lnTo>
                    <a:lnTo>
                      <a:pt x="80582" y="41370"/>
                    </a:lnTo>
                    <a:lnTo>
                      <a:pt x="72186" y="49586"/>
                    </a:lnTo>
                    <a:lnTo>
                      <a:pt x="84610" y="56832"/>
                    </a:lnTo>
                    <a:lnTo>
                      <a:pt x="93979" y="51231"/>
                    </a:lnTo>
                    <a:lnTo>
                      <a:pt x="108030" y="59342"/>
                    </a:lnTo>
                    <a:lnTo>
                      <a:pt x="97643" y="76902"/>
                    </a:lnTo>
                    <a:lnTo>
                      <a:pt x="110403" y="73206"/>
                    </a:lnTo>
                    <a:lnTo>
                      <a:pt x="108755" y="86159"/>
                    </a:lnTo>
                    <a:lnTo>
                      <a:pt x="109592" y="101438"/>
                    </a:lnTo>
                    <a:lnTo>
                      <a:pt x="96562" y="122535"/>
                    </a:lnTo>
                    <a:lnTo>
                      <a:pt x="88734" y="123152"/>
                    </a:lnTo>
                    <a:lnTo>
                      <a:pt x="79032" y="118146"/>
                    </a:lnTo>
                    <a:lnTo>
                      <a:pt x="88379" y="98422"/>
                    </a:lnTo>
                    <a:lnTo>
                      <a:pt x="84655" y="95157"/>
                    </a:lnTo>
                    <a:lnTo>
                      <a:pt x="59165" y="115454"/>
                    </a:lnTo>
                    <a:lnTo>
                      <a:pt x="49453" y="114213"/>
                    </a:lnTo>
                    <a:lnTo>
                      <a:pt x="64604" y="103272"/>
                    </a:lnTo>
                    <a:lnTo>
                      <a:pt x="50435" y="96728"/>
                    </a:lnTo>
                    <a:lnTo>
                      <a:pt x="32166" y="97443"/>
                    </a:lnTo>
                    <a:lnTo>
                      <a:pt x="225" y="95336"/>
                    </a:lnTo>
                    <a:lnTo>
                      <a:pt x="0" y="88030"/>
                    </a:lnTo>
                    <a:lnTo>
                      <a:pt x="13043" y="79924"/>
                    </a:lnTo>
                    <a:lnTo>
                      <a:pt x="8026" y="73014"/>
                    </a:lnTo>
                    <a:lnTo>
                      <a:pt x="26589" y="58992"/>
                    </a:lnTo>
                    <a:lnTo>
                      <a:pt x="56166" y="21098"/>
                    </a:lnTo>
                    <a:lnTo>
                      <a:pt x="70770" y="7744"/>
                    </a:lnTo>
                    <a:lnTo>
                      <a:pt x="87481" y="0"/>
                    </a:lnTo>
                    <a:lnTo>
                      <a:pt x="94567" y="1379"/>
                    </a:lnTo>
                    <a:lnTo>
                      <a:pt x="89303" y="7814"/>
                    </a:lnTo>
                    <a:lnTo>
                      <a:pt x="75697" y="22711"/>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83" name="Polygon form 148"/>
              <p:cNvSpPr/>
              <p:nvPr/>
            </p:nvSpPr>
            <p:spPr>
              <a:xfrm>
                <a:off x="2440241" y="2266532"/>
                <a:ext cx="155832" cy="75034"/>
              </a:xfrm>
              <a:custGeom>
                <a:avLst/>
                <a:gdLst/>
                <a:ahLst/>
                <a:cxnLst/>
                <a:rect l="0" t="0" r="0" b="0"/>
                <a:pathLst>
                  <a:path w="155832" h="75034">
                    <a:moveTo>
                      <a:pt x="47417" y="67891"/>
                    </a:moveTo>
                    <a:lnTo>
                      <a:pt x="5498" y="75034"/>
                    </a:lnTo>
                    <a:lnTo>
                      <a:pt x="11180" y="64814"/>
                    </a:lnTo>
                    <a:lnTo>
                      <a:pt x="0" y="50413"/>
                    </a:lnTo>
                    <a:lnTo>
                      <a:pt x="16166" y="41865"/>
                    </a:lnTo>
                    <a:lnTo>
                      <a:pt x="43545" y="27100"/>
                    </a:lnTo>
                    <a:lnTo>
                      <a:pt x="70793" y="14130"/>
                    </a:lnTo>
                    <a:lnTo>
                      <a:pt x="77439" y="0"/>
                    </a:lnTo>
                    <a:lnTo>
                      <a:pt x="117185" y="540"/>
                    </a:lnTo>
                    <a:lnTo>
                      <a:pt x="126637" y="6564"/>
                    </a:lnTo>
                    <a:lnTo>
                      <a:pt x="152314" y="10586"/>
                    </a:lnTo>
                    <a:lnTo>
                      <a:pt x="155121" y="17901"/>
                    </a:lnTo>
                    <a:lnTo>
                      <a:pt x="155832" y="28209"/>
                    </a:lnTo>
                    <a:lnTo>
                      <a:pt x="135660" y="32271"/>
                    </a:lnTo>
                    <a:lnTo>
                      <a:pt x="90636" y="44671"/>
                    </a:lnTo>
                    <a:lnTo>
                      <a:pt x="58746" y="58378"/>
                    </a:lnTo>
                    <a:lnTo>
                      <a:pt x="47417" y="67891"/>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84" name="Polygon form 149"/>
              <p:cNvSpPr/>
              <p:nvPr/>
            </p:nvSpPr>
            <p:spPr>
              <a:xfrm>
                <a:off x="2873656" y="2231865"/>
                <a:ext cx="156266" cy="72726"/>
              </a:xfrm>
              <a:custGeom>
                <a:avLst/>
                <a:gdLst/>
                <a:ahLst/>
                <a:cxnLst/>
                <a:rect l="0" t="0" r="0" b="0"/>
                <a:pathLst>
                  <a:path w="156266" h="72726">
                    <a:moveTo>
                      <a:pt x="33725" y="3011"/>
                    </a:moveTo>
                    <a:lnTo>
                      <a:pt x="38247" y="11010"/>
                    </a:lnTo>
                    <a:lnTo>
                      <a:pt x="59299" y="12477"/>
                    </a:lnTo>
                    <a:lnTo>
                      <a:pt x="61396" y="20491"/>
                    </a:lnTo>
                    <a:lnTo>
                      <a:pt x="50829" y="28730"/>
                    </a:lnTo>
                    <a:lnTo>
                      <a:pt x="58486" y="34712"/>
                    </a:lnTo>
                    <a:lnTo>
                      <a:pt x="60433" y="40562"/>
                    </a:lnTo>
                    <a:lnTo>
                      <a:pt x="74355" y="42611"/>
                    </a:lnTo>
                    <a:lnTo>
                      <a:pt x="88748" y="45636"/>
                    </a:lnTo>
                    <a:lnTo>
                      <a:pt x="110687" y="41926"/>
                    </a:lnTo>
                    <a:lnTo>
                      <a:pt x="134870" y="41493"/>
                    </a:lnTo>
                    <a:lnTo>
                      <a:pt x="151503" y="44268"/>
                    </a:lnTo>
                    <a:lnTo>
                      <a:pt x="156266" y="53654"/>
                    </a:lnTo>
                    <a:lnTo>
                      <a:pt x="151022" y="63292"/>
                    </a:lnTo>
                    <a:lnTo>
                      <a:pt x="138994" y="68927"/>
                    </a:lnTo>
                    <a:lnTo>
                      <a:pt x="118015" y="72726"/>
                    </a:lnTo>
                    <a:lnTo>
                      <a:pt x="105820" y="68962"/>
                    </a:lnTo>
                    <a:lnTo>
                      <a:pt x="70360" y="70214"/>
                    </a:lnTo>
                    <a:lnTo>
                      <a:pt x="46835" y="68947"/>
                    </a:lnTo>
                    <a:lnTo>
                      <a:pt x="31214" y="64816"/>
                    </a:lnTo>
                    <a:lnTo>
                      <a:pt x="8355" y="55313"/>
                    </a:lnTo>
                    <a:lnTo>
                      <a:pt x="16363" y="42689"/>
                    </a:lnTo>
                    <a:lnTo>
                      <a:pt x="25833" y="31483"/>
                    </a:lnTo>
                    <a:lnTo>
                      <a:pt x="24627" y="20929"/>
                    </a:lnTo>
                    <a:lnTo>
                      <a:pt x="5219" y="16547"/>
                    </a:lnTo>
                    <a:lnTo>
                      <a:pt x="0" y="8755"/>
                    </a:lnTo>
                    <a:lnTo>
                      <a:pt x="13473" y="0"/>
                    </a:lnTo>
                    <a:lnTo>
                      <a:pt x="33725" y="3011"/>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85" name="Polygon form 150"/>
              <p:cNvSpPr/>
              <p:nvPr/>
            </p:nvSpPr>
            <p:spPr>
              <a:xfrm>
                <a:off x="2952947" y="2144912"/>
                <a:ext cx="97695" cy="68041"/>
              </a:xfrm>
              <a:custGeom>
                <a:avLst/>
                <a:gdLst/>
                <a:ahLst/>
                <a:cxnLst/>
                <a:rect l="0" t="0" r="0" b="0"/>
                <a:pathLst>
                  <a:path w="97695" h="68041">
                    <a:moveTo>
                      <a:pt x="90971" y="38447"/>
                    </a:moveTo>
                    <a:lnTo>
                      <a:pt x="96179" y="46364"/>
                    </a:lnTo>
                    <a:lnTo>
                      <a:pt x="75682" y="52136"/>
                    </a:lnTo>
                    <a:lnTo>
                      <a:pt x="40173" y="67660"/>
                    </a:lnTo>
                    <a:lnTo>
                      <a:pt x="20211" y="68041"/>
                    </a:lnTo>
                    <a:lnTo>
                      <a:pt x="1652" y="63758"/>
                    </a:lnTo>
                    <a:lnTo>
                      <a:pt x="0" y="54026"/>
                    </a:lnTo>
                    <a:lnTo>
                      <a:pt x="8595" y="46073"/>
                    </a:lnTo>
                    <a:lnTo>
                      <a:pt x="22787" y="40757"/>
                    </a:lnTo>
                    <a:lnTo>
                      <a:pt x="4196" y="39710"/>
                    </a:lnTo>
                    <a:lnTo>
                      <a:pt x="1093" y="31727"/>
                    </a:lnTo>
                    <a:lnTo>
                      <a:pt x="5765" y="21489"/>
                    </a:lnTo>
                    <a:lnTo>
                      <a:pt x="23393" y="12302"/>
                    </a:lnTo>
                    <a:lnTo>
                      <a:pt x="37567" y="6125"/>
                    </a:lnTo>
                    <a:lnTo>
                      <a:pt x="49215" y="5213"/>
                    </a:lnTo>
                    <a:lnTo>
                      <a:pt x="50536" y="0"/>
                    </a:lnTo>
                    <a:lnTo>
                      <a:pt x="74233" y="214"/>
                    </a:lnTo>
                    <a:lnTo>
                      <a:pt x="74089" y="12580"/>
                    </a:lnTo>
                    <a:lnTo>
                      <a:pt x="85717" y="18249"/>
                    </a:lnTo>
                    <a:lnTo>
                      <a:pt x="97695" y="23370"/>
                    </a:lnTo>
                    <a:lnTo>
                      <a:pt x="90971" y="38447"/>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86" name="Polygon form 151"/>
              <p:cNvSpPr/>
              <p:nvPr/>
            </p:nvSpPr>
            <p:spPr>
              <a:xfrm>
                <a:off x="2618478" y="2229026"/>
                <a:ext cx="143745" cy="48797"/>
              </a:xfrm>
              <a:custGeom>
                <a:avLst/>
                <a:gdLst/>
                <a:ahLst/>
                <a:cxnLst/>
                <a:rect l="0" t="0" r="0" b="0"/>
                <a:pathLst>
                  <a:path w="143745" h="48797">
                    <a:moveTo>
                      <a:pt x="125004" y="14027"/>
                    </a:moveTo>
                    <a:lnTo>
                      <a:pt x="120171" y="22114"/>
                    </a:lnTo>
                    <a:lnTo>
                      <a:pt x="133751" y="19305"/>
                    </a:lnTo>
                    <a:lnTo>
                      <a:pt x="143745" y="21210"/>
                    </a:lnTo>
                    <a:lnTo>
                      <a:pt x="133579" y="32068"/>
                    </a:lnTo>
                    <a:lnTo>
                      <a:pt x="115463" y="41873"/>
                    </a:lnTo>
                    <a:lnTo>
                      <a:pt x="75220" y="41947"/>
                    </a:lnTo>
                    <a:lnTo>
                      <a:pt x="37196" y="48797"/>
                    </a:lnTo>
                    <a:lnTo>
                      <a:pt x="20283" y="47696"/>
                    </a:lnTo>
                    <a:lnTo>
                      <a:pt x="27321" y="40511"/>
                    </a:lnTo>
                    <a:lnTo>
                      <a:pt x="60785" y="33071"/>
                    </a:lnTo>
                    <a:lnTo>
                      <a:pt x="9915" y="31013"/>
                    </a:lnTo>
                    <a:lnTo>
                      <a:pt x="0" y="25728"/>
                    </a:lnTo>
                    <a:lnTo>
                      <a:pt x="40397" y="6330"/>
                    </a:lnTo>
                    <a:lnTo>
                      <a:pt x="57594" y="1305"/>
                    </a:lnTo>
                    <a:lnTo>
                      <a:pt x="77733" y="11211"/>
                    </a:lnTo>
                    <a:lnTo>
                      <a:pt x="81046" y="25676"/>
                    </a:lnTo>
                    <a:lnTo>
                      <a:pt x="97615" y="29015"/>
                    </a:lnTo>
                    <a:lnTo>
                      <a:pt x="106980" y="6993"/>
                    </a:lnTo>
                    <a:lnTo>
                      <a:pt x="125867" y="0"/>
                    </a:lnTo>
                    <a:lnTo>
                      <a:pt x="133587" y="3424"/>
                    </a:lnTo>
                    <a:lnTo>
                      <a:pt x="125004" y="14027"/>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87" name="Polygon form 152"/>
              <p:cNvSpPr/>
              <p:nvPr/>
            </p:nvSpPr>
            <p:spPr>
              <a:xfrm>
                <a:off x="2732950" y="2502964"/>
                <a:ext cx="99520" cy="63726"/>
              </a:xfrm>
              <a:custGeom>
                <a:avLst/>
                <a:gdLst/>
                <a:ahLst/>
                <a:cxnLst/>
                <a:rect l="0" t="0" r="0" b="0"/>
                <a:pathLst>
                  <a:path w="99520" h="63726">
                    <a:moveTo>
                      <a:pt x="62596" y="2647"/>
                    </a:moveTo>
                    <a:lnTo>
                      <a:pt x="57725" y="13178"/>
                    </a:lnTo>
                    <a:lnTo>
                      <a:pt x="67044" y="10064"/>
                    </a:lnTo>
                    <a:lnTo>
                      <a:pt x="70446" y="16821"/>
                    </a:lnTo>
                    <a:lnTo>
                      <a:pt x="79500" y="26001"/>
                    </a:lnTo>
                    <a:lnTo>
                      <a:pt x="89930" y="34491"/>
                    </a:lnTo>
                    <a:lnTo>
                      <a:pt x="83714" y="45826"/>
                    </a:lnTo>
                    <a:lnTo>
                      <a:pt x="94886" y="44706"/>
                    </a:lnTo>
                    <a:lnTo>
                      <a:pt x="99520" y="53254"/>
                    </a:lnTo>
                    <a:lnTo>
                      <a:pt x="82633" y="59845"/>
                    </a:lnTo>
                    <a:lnTo>
                      <a:pt x="65135" y="52597"/>
                    </a:lnTo>
                    <a:lnTo>
                      <a:pt x="64606" y="41383"/>
                    </a:lnTo>
                    <a:lnTo>
                      <a:pt x="42749" y="52960"/>
                    </a:lnTo>
                    <a:lnTo>
                      <a:pt x="15143" y="63726"/>
                    </a:lnTo>
                    <a:lnTo>
                      <a:pt x="19897" y="49531"/>
                    </a:lnTo>
                    <a:lnTo>
                      <a:pt x="0" y="50365"/>
                    </a:lnTo>
                    <a:lnTo>
                      <a:pt x="19856" y="39608"/>
                    </a:lnTo>
                    <a:lnTo>
                      <a:pt x="34600" y="21188"/>
                    </a:lnTo>
                    <a:lnTo>
                      <a:pt x="54478" y="0"/>
                    </a:lnTo>
                    <a:lnTo>
                      <a:pt x="62596" y="2647"/>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88" name="Polygon form 153"/>
              <p:cNvSpPr/>
              <p:nvPr/>
            </p:nvSpPr>
            <p:spPr>
              <a:xfrm>
                <a:off x="2717442" y="2302302"/>
                <a:ext cx="85823" cy="59843"/>
              </a:xfrm>
              <a:custGeom>
                <a:avLst/>
                <a:gdLst/>
                <a:ahLst/>
                <a:cxnLst/>
                <a:rect l="0" t="0" r="0" b="0"/>
                <a:pathLst>
                  <a:path w="85823" h="59843">
                    <a:moveTo>
                      <a:pt x="54410" y="0"/>
                    </a:moveTo>
                    <a:lnTo>
                      <a:pt x="62994" y="5843"/>
                    </a:lnTo>
                    <a:lnTo>
                      <a:pt x="85823" y="4687"/>
                    </a:lnTo>
                    <a:lnTo>
                      <a:pt x="82376" y="11444"/>
                    </a:lnTo>
                    <a:lnTo>
                      <a:pt x="61292" y="21338"/>
                    </a:lnTo>
                    <a:lnTo>
                      <a:pt x="69267" y="32511"/>
                    </a:lnTo>
                    <a:lnTo>
                      <a:pt x="48016" y="52719"/>
                    </a:lnTo>
                    <a:lnTo>
                      <a:pt x="20599" y="59843"/>
                    </a:lnTo>
                    <a:lnTo>
                      <a:pt x="11116" y="56955"/>
                    </a:lnTo>
                    <a:lnTo>
                      <a:pt x="11357" y="47606"/>
                    </a:lnTo>
                    <a:lnTo>
                      <a:pt x="0" y="27693"/>
                    </a:lnTo>
                    <a:lnTo>
                      <a:pt x="7499" y="20552"/>
                    </a:lnTo>
                    <a:lnTo>
                      <a:pt x="27864" y="25391"/>
                    </a:lnTo>
                    <a:lnTo>
                      <a:pt x="30165" y="9651"/>
                    </a:lnTo>
                    <a:lnTo>
                      <a:pt x="54410" y="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89" name="Polygon form 154"/>
              <p:cNvSpPr/>
              <p:nvPr/>
            </p:nvSpPr>
            <p:spPr>
              <a:xfrm>
                <a:off x="2789199" y="2301186"/>
                <a:ext cx="93655" cy="47954"/>
              </a:xfrm>
              <a:custGeom>
                <a:avLst/>
                <a:gdLst/>
                <a:ahLst/>
                <a:cxnLst/>
                <a:rect l="0" t="0" r="0" b="0"/>
                <a:pathLst>
                  <a:path w="93655" h="47954">
                    <a:moveTo>
                      <a:pt x="40470" y="31989"/>
                    </a:moveTo>
                    <a:lnTo>
                      <a:pt x="12501" y="47954"/>
                    </a:lnTo>
                    <a:lnTo>
                      <a:pt x="0" y="46005"/>
                    </a:lnTo>
                    <a:lnTo>
                      <a:pt x="11472" y="25520"/>
                    </a:lnTo>
                    <a:lnTo>
                      <a:pt x="22367" y="14323"/>
                    </a:lnTo>
                    <a:lnTo>
                      <a:pt x="37473" y="5237"/>
                    </a:lnTo>
                    <a:lnTo>
                      <a:pt x="54504" y="0"/>
                    </a:lnTo>
                    <a:lnTo>
                      <a:pt x="77155" y="2624"/>
                    </a:lnTo>
                    <a:lnTo>
                      <a:pt x="93655" y="9787"/>
                    </a:lnTo>
                    <a:lnTo>
                      <a:pt x="58221" y="28672"/>
                    </a:lnTo>
                    <a:lnTo>
                      <a:pt x="40470" y="31989"/>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90" name="Polygon form 155"/>
              <p:cNvSpPr/>
              <p:nvPr/>
            </p:nvSpPr>
            <p:spPr>
              <a:xfrm>
                <a:off x="1906766" y="2800081"/>
                <a:ext cx="45142" cy="66686"/>
              </a:xfrm>
              <a:custGeom>
                <a:avLst/>
                <a:gdLst/>
                <a:ahLst/>
                <a:cxnLst/>
                <a:rect l="0" t="0" r="0" b="0"/>
                <a:pathLst>
                  <a:path w="45142" h="66686">
                    <a:moveTo>
                      <a:pt x="41569" y="64115"/>
                    </a:moveTo>
                    <a:lnTo>
                      <a:pt x="31383" y="66686"/>
                    </a:lnTo>
                    <a:lnTo>
                      <a:pt x="14454" y="52619"/>
                    </a:lnTo>
                    <a:lnTo>
                      <a:pt x="16400" y="43343"/>
                    </a:lnTo>
                    <a:lnTo>
                      <a:pt x="9368" y="33142"/>
                    </a:lnTo>
                    <a:lnTo>
                      <a:pt x="12011" y="25817"/>
                    </a:lnTo>
                    <a:lnTo>
                      <a:pt x="0" y="19549"/>
                    </a:lnTo>
                    <a:lnTo>
                      <a:pt x="4725" y="5510"/>
                    </a:lnTo>
                    <a:lnTo>
                      <a:pt x="10495" y="0"/>
                    </a:lnTo>
                    <a:lnTo>
                      <a:pt x="21867" y="7230"/>
                    </a:lnTo>
                    <a:lnTo>
                      <a:pt x="28114" y="12041"/>
                    </a:lnTo>
                    <a:lnTo>
                      <a:pt x="40161" y="16302"/>
                    </a:lnTo>
                    <a:lnTo>
                      <a:pt x="38807" y="25362"/>
                    </a:lnTo>
                    <a:lnTo>
                      <a:pt x="37490" y="37891"/>
                    </a:lnTo>
                    <a:lnTo>
                      <a:pt x="45142" y="49784"/>
                    </a:lnTo>
                    <a:lnTo>
                      <a:pt x="41569" y="64115"/>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91" name="Polygon form 156"/>
              <p:cNvSpPr/>
              <p:nvPr/>
            </p:nvSpPr>
            <p:spPr>
              <a:xfrm>
                <a:off x="2788400" y="2240184"/>
                <a:ext cx="69947" cy="39178"/>
              </a:xfrm>
              <a:custGeom>
                <a:avLst/>
                <a:gdLst/>
                <a:ahLst/>
                <a:cxnLst/>
                <a:rect l="0" t="0" r="0" b="0"/>
                <a:pathLst>
                  <a:path w="69947" h="39178">
                    <a:moveTo>
                      <a:pt x="69947" y="0"/>
                    </a:moveTo>
                    <a:lnTo>
                      <a:pt x="67300" y="10863"/>
                    </a:lnTo>
                    <a:lnTo>
                      <a:pt x="55848" y="22257"/>
                    </a:lnTo>
                    <a:lnTo>
                      <a:pt x="33961" y="38381"/>
                    </a:lnTo>
                    <a:lnTo>
                      <a:pt x="13582" y="39178"/>
                    </a:lnTo>
                    <a:lnTo>
                      <a:pt x="5561" y="34653"/>
                    </a:lnTo>
                    <a:lnTo>
                      <a:pt x="19434" y="21777"/>
                    </a:lnTo>
                    <a:lnTo>
                      <a:pt x="0" y="22005"/>
                    </a:lnTo>
                    <a:lnTo>
                      <a:pt x="17853" y="4986"/>
                    </a:lnTo>
                    <a:lnTo>
                      <a:pt x="28492" y="6603"/>
                    </a:lnTo>
                    <a:lnTo>
                      <a:pt x="52540" y="393"/>
                    </a:lnTo>
                    <a:lnTo>
                      <a:pt x="66058" y="2832"/>
                    </a:lnTo>
                    <a:lnTo>
                      <a:pt x="69947" y="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92" name="Polygon form 157"/>
              <p:cNvSpPr/>
              <p:nvPr/>
            </p:nvSpPr>
            <p:spPr>
              <a:xfrm>
                <a:off x="2590016" y="2204965"/>
                <a:ext cx="109655" cy="31482"/>
              </a:xfrm>
              <a:custGeom>
                <a:avLst/>
                <a:gdLst/>
                <a:ahLst/>
                <a:cxnLst/>
                <a:rect l="0" t="0" r="0" b="0"/>
                <a:pathLst>
                  <a:path w="109655" h="31482">
                    <a:moveTo>
                      <a:pt x="109655" y="0"/>
                    </a:moveTo>
                    <a:lnTo>
                      <a:pt x="87294" y="16047"/>
                    </a:lnTo>
                    <a:lnTo>
                      <a:pt x="70016" y="22635"/>
                    </a:lnTo>
                    <a:lnTo>
                      <a:pt x="59143" y="22753"/>
                    </a:lnTo>
                    <a:lnTo>
                      <a:pt x="28388" y="29911"/>
                    </a:lnTo>
                    <a:lnTo>
                      <a:pt x="7758" y="31482"/>
                    </a:lnTo>
                    <a:lnTo>
                      <a:pt x="0" y="25537"/>
                    </a:lnTo>
                    <a:lnTo>
                      <a:pt x="0" y="25537"/>
                    </a:lnTo>
                    <a:lnTo>
                      <a:pt x="38197" y="11649"/>
                    </a:lnTo>
                    <a:lnTo>
                      <a:pt x="76925" y="116"/>
                    </a:lnTo>
                    <a:lnTo>
                      <a:pt x="91871" y="1828"/>
                    </a:lnTo>
                    <a:lnTo>
                      <a:pt x="109655" y="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93" name="Polygon form 158"/>
              <p:cNvSpPr/>
              <p:nvPr/>
            </p:nvSpPr>
            <p:spPr>
              <a:xfrm>
                <a:off x="2829968" y="2178733"/>
                <a:ext cx="54425" cy="34483"/>
              </a:xfrm>
              <a:custGeom>
                <a:avLst/>
                <a:gdLst/>
                <a:ahLst/>
                <a:cxnLst/>
                <a:rect l="0" t="0" r="0" b="0"/>
                <a:pathLst>
                  <a:path w="54425" h="34483">
                    <a:moveTo>
                      <a:pt x="50509" y="25099"/>
                    </a:moveTo>
                    <a:lnTo>
                      <a:pt x="44384" y="34483"/>
                    </a:lnTo>
                    <a:lnTo>
                      <a:pt x="30329" y="30789"/>
                    </a:lnTo>
                    <a:lnTo>
                      <a:pt x="21583" y="22487"/>
                    </a:lnTo>
                    <a:lnTo>
                      <a:pt x="0" y="19948"/>
                    </a:lnTo>
                    <a:lnTo>
                      <a:pt x="17276" y="14319"/>
                    </a:lnTo>
                    <a:lnTo>
                      <a:pt x="11331" y="8234"/>
                    </a:lnTo>
                    <a:lnTo>
                      <a:pt x="20502" y="0"/>
                    </a:lnTo>
                    <a:lnTo>
                      <a:pt x="36484" y="4361"/>
                    </a:lnTo>
                    <a:lnTo>
                      <a:pt x="54425" y="14211"/>
                    </a:lnTo>
                    <a:lnTo>
                      <a:pt x="50509" y="25099"/>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94" name="Polygon form 159"/>
              <p:cNvSpPr/>
              <p:nvPr/>
            </p:nvSpPr>
            <p:spPr>
              <a:xfrm>
                <a:off x="2983312" y="2321487"/>
                <a:ext cx="48932" cy="24691"/>
              </a:xfrm>
              <a:custGeom>
                <a:avLst/>
                <a:gdLst/>
                <a:ahLst/>
                <a:cxnLst/>
                <a:rect l="0" t="0" r="0" b="0"/>
                <a:pathLst>
                  <a:path w="48932" h="24691">
                    <a:moveTo>
                      <a:pt x="48932" y="18220"/>
                    </a:moveTo>
                    <a:lnTo>
                      <a:pt x="45216" y="24691"/>
                    </a:lnTo>
                    <a:lnTo>
                      <a:pt x="33171" y="23206"/>
                    </a:lnTo>
                    <a:lnTo>
                      <a:pt x="20849" y="21887"/>
                    </a:lnTo>
                    <a:lnTo>
                      <a:pt x="5572" y="24138"/>
                    </a:lnTo>
                    <a:lnTo>
                      <a:pt x="3249" y="22507"/>
                    </a:lnTo>
                    <a:lnTo>
                      <a:pt x="0" y="9409"/>
                    </a:lnTo>
                    <a:lnTo>
                      <a:pt x="7116" y="1158"/>
                    </a:lnTo>
                    <a:lnTo>
                      <a:pt x="13894" y="0"/>
                    </a:lnTo>
                    <a:lnTo>
                      <a:pt x="38434" y="4225"/>
                    </a:lnTo>
                    <a:lnTo>
                      <a:pt x="48932" y="1822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95" name="Polygon form 160"/>
              <p:cNvSpPr/>
              <p:nvPr/>
            </p:nvSpPr>
            <p:spPr>
              <a:xfrm>
                <a:off x="2681303" y="2387984"/>
                <a:ext cx="44956" cy="33854"/>
              </a:xfrm>
              <a:custGeom>
                <a:avLst/>
                <a:gdLst/>
                <a:ahLst/>
                <a:cxnLst/>
                <a:rect l="0" t="0" r="0" b="0"/>
                <a:pathLst>
                  <a:path w="44956" h="33854">
                    <a:moveTo>
                      <a:pt x="44457" y="26455"/>
                    </a:moveTo>
                    <a:lnTo>
                      <a:pt x="29815" y="33854"/>
                    </a:lnTo>
                    <a:lnTo>
                      <a:pt x="19432" y="25434"/>
                    </a:lnTo>
                    <a:lnTo>
                      <a:pt x="7259" y="27052"/>
                    </a:lnTo>
                    <a:lnTo>
                      <a:pt x="0" y="15266"/>
                    </a:lnTo>
                    <a:lnTo>
                      <a:pt x="17100" y="9145"/>
                    </a:lnTo>
                    <a:lnTo>
                      <a:pt x="34551" y="0"/>
                    </a:lnTo>
                    <a:lnTo>
                      <a:pt x="41403" y="7601"/>
                    </a:lnTo>
                    <a:lnTo>
                      <a:pt x="44956" y="12356"/>
                    </a:lnTo>
                    <a:lnTo>
                      <a:pt x="44727" y="17028"/>
                    </a:lnTo>
                    <a:lnTo>
                      <a:pt x="44457" y="26455"/>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96" name="Polygon form 161"/>
              <p:cNvSpPr/>
              <p:nvPr/>
            </p:nvSpPr>
            <p:spPr>
              <a:xfrm>
                <a:off x="2925741" y="2452435"/>
                <a:ext cx="38339" cy="27005"/>
              </a:xfrm>
              <a:custGeom>
                <a:avLst/>
                <a:gdLst/>
                <a:ahLst/>
                <a:cxnLst/>
                <a:rect l="0" t="0" r="0" b="0"/>
                <a:pathLst>
                  <a:path w="38339" h="27005">
                    <a:moveTo>
                      <a:pt x="15362" y="26809"/>
                    </a:moveTo>
                    <a:lnTo>
                      <a:pt x="0" y="27005"/>
                    </a:lnTo>
                    <a:lnTo>
                      <a:pt x="4423" y="15271"/>
                    </a:lnTo>
                    <a:lnTo>
                      <a:pt x="18729" y="2470"/>
                    </a:lnTo>
                    <a:lnTo>
                      <a:pt x="32637" y="0"/>
                    </a:lnTo>
                    <a:lnTo>
                      <a:pt x="38339" y="7172"/>
                    </a:lnTo>
                    <a:lnTo>
                      <a:pt x="31898" y="17263"/>
                    </a:lnTo>
                    <a:lnTo>
                      <a:pt x="28331" y="20411"/>
                    </a:lnTo>
                    <a:lnTo>
                      <a:pt x="15362" y="26809"/>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97" name="Polygon form 162"/>
              <p:cNvSpPr/>
              <p:nvPr/>
            </p:nvSpPr>
            <p:spPr>
              <a:xfrm>
                <a:off x="1898400" y="2708695"/>
                <a:ext cx="38179" cy="51830"/>
              </a:xfrm>
              <a:custGeom>
                <a:avLst/>
                <a:gdLst/>
                <a:ahLst/>
                <a:cxnLst/>
                <a:rect l="0" t="0" r="0" b="0"/>
                <a:pathLst>
                  <a:path w="38179" h="51830">
                    <a:moveTo>
                      <a:pt x="19139" y="0"/>
                    </a:moveTo>
                    <a:lnTo>
                      <a:pt x="22941" y="4011"/>
                    </a:lnTo>
                    <a:lnTo>
                      <a:pt x="38179" y="3885"/>
                    </a:lnTo>
                    <a:lnTo>
                      <a:pt x="9888" y="30708"/>
                    </a:lnTo>
                    <a:lnTo>
                      <a:pt x="5727" y="51830"/>
                    </a:lnTo>
                    <a:lnTo>
                      <a:pt x="0" y="51039"/>
                    </a:lnTo>
                    <a:lnTo>
                      <a:pt x="796" y="38812"/>
                    </a:lnTo>
                    <a:lnTo>
                      <a:pt x="5172" y="26976"/>
                    </a:lnTo>
                    <a:lnTo>
                      <a:pt x="4607" y="18501"/>
                    </a:lnTo>
                    <a:lnTo>
                      <a:pt x="11413" y="7556"/>
                    </a:lnTo>
                    <a:lnTo>
                      <a:pt x="19139" y="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98" name="Polygon form 163"/>
              <p:cNvSpPr/>
              <p:nvPr/>
            </p:nvSpPr>
            <p:spPr>
              <a:xfrm>
                <a:off x="2835416" y="2266995"/>
                <a:ext cx="39373" cy="24211"/>
              </a:xfrm>
              <a:custGeom>
                <a:avLst/>
                <a:gdLst/>
                <a:ahLst/>
                <a:cxnLst/>
                <a:rect l="0" t="0" r="0" b="0"/>
                <a:pathLst>
                  <a:path w="39373" h="24211">
                    <a:moveTo>
                      <a:pt x="36488" y="15976"/>
                    </a:moveTo>
                    <a:lnTo>
                      <a:pt x="22053" y="24211"/>
                    </a:lnTo>
                    <a:lnTo>
                      <a:pt x="7580" y="21268"/>
                    </a:lnTo>
                    <a:lnTo>
                      <a:pt x="0" y="14369"/>
                    </a:lnTo>
                    <a:lnTo>
                      <a:pt x="15912" y="4790"/>
                    </a:lnTo>
                    <a:lnTo>
                      <a:pt x="37578" y="0"/>
                    </a:lnTo>
                    <a:lnTo>
                      <a:pt x="39373" y="8573"/>
                    </a:lnTo>
                    <a:lnTo>
                      <a:pt x="36488" y="15976"/>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199" name="Polygon form 164"/>
              <p:cNvSpPr/>
              <p:nvPr/>
            </p:nvSpPr>
            <p:spPr>
              <a:xfrm>
                <a:off x="2894469" y="2192991"/>
                <a:ext cx="34270" cy="23280"/>
              </a:xfrm>
              <a:custGeom>
                <a:avLst/>
                <a:gdLst/>
                <a:ahLst/>
                <a:cxnLst/>
                <a:rect l="0" t="0" r="0" b="0"/>
                <a:pathLst>
                  <a:path w="34270" h="23280">
                    <a:moveTo>
                      <a:pt x="23031" y="19857"/>
                    </a:moveTo>
                    <a:lnTo>
                      <a:pt x="2893" y="23280"/>
                    </a:lnTo>
                    <a:lnTo>
                      <a:pt x="0" y="17577"/>
                    </a:lnTo>
                    <a:lnTo>
                      <a:pt x="4606" y="9065"/>
                    </a:lnTo>
                    <a:lnTo>
                      <a:pt x="13808" y="0"/>
                    </a:lnTo>
                    <a:lnTo>
                      <a:pt x="25946" y="1796"/>
                    </a:lnTo>
                    <a:lnTo>
                      <a:pt x="30279" y="3655"/>
                    </a:lnTo>
                    <a:lnTo>
                      <a:pt x="34270" y="12118"/>
                    </a:lnTo>
                    <a:lnTo>
                      <a:pt x="23031" y="19857"/>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00" name="Polygon form 165"/>
              <p:cNvSpPr/>
              <p:nvPr/>
            </p:nvSpPr>
            <p:spPr>
              <a:xfrm>
                <a:off x="2728773" y="2198568"/>
                <a:ext cx="44076" cy="15100"/>
              </a:xfrm>
              <a:custGeom>
                <a:avLst/>
                <a:gdLst/>
                <a:ahLst/>
                <a:cxnLst/>
                <a:rect l="0" t="0" r="0" b="0"/>
                <a:pathLst>
                  <a:path w="44076" h="15100">
                    <a:moveTo>
                      <a:pt x="32854" y="10603"/>
                    </a:moveTo>
                    <a:lnTo>
                      <a:pt x="6354" y="15100"/>
                    </a:lnTo>
                    <a:lnTo>
                      <a:pt x="0" y="6944"/>
                    </a:lnTo>
                    <a:lnTo>
                      <a:pt x="16705" y="914"/>
                    </a:lnTo>
                    <a:lnTo>
                      <a:pt x="34054" y="0"/>
                    </a:lnTo>
                    <a:lnTo>
                      <a:pt x="44076" y="4511"/>
                    </a:lnTo>
                    <a:lnTo>
                      <a:pt x="32854" y="10603"/>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01" name="Polygon form 166"/>
              <p:cNvSpPr/>
              <p:nvPr/>
            </p:nvSpPr>
            <p:spPr>
              <a:xfrm>
                <a:off x="2900889" y="2901756"/>
                <a:ext cx="38510" cy="22592"/>
              </a:xfrm>
              <a:custGeom>
                <a:avLst/>
                <a:gdLst/>
                <a:ahLst/>
                <a:cxnLst/>
                <a:rect l="0" t="0" r="0" b="0"/>
                <a:pathLst>
                  <a:path w="38510" h="22592">
                    <a:moveTo>
                      <a:pt x="37438" y="22528"/>
                    </a:moveTo>
                    <a:lnTo>
                      <a:pt x="29335" y="22592"/>
                    </a:lnTo>
                    <a:lnTo>
                      <a:pt x="10909" y="13974"/>
                    </a:lnTo>
                    <a:lnTo>
                      <a:pt x="0" y="1768"/>
                    </a:lnTo>
                    <a:lnTo>
                      <a:pt x="6354" y="0"/>
                    </a:lnTo>
                    <a:lnTo>
                      <a:pt x="25457" y="7120"/>
                    </a:lnTo>
                    <a:lnTo>
                      <a:pt x="38510" y="18050"/>
                    </a:lnTo>
                    <a:lnTo>
                      <a:pt x="37438" y="22528"/>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02" name="Polygon form 167"/>
              <p:cNvSpPr/>
              <p:nvPr/>
            </p:nvSpPr>
            <p:spPr>
              <a:xfrm>
                <a:off x="2875793" y="2972898"/>
                <a:ext cx="37372" cy="26873"/>
              </a:xfrm>
              <a:custGeom>
                <a:avLst/>
                <a:gdLst/>
                <a:ahLst/>
                <a:cxnLst/>
                <a:rect l="0" t="0" r="0" b="0"/>
                <a:pathLst>
                  <a:path w="37372" h="26873">
                    <a:moveTo>
                      <a:pt x="10664" y="12103"/>
                    </a:moveTo>
                    <a:lnTo>
                      <a:pt x="21673" y="15922"/>
                    </a:lnTo>
                    <a:lnTo>
                      <a:pt x="37372" y="15955"/>
                    </a:lnTo>
                    <a:lnTo>
                      <a:pt x="25903" y="25563"/>
                    </a:lnTo>
                    <a:lnTo>
                      <a:pt x="19181" y="26873"/>
                    </a:lnTo>
                    <a:lnTo>
                      <a:pt x="1399" y="15567"/>
                    </a:lnTo>
                    <a:lnTo>
                      <a:pt x="0" y="7219"/>
                    </a:lnTo>
                    <a:lnTo>
                      <a:pt x="8841" y="0"/>
                    </a:lnTo>
                    <a:lnTo>
                      <a:pt x="10664" y="12103"/>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03" name="Polygon form 168"/>
              <p:cNvSpPr/>
              <p:nvPr/>
            </p:nvSpPr>
            <p:spPr>
              <a:xfrm>
                <a:off x="2758490" y="2572325"/>
                <a:ext cx="37235" cy="18104"/>
              </a:xfrm>
              <a:custGeom>
                <a:avLst/>
                <a:gdLst/>
                <a:ahLst/>
                <a:cxnLst/>
                <a:rect l="0" t="0" r="0" b="0"/>
                <a:pathLst>
                  <a:path w="37235" h="18104">
                    <a:moveTo>
                      <a:pt x="33995" y="6197"/>
                    </a:moveTo>
                    <a:lnTo>
                      <a:pt x="9428" y="18104"/>
                    </a:lnTo>
                    <a:lnTo>
                      <a:pt x="0" y="16826"/>
                    </a:lnTo>
                    <a:lnTo>
                      <a:pt x="1150" y="10177"/>
                    </a:lnTo>
                    <a:lnTo>
                      <a:pt x="18523" y="0"/>
                    </a:lnTo>
                    <a:lnTo>
                      <a:pt x="37235" y="1619"/>
                    </a:lnTo>
                    <a:lnTo>
                      <a:pt x="33995" y="6197"/>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04" name="Polygon form 169"/>
              <p:cNvSpPr/>
              <p:nvPr/>
            </p:nvSpPr>
            <p:spPr>
              <a:xfrm>
                <a:off x="2689738" y="2301534"/>
                <a:ext cx="26159" cy="19892"/>
              </a:xfrm>
              <a:custGeom>
                <a:avLst/>
                <a:gdLst/>
                <a:ahLst/>
                <a:cxnLst/>
                <a:rect l="0" t="0" r="0" b="0"/>
                <a:pathLst>
                  <a:path w="26159" h="19892">
                    <a:moveTo>
                      <a:pt x="26159" y="6126"/>
                    </a:moveTo>
                    <a:lnTo>
                      <a:pt x="865" y="19892"/>
                    </a:lnTo>
                    <a:lnTo>
                      <a:pt x="0" y="2744"/>
                    </a:lnTo>
                    <a:lnTo>
                      <a:pt x="7114" y="0"/>
                    </a:lnTo>
                    <a:lnTo>
                      <a:pt x="22896" y="479"/>
                    </a:lnTo>
                    <a:lnTo>
                      <a:pt x="26159" y="6126"/>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05" name="Polygon form 170"/>
              <p:cNvSpPr/>
              <p:nvPr/>
            </p:nvSpPr>
            <p:spPr>
              <a:xfrm>
                <a:off x="2802708" y="2588210"/>
                <a:ext cx="18049" cy="18180"/>
              </a:xfrm>
              <a:custGeom>
                <a:avLst/>
                <a:gdLst/>
                <a:ahLst/>
                <a:cxnLst/>
                <a:rect l="0" t="0" r="0" b="0"/>
                <a:pathLst>
                  <a:path w="18049" h="18180">
                    <a:moveTo>
                      <a:pt x="18049" y="6050"/>
                    </a:moveTo>
                    <a:lnTo>
                      <a:pt x="4961" y="18180"/>
                    </a:lnTo>
                    <a:lnTo>
                      <a:pt x="0" y="15716"/>
                    </a:lnTo>
                    <a:lnTo>
                      <a:pt x="695" y="8352"/>
                    </a:lnTo>
                    <a:lnTo>
                      <a:pt x="2361" y="6755"/>
                    </a:lnTo>
                    <a:lnTo>
                      <a:pt x="12141" y="0"/>
                    </a:lnTo>
                    <a:lnTo>
                      <a:pt x="17503" y="923"/>
                    </a:lnTo>
                    <a:lnTo>
                      <a:pt x="18049" y="605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06" name="Polygon form 171"/>
              <p:cNvSpPr/>
              <p:nvPr/>
            </p:nvSpPr>
            <p:spPr>
              <a:xfrm>
                <a:off x="2756915" y="2183658"/>
                <a:ext cx="33834" cy="9854"/>
              </a:xfrm>
              <a:custGeom>
                <a:avLst/>
                <a:gdLst/>
                <a:ahLst/>
                <a:cxnLst/>
                <a:rect l="0" t="0" r="0" b="0"/>
                <a:pathLst>
                  <a:path w="33834" h="9854">
                    <a:moveTo>
                      <a:pt x="33834" y="6717"/>
                    </a:moveTo>
                    <a:lnTo>
                      <a:pt x="16510" y="9854"/>
                    </a:lnTo>
                    <a:lnTo>
                      <a:pt x="0" y="8454"/>
                    </a:lnTo>
                    <a:lnTo>
                      <a:pt x="4016" y="5464"/>
                    </a:lnTo>
                    <a:lnTo>
                      <a:pt x="22250" y="0"/>
                    </a:lnTo>
                    <a:lnTo>
                      <a:pt x="26324" y="1391"/>
                    </a:lnTo>
                    <a:lnTo>
                      <a:pt x="33834" y="6717"/>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07" name="Polygon form 172"/>
              <p:cNvSpPr/>
              <p:nvPr/>
            </p:nvSpPr>
            <p:spPr>
              <a:xfrm>
                <a:off x="2902294" y="2217282"/>
                <a:ext cx="27402" cy="9182"/>
              </a:xfrm>
              <a:custGeom>
                <a:avLst/>
                <a:gdLst/>
                <a:ahLst/>
                <a:cxnLst/>
                <a:rect l="0" t="0" r="0" b="0"/>
                <a:pathLst>
                  <a:path w="27402" h="9182">
                    <a:moveTo>
                      <a:pt x="23556" y="8890"/>
                    </a:moveTo>
                    <a:lnTo>
                      <a:pt x="18129" y="9182"/>
                    </a:lnTo>
                    <a:lnTo>
                      <a:pt x="0" y="6353"/>
                    </a:lnTo>
                    <a:lnTo>
                      <a:pt x="3741" y="0"/>
                    </a:lnTo>
                    <a:lnTo>
                      <a:pt x="24318" y="1825"/>
                    </a:lnTo>
                    <a:lnTo>
                      <a:pt x="27402" y="6449"/>
                    </a:lnTo>
                    <a:lnTo>
                      <a:pt x="23556" y="889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08" name="Polygon form 173"/>
              <p:cNvSpPr/>
              <p:nvPr/>
            </p:nvSpPr>
            <p:spPr>
              <a:xfrm>
                <a:off x="4062530" y="2977531"/>
                <a:ext cx="74386" cy="49669"/>
              </a:xfrm>
              <a:custGeom>
                <a:avLst/>
                <a:gdLst/>
                <a:ahLst/>
                <a:cxnLst/>
                <a:rect l="0" t="0" r="0" b="0"/>
                <a:pathLst>
                  <a:path w="74386" h="49669">
                    <a:moveTo>
                      <a:pt x="59265" y="7265"/>
                    </a:moveTo>
                    <a:lnTo>
                      <a:pt x="60135" y="11543"/>
                    </a:lnTo>
                    <a:lnTo>
                      <a:pt x="57853" y="17466"/>
                    </a:lnTo>
                    <a:lnTo>
                      <a:pt x="65722" y="21809"/>
                    </a:lnTo>
                    <a:lnTo>
                      <a:pt x="74386" y="22405"/>
                    </a:lnTo>
                    <a:lnTo>
                      <a:pt x="73578" y="32307"/>
                    </a:lnTo>
                    <a:lnTo>
                      <a:pt x="66314" y="36429"/>
                    </a:lnTo>
                    <a:lnTo>
                      <a:pt x="53602" y="33486"/>
                    </a:lnTo>
                    <a:lnTo>
                      <a:pt x="50375" y="43239"/>
                    </a:lnTo>
                    <a:lnTo>
                      <a:pt x="42301" y="44054"/>
                    </a:lnTo>
                    <a:lnTo>
                      <a:pt x="39187" y="40246"/>
                    </a:lnTo>
                    <a:lnTo>
                      <a:pt x="29977" y="48481"/>
                    </a:lnTo>
                    <a:lnTo>
                      <a:pt x="21799" y="49669"/>
                    </a:lnTo>
                    <a:lnTo>
                      <a:pt x="14281" y="44536"/>
                    </a:lnTo>
                    <a:lnTo>
                      <a:pt x="8078" y="33982"/>
                    </a:lnTo>
                    <a:lnTo>
                      <a:pt x="90" y="37796"/>
                    </a:lnTo>
                    <a:lnTo>
                      <a:pt x="0" y="26871"/>
                    </a:lnTo>
                    <a:lnTo>
                      <a:pt x="11905" y="13260"/>
                    </a:lnTo>
                    <a:lnTo>
                      <a:pt x="11144" y="7132"/>
                    </a:lnTo>
                    <a:lnTo>
                      <a:pt x="18899" y="9315"/>
                    </a:lnTo>
                    <a:lnTo>
                      <a:pt x="23360" y="5171"/>
                    </a:lnTo>
                    <a:lnTo>
                      <a:pt x="37676" y="5262"/>
                    </a:lnTo>
                    <a:lnTo>
                      <a:pt x="40891" y="0"/>
                    </a:lnTo>
                    <a:lnTo>
                      <a:pt x="59265" y="7265"/>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09" name="Polygon form 174"/>
              <p:cNvSpPr/>
              <p:nvPr/>
            </p:nvSpPr>
            <p:spPr>
              <a:xfrm>
                <a:off x="2601751" y="4569185"/>
                <a:ext cx="257495" cy="893408"/>
              </a:xfrm>
              <a:custGeom>
                <a:avLst/>
                <a:gdLst/>
                <a:ahLst/>
                <a:cxnLst/>
                <a:rect l="0" t="0" r="0" b="0"/>
                <a:pathLst>
                  <a:path w="257495" h="893408">
                    <a:moveTo>
                      <a:pt x="52604" y="96503"/>
                    </a:moveTo>
                    <a:lnTo>
                      <a:pt x="65499" y="130456"/>
                    </a:lnTo>
                    <a:lnTo>
                      <a:pt x="78660" y="126714"/>
                    </a:lnTo>
                    <a:lnTo>
                      <a:pt x="81970" y="132851"/>
                    </a:lnTo>
                    <a:lnTo>
                      <a:pt x="79752" y="158721"/>
                    </a:lnTo>
                    <a:lnTo>
                      <a:pt x="61291" y="171489"/>
                    </a:lnTo>
                    <a:lnTo>
                      <a:pt x="69479" y="212701"/>
                    </a:lnTo>
                    <a:lnTo>
                      <a:pt x="67092" y="220780"/>
                    </a:lnTo>
                    <a:lnTo>
                      <a:pt x="74584" y="230313"/>
                    </a:lnTo>
                    <a:lnTo>
                      <a:pt x="64461" y="246097"/>
                    </a:lnTo>
                    <a:lnTo>
                      <a:pt x="57076" y="269682"/>
                    </a:lnTo>
                    <a:lnTo>
                      <a:pt x="55310" y="292372"/>
                    </a:lnTo>
                    <a:lnTo>
                      <a:pt x="62424" y="316245"/>
                    </a:lnTo>
                    <a:lnTo>
                      <a:pt x="57034" y="342064"/>
                    </a:lnTo>
                    <a:lnTo>
                      <a:pt x="75876" y="384361"/>
                    </a:lnTo>
                    <a:lnTo>
                      <a:pt x="81724" y="388686"/>
                    </a:lnTo>
                    <a:lnTo>
                      <a:pt x="87473" y="411362"/>
                    </a:lnTo>
                    <a:lnTo>
                      <a:pt x="83560" y="435826"/>
                    </a:lnTo>
                    <a:lnTo>
                      <a:pt x="89602" y="456386"/>
                    </a:lnTo>
                    <a:lnTo>
                      <a:pt x="80622" y="473034"/>
                    </a:lnTo>
                    <a:lnTo>
                      <a:pt x="87230" y="495645"/>
                    </a:lnTo>
                    <a:lnTo>
                      <a:pt x="99732" y="519417"/>
                    </a:lnTo>
                    <a:lnTo>
                      <a:pt x="91923" y="528813"/>
                    </a:lnTo>
                    <a:lnTo>
                      <a:pt x="94076" y="550952"/>
                    </a:lnTo>
                    <a:lnTo>
                      <a:pt x="98073" y="576296"/>
                    </a:lnTo>
                    <a:lnTo>
                      <a:pt x="110907" y="606064"/>
                    </a:lnTo>
                    <a:lnTo>
                      <a:pt x="105700" y="611391"/>
                    </a:lnTo>
                    <a:lnTo>
                      <a:pt x="119456" y="639464"/>
                    </a:lnTo>
                    <a:lnTo>
                      <a:pt x="130377" y="648360"/>
                    </a:lnTo>
                    <a:lnTo>
                      <a:pt x="128439" y="658909"/>
                    </a:lnTo>
                    <a:lnTo>
                      <a:pt x="138022" y="663414"/>
                    </a:lnTo>
                    <a:lnTo>
                      <a:pt x="143127" y="672535"/>
                    </a:lnTo>
                    <a:lnTo>
                      <a:pt x="137465" y="677542"/>
                    </a:lnTo>
                    <a:lnTo>
                      <a:pt x="144522" y="691797"/>
                    </a:lnTo>
                    <a:lnTo>
                      <a:pt x="150620" y="724447"/>
                    </a:lnTo>
                    <a:lnTo>
                      <a:pt x="150001" y="745740"/>
                    </a:lnTo>
                    <a:lnTo>
                      <a:pt x="156804" y="757962"/>
                    </a:lnTo>
                    <a:lnTo>
                      <a:pt x="157880" y="773700"/>
                    </a:lnTo>
                    <a:lnTo>
                      <a:pt x="149863" y="785106"/>
                    </a:lnTo>
                    <a:lnTo>
                      <a:pt x="162162" y="810817"/>
                    </a:lnTo>
                    <a:lnTo>
                      <a:pt x="171571" y="819306"/>
                    </a:lnTo>
                    <a:lnTo>
                      <a:pt x="181537" y="817133"/>
                    </a:lnTo>
                    <a:lnTo>
                      <a:pt x="189019" y="835336"/>
                    </a:lnTo>
                    <a:lnTo>
                      <a:pt x="201723" y="849104"/>
                    </a:lnTo>
                    <a:lnTo>
                      <a:pt x="241268" y="850194"/>
                    </a:lnTo>
                    <a:lnTo>
                      <a:pt x="257495" y="853187"/>
                    </a:lnTo>
                    <a:lnTo>
                      <a:pt x="243382" y="853777"/>
                    </a:lnTo>
                    <a:lnTo>
                      <a:pt x="238338" y="860161"/>
                    </a:lnTo>
                    <a:lnTo>
                      <a:pt x="227972" y="869713"/>
                    </a:lnTo>
                    <a:lnTo>
                      <a:pt x="235495" y="892465"/>
                    </a:lnTo>
                    <a:lnTo>
                      <a:pt x="229182" y="893408"/>
                    </a:lnTo>
                    <a:lnTo>
                      <a:pt x="208102" y="886573"/>
                    </a:lnTo>
                    <a:lnTo>
                      <a:pt x="182569" y="870773"/>
                    </a:lnTo>
                    <a:lnTo>
                      <a:pt x="182569" y="870773"/>
                    </a:lnTo>
                    <a:lnTo>
                      <a:pt x="156738" y="858073"/>
                    </a:lnTo>
                    <a:lnTo>
                      <a:pt x="144804" y="843005"/>
                    </a:lnTo>
                    <a:lnTo>
                      <a:pt x="142907" y="828507"/>
                    </a:lnTo>
                    <a:lnTo>
                      <a:pt x="127732" y="812822"/>
                    </a:lnTo>
                    <a:lnTo>
                      <a:pt x="107739" y="771446"/>
                    </a:lnTo>
                    <a:lnTo>
                      <a:pt x="104893" y="747590"/>
                    </a:lnTo>
                    <a:lnTo>
                      <a:pt x="114644" y="727757"/>
                    </a:lnTo>
                    <a:lnTo>
                      <a:pt x="86735" y="722033"/>
                    </a:lnTo>
                    <a:lnTo>
                      <a:pt x="93998" y="699555"/>
                    </a:lnTo>
                    <a:lnTo>
                      <a:pt x="84308" y="658596"/>
                    </a:lnTo>
                    <a:lnTo>
                      <a:pt x="106227" y="666230"/>
                    </a:lnTo>
                    <a:lnTo>
                      <a:pt x="97034" y="615023"/>
                    </a:lnTo>
                    <a:lnTo>
                      <a:pt x="83285" y="609076"/>
                    </a:lnTo>
                    <a:lnTo>
                      <a:pt x="88739" y="639957"/>
                    </a:lnTo>
                    <a:lnTo>
                      <a:pt x="76781" y="637059"/>
                    </a:lnTo>
                    <a:lnTo>
                      <a:pt x="69751" y="601697"/>
                    </a:lnTo>
                    <a:lnTo>
                      <a:pt x="60351" y="555887"/>
                    </a:lnTo>
                    <a:lnTo>
                      <a:pt x="62951" y="538696"/>
                    </a:lnTo>
                    <a:lnTo>
                      <a:pt x="50351" y="514914"/>
                    </a:lnTo>
                    <a:lnTo>
                      <a:pt x="40416" y="487226"/>
                    </a:lnTo>
                    <a:lnTo>
                      <a:pt x="47646" y="486090"/>
                    </a:lnTo>
                    <a:lnTo>
                      <a:pt x="47036" y="445799"/>
                    </a:lnTo>
                    <a:lnTo>
                      <a:pt x="48694" y="405812"/>
                    </a:lnTo>
                    <a:lnTo>
                      <a:pt x="46893" y="368714"/>
                    </a:lnTo>
                    <a:lnTo>
                      <a:pt x="33618" y="331844"/>
                    </a:lnTo>
                    <a:lnTo>
                      <a:pt x="34319" y="311242"/>
                    </a:lnTo>
                    <a:lnTo>
                      <a:pt x="25198" y="280779"/>
                    </a:lnTo>
                    <a:lnTo>
                      <a:pt x="29559" y="250184"/>
                    </a:lnTo>
                    <a:lnTo>
                      <a:pt x="23280" y="202161"/>
                    </a:lnTo>
                    <a:lnTo>
                      <a:pt x="19821" y="150499"/>
                    </a:lnTo>
                    <a:lnTo>
                      <a:pt x="16497" y="94884"/>
                    </a:lnTo>
                    <a:lnTo>
                      <a:pt x="8922" y="54289"/>
                    </a:lnTo>
                    <a:lnTo>
                      <a:pt x="0" y="19395"/>
                    </a:lnTo>
                    <a:lnTo>
                      <a:pt x="9055" y="12841"/>
                    </a:lnTo>
                    <a:lnTo>
                      <a:pt x="12564" y="0"/>
                    </a:lnTo>
                    <a:lnTo>
                      <a:pt x="24217" y="16688"/>
                    </a:lnTo>
                    <a:lnTo>
                      <a:pt x="29200" y="34538"/>
                    </a:lnTo>
                    <a:lnTo>
                      <a:pt x="40735" y="44817"/>
                    </a:lnTo>
                    <a:lnTo>
                      <a:pt x="38136" y="68948"/>
                    </a:lnTo>
                    <a:lnTo>
                      <a:pt x="52604" y="96503"/>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10" name="Polygon form 175"/>
              <p:cNvSpPr/>
              <p:nvPr/>
            </p:nvSpPr>
            <p:spPr>
              <a:xfrm>
                <a:off x="2769351" y="5428346"/>
                <a:ext cx="141765" cy="73761"/>
              </a:xfrm>
              <a:custGeom>
                <a:avLst/>
                <a:gdLst/>
                <a:ahLst/>
                <a:cxnLst/>
                <a:rect l="0" t="0" r="0" b="0"/>
                <a:pathLst>
                  <a:path w="141765" h="73761">
                    <a:moveTo>
                      <a:pt x="92337" y="2242"/>
                    </a:moveTo>
                    <a:lnTo>
                      <a:pt x="115733" y="56258"/>
                    </a:lnTo>
                    <a:lnTo>
                      <a:pt x="132210" y="55351"/>
                    </a:lnTo>
                    <a:lnTo>
                      <a:pt x="141765" y="55487"/>
                    </a:lnTo>
                    <a:lnTo>
                      <a:pt x="140944" y="65533"/>
                    </a:lnTo>
                    <a:lnTo>
                      <a:pt x="131163" y="73761"/>
                    </a:lnTo>
                    <a:lnTo>
                      <a:pt x="123320" y="73417"/>
                    </a:lnTo>
                    <a:lnTo>
                      <a:pt x="113398" y="71979"/>
                    </a:lnTo>
                    <a:lnTo>
                      <a:pt x="98994" y="65361"/>
                    </a:lnTo>
                    <a:lnTo>
                      <a:pt x="81353" y="62803"/>
                    </a:lnTo>
                    <a:lnTo>
                      <a:pt x="55783" y="50449"/>
                    </a:lnTo>
                    <a:lnTo>
                      <a:pt x="33985" y="38393"/>
                    </a:lnTo>
                    <a:lnTo>
                      <a:pt x="0" y="12574"/>
                    </a:lnTo>
                    <a:lnTo>
                      <a:pt x="15210" y="16882"/>
                    </a:lnTo>
                    <a:lnTo>
                      <a:pt x="44458" y="31750"/>
                    </a:lnTo>
                    <a:lnTo>
                      <a:pt x="68954" y="39226"/>
                    </a:lnTo>
                    <a:lnTo>
                      <a:pt x="71982" y="27673"/>
                    </a:lnTo>
                    <a:lnTo>
                      <a:pt x="69757" y="10813"/>
                    </a:lnTo>
                    <a:lnTo>
                      <a:pt x="79929" y="0"/>
                    </a:lnTo>
                    <a:lnTo>
                      <a:pt x="92337" y="2242"/>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11" name="Polygon form 176"/>
              <p:cNvSpPr/>
              <p:nvPr/>
            </p:nvSpPr>
            <p:spPr>
              <a:xfrm>
                <a:off x="4939914" y="3491132"/>
                <a:ext cx="88840" cy="87742"/>
              </a:xfrm>
              <a:custGeom>
                <a:avLst/>
                <a:gdLst/>
                <a:ahLst/>
                <a:cxnLst/>
                <a:rect l="0" t="0" r="0" b="0"/>
                <a:pathLst>
                  <a:path w="88840" h="87742">
                    <a:moveTo>
                      <a:pt x="0" y="46199"/>
                    </a:moveTo>
                    <a:lnTo>
                      <a:pt x="3215" y="44942"/>
                    </a:lnTo>
                    <a:lnTo>
                      <a:pt x="4798" y="51642"/>
                    </a:lnTo>
                    <a:lnTo>
                      <a:pt x="19129" y="47483"/>
                    </a:lnTo>
                    <a:lnTo>
                      <a:pt x="34890" y="47799"/>
                    </a:lnTo>
                    <a:lnTo>
                      <a:pt x="46438" y="48285"/>
                    </a:lnTo>
                    <a:lnTo>
                      <a:pt x="57087" y="31431"/>
                    </a:lnTo>
                    <a:lnTo>
                      <a:pt x="68883" y="15392"/>
                    </a:lnTo>
                    <a:lnTo>
                      <a:pt x="78494" y="0"/>
                    </a:lnTo>
                    <a:lnTo>
                      <a:pt x="83360" y="8278"/>
                    </a:lnTo>
                    <a:lnTo>
                      <a:pt x="88840" y="27601"/>
                    </a:lnTo>
                    <a:lnTo>
                      <a:pt x="79206" y="27915"/>
                    </a:lnTo>
                    <a:lnTo>
                      <a:pt x="79965" y="43928"/>
                    </a:lnTo>
                    <a:lnTo>
                      <a:pt x="83806" y="47268"/>
                    </a:lnTo>
                    <a:lnTo>
                      <a:pt x="75907" y="52286"/>
                    </a:lnTo>
                    <a:lnTo>
                      <a:pt x="77244" y="62316"/>
                    </a:lnTo>
                    <a:lnTo>
                      <a:pt x="73085" y="72588"/>
                    </a:lnTo>
                    <a:lnTo>
                      <a:pt x="73900" y="82478"/>
                    </a:lnTo>
                    <a:lnTo>
                      <a:pt x="70739" y="87742"/>
                    </a:lnTo>
                    <a:lnTo>
                      <a:pt x="11913" y="76507"/>
                    </a:lnTo>
                    <a:lnTo>
                      <a:pt x="1465" y="51846"/>
                    </a:lnTo>
                    <a:lnTo>
                      <a:pt x="0" y="46199"/>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212" name="Polyline form 177"/>
              <p:cNvSpPr/>
              <p:nvPr/>
            </p:nvSpPr>
            <p:spPr>
              <a:xfrm>
                <a:off x="5261330" y="2743176"/>
                <a:ext cx="960565" cy="859116"/>
              </a:xfrm>
              <a:custGeom>
                <a:avLst/>
                <a:gdLst/>
                <a:ahLst/>
                <a:cxnLst/>
                <a:rect l="0" t="0" r="0" b="0"/>
                <a:pathLst>
                  <a:path w="960565" h="859116">
                    <a:moveTo>
                      <a:pt x="750863" y="82941"/>
                    </a:moveTo>
                    <a:lnTo>
                      <a:pt x="783063" y="87644"/>
                    </a:lnTo>
                    <a:lnTo>
                      <a:pt x="814453" y="102989"/>
                    </a:lnTo>
                    <a:lnTo>
                      <a:pt x="838343" y="125488"/>
                    </a:lnTo>
                    <a:lnTo>
                      <a:pt x="861499" y="122677"/>
                    </a:lnTo>
                    <a:lnTo>
                      <a:pt x="867083" y="111258"/>
                    </a:lnTo>
                    <a:lnTo>
                      <a:pt x="886217" y="100788"/>
                    </a:lnTo>
                    <a:lnTo>
                      <a:pt x="895819" y="124108"/>
                    </a:lnTo>
                    <a:lnTo>
                      <a:pt x="896918" y="133952"/>
                    </a:lnTo>
                    <a:lnTo>
                      <a:pt x="912247" y="161928"/>
                    </a:lnTo>
                    <a:lnTo>
                      <a:pt x="919591" y="187565"/>
                    </a:lnTo>
                    <a:lnTo>
                      <a:pt x="897426" y="185384"/>
                    </a:lnTo>
                    <a:lnTo>
                      <a:pt x="890243" y="195821"/>
                    </a:lnTo>
                    <a:lnTo>
                      <a:pt x="909372" y="216868"/>
                    </a:lnTo>
                    <a:lnTo>
                      <a:pt x="927267" y="246947"/>
                    </a:lnTo>
                    <a:lnTo>
                      <a:pt x="919515" y="248549"/>
                    </a:lnTo>
                    <a:lnTo>
                      <a:pt x="928073" y="261396"/>
                    </a:lnTo>
                    <a:lnTo>
                      <a:pt x="907858" y="247610"/>
                    </a:lnTo>
                    <a:lnTo>
                      <a:pt x="910716" y="262490"/>
                    </a:lnTo>
                    <a:lnTo>
                      <a:pt x="892631" y="276096"/>
                    </a:lnTo>
                    <a:lnTo>
                      <a:pt x="903566" y="289200"/>
                    </a:lnTo>
                    <a:lnTo>
                      <a:pt x="888845" y="289760"/>
                    </a:lnTo>
                    <a:lnTo>
                      <a:pt x="876157" y="282627"/>
                    </a:lnTo>
                    <a:lnTo>
                      <a:pt x="875920" y="301765"/>
                    </a:lnTo>
                    <a:lnTo>
                      <a:pt x="865881" y="317240"/>
                    </a:lnTo>
                    <a:lnTo>
                      <a:pt x="861845" y="334865"/>
                    </a:lnTo>
                    <a:lnTo>
                      <a:pt x="842689" y="344497"/>
                    </a:lnTo>
                    <a:lnTo>
                      <a:pt x="836956" y="357541"/>
                    </a:lnTo>
                    <a:lnTo>
                      <a:pt x="822599" y="366155"/>
                    </a:lnTo>
                    <a:lnTo>
                      <a:pt x="825109" y="353551"/>
                    </a:lnTo>
                    <a:lnTo>
                      <a:pt x="816111" y="343988"/>
                    </a:lnTo>
                    <a:lnTo>
                      <a:pt x="819709" y="325690"/>
                    </a:lnTo>
                    <a:lnTo>
                      <a:pt x="803302" y="313261"/>
                    </a:lnTo>
                    <a:lnTo>
                      <a:pt x="793933" y="323570"/>
                    </a:lnTo>
                    <a:lnTo>
                      <a:pt x="784907" y="342929"/>
                    </a:lnTo>
                    <a:lnTo>
                      <a:pt x="783443" y="360237"/>
                    </a:lnTo>
                    <a:lnTo>
                      <a:pt x="767530" y="362928"/>
                    </a:lnTo>
                    <a:lnTo>
                      <a:pt x="765122" y="375519"/>
                    </a:lnTo>
                    <a:lnTo>
                      <a:pt x="782985" y="391917"/>
                    </a:lnTo>
                    <a:lnTo>
                      <a:pt x="799101" y="394887"/>
                    </a:lnTo>
                    <a:lnTo>
                      <a:pt x="805529" y="406270"/>
                    </a:lnTo>
                    <a:lnTo>
                      <a:pt x="822879" y="412553"/>
                    </a:lnTo>
                    <a:lnTo>
                      <a:pt x="832630" y="392664"/>
                    </a:lnTo>
                    <a:lnTo>
                      <a:pt x="852976" y="401254"/>
                    </a:lnTo>
                    <a:lnTo>
                      <a:pt x="864372" y="400949"/>
                    </a:lnTo>
                    <a:lnTo>
                      <a:pt x="874139" y="414103"/>
                    </a:lnTo>
                    <a:lnTo>
                      <a:pt x="853500" y="423381"/>
                    </a:lnTo>
                    <a:lnTo>
                      <a:pt x="852383" y="437891"/>
                    </a:lnTo>
                    <a:lnTo>
                      <a:pt x="841844" y="452151"/>
                    </a:lnTo>
                    <a:lnTo>
                      <a:pt x="841483" y="470821"/>
                    </a:lnTo>
                    <a:lnTo>
                      <a:pt x="866931" y="483408"/>
                    </a:lnTo>
                    <a:lnTo>
                      <a:pt x="885520" y="508170"/>
                    </a:lnTo>
                    <a:lnTo>
                      <a:pt x="906911" y="530974"/>
                    </a:lnTo>
                    <a:lnTo>
                      <a:pt x="927718" y="549915"/>
                    </a:lnTo>
                    <a:lnTo>
                      <a:pt x="935705" y="569193"/>
                    </a:lnTo>
                    <a:lnTo>
                      <a:pt x="927440" y="577113"/>
                    </a:lnTo>
                    <a:lnTo>
                      <a:pt x="937474" y="590641"/>
                    </a:lnTo>
                    <a:lnTo>
                      <a:pt x="951379" y="597937"/>
                    </a:lnTo>
                    <a:lnTo>
                      <a:pt x="957129" y="619333"/>
                    </a:lnTo>
                    <a:lnTo>
                      <a:pt x="960565" y="640306"/>
                    </a:lnTo>
                    <a:lnTo>
                      <a:pt x="951282" y="643342"/>
                    </a:lnTo>
                    <a:lnTo>
                      <a:pt x="948407" y="672449"/>
                    </a:lnTo>
                    <a:lnTo>
                      <a:pt x="945534" y="707638"/>
                    </a:lnTo>
                    <a:lnTo>
                      <a:pt x="938639" y="739829"/>
                    </a:lnTo>
                    <a:lnTo>
                      <a:pt x="920541" y="765372"/>
                    </a:lnTo>
                    <a:lnTo>
                      <a:pt x="901008" y="788722"/>
                    </a:lnTo>
                    <a:lnTo>
                      <a:pt x="880698" y="792801"/>
                    </a:lnTo>
                    <a:lnTo>
                      <a:pt x="872450" y="804948"/>
                    </a:lnTo>
                    <a:lnTo>
                      <a:pt x="863585" y="796824"/>
                    </a:lnTo>
                    <a:lnTo>
                      <a:pt x="856509" y="810276"/>
                    </a:lnTo>
                    <a:lnTo>
                      <a:pt x="833611" y="824548"/>
                    </a:lnTo>
                    <a:lnTo>
                      <a:pt x="814637" y="829451"/>
                    </a:lnTo>
                    <a:lnTo>
                      <a:pt x="815041" y="857143"/>
                    </a:lnTo>
                    <a:lnTo>
                      <a:pt x="804878" y="859116"/>
                    </a:lnTo>
                    <a:lnTo>
                      <a:pt x="795273" y="840517"/>
                    </a:lnTo>
                    <a:lnTo>
                      <a:pt x="797224" y="830295"/>
                    </a:lnTo>
                    <a:lnTo>
                      <a:pt x="769724" y="823150"/>
                    </a:lnTo>
                    <a:lnTo>
                      <a:pt x="761855" y="827757"/>
                    </a:lnTo>
                    <a:lnTo>
                      <a:pt x="741115" y="821898"/>
                    </a:lnTo>
                    <a:lnTo>
                      <a:pt x="729444" y="811821"/>
                    </a:lnTo>
                    <a:lnTo>
                      <a:pt x="728557" y="796842"/>
                    </a:lnTo>
                    <a:lnTo>
                      <a:pt x="710100" y="792929"/>
                    </a:lnTo>
                    <a:lnTo>
                      <a:pt x="698469" y="783698"/>
                    </a:lnTo>
                    <a:lnTo>
                      <a:pt x="686025" y="798119"/>
                    </a:lnTo>
                    <a:lnTo>
                      <a:pt x="668453" y="801892"/>
                    </a:lnTo>
                    <a:lnTo>
                      <a:pt x="653376" y="802418"/>
                    </a:lnTo>
                    <a:lnTo>
                      <a:pt x="644814" y="809108"/>
                    </a:lnTo>
                    <a:lnTo>
                      <a:pt x="635946" y="813277"/>
                    </a:lnTo>
                    <a:lnTo>
                      <a:pt x="645809" y="842472"/>
                    </a:lnTo>
                    <a:lnTo>
                      <a:pt x="635527" y="842176"/>
                    </a:lnTo>
                    <a:lnTo>
                      <a:pt x="632418" y="836225"/>
                    </a:lnTo>
                    <a:lnTo>
                      <a:pt x="629349" y="825660"/>
                    </a:lnTo>
                    <a:lnTo>
                      <a:pt x="617207" y="833674"/>
                    </a:lnTo>
                    <a:lnTo>
                      <a:pt x="607897" y="829293"/>
                    </a:lnTo>
                    <a:lnTo>
                      <a:pt x="591573" y="820265"/>
                    </a:lnTo>
                    <a:lnTo>
                      <a:pt x="591947" y="798825"/>
                    </a:lnTo>
                    <a:lnTo>
                      <a:pt x="578785" y="794383"/>
                    </a:lnTo>
                    <a:lnTo>
                      <a:pt x="568384" y="771106"/>
                    </a:lnTo>
                    <a:lnTo>
                      <a:pt x="549623" y="776181"/>
                    </a:lnTo>
                    <a:lnTo>
                      <a:pt x="544064" y="745905"/>
                    </a:lnTo>
                    <a:lnTo>
                      <a:pt x="555979" y="723863"/>
                    </a:lnTo>
                    <a:lnTo>
                      <a:pt x="550805" y="702857"/>
                    </a:lnTo>
                    <a:lnTo>
                      <a:pt x="544593" y="683443"/>
                    </a:lnTo>
                    <a:lnTo>
                      <a:pt x="534734" y="677790"/>
                    </a:lnTo>
                    <a:lnTo>
                      <a:pt x="524090" y="663166"/>
                    </a:lnTo>
                    <a:lnTo>
                      <a:pt x="513882" y="665588"/>
                    </a:lnTo>
                    <a:lnTo>
                      <a:pt x="492880" y="662786"/>
                    </a:lnTo>
                    <a:lnTo>
                      <a:pt x="495899" y="651852"/>
                    </a:lnTo>
                    <a:lnTo>
                      <a:pt x="482471" y="636562"/>
                    </a:lnTo>
                    <a:lnTo>
                      <a:pt x="472641" y="647859"/>
                    </a:lnTo>
                    <a:lnTo>
                      <a:pt x="455362" y="642417"/>
                    </a:lnTo>
                    <a:lnTo>
                      <a:pt x="438928" y="659513"/>
                    </a:lnTo>
                    <a:lnTo>
                      <a:pt x="427480" y="679058"/>
                    </a:lnTo>
                    <a:lnTo>
                      <a:pt x="413432" y="682892"/>
                    </a:lnTo>
                    <a:lnTo>
                      <a:pt x="403456" y="676484"/>
                    </a:lnTo>
                    <a:lnTo>
                      <a:pt x="393515" y="676311"/>
                    </a:lnTo>
                    <a:lnTo>
                      <a:pt x="378693" y="671079"/>
                    </a:lnTo>
                    <a:lnTo>
                      <a:pt x="370455" y="677903"/>
                    </a:lnTo>
                    <a:lnTo>
                      <a:pt x="363178" y="697129"/>
                    </a:lnTo>
                    <a:lnTo>
                      <a:pt x="356358" y="677400"/>
                    </a:lnTo>
                    <a:lnTo>
                      <a:pt x="346479" y="683173"/>
                    </a:lnTo>
                    <a:lnTo>
                      <a:pt x="324228" y="681643"/>
                    </a:lnTo>
                    <a:lnTo>
                      <a:pt x="301769" y="676778"/>
                    </a:lnTo>
                    <a:lnTo>
                      <a:pt x="283868" y="666411"/>
                    </a:lnTo>
                    <a:lnTo>
                      <a:pt x="268215" y="662083"/>
                    </a:lnTo>
                    <a:lnTo>
                      <a:pt x="258849" y="650336"/>
                    </a:lnTo>
                    <a:lnTo>
                      <a:pt x="247543" y="647188"/>
                    </a:lnTo>
                    <a:lnTo>
                      <a:pt x="224630" y="631712"/>
                    </a:lnTo>
                    <a:lnTo>
                      <a:pt x="207855" y="624671"/>
                    </a:lnTo>
                    <a:lnTo>
                      <a:pt x="201836" y="630953"/>
                    </a:lnTo>
                    <a:lnTo>
                      <a:pt x="171716" y="614609"/>
                    </a:lnTo>
                    <a:lnTo>
                      <a:pt x="149533" y="599620"/>
                    </a:lnTo>
                    <a:lnTo>
                      <a:pt x="136935" y="572466"/>
                    </a:lnTo>
                    <a:lnTo>
                      <a:pt x="150899" y="575238"/>
                    </a:lnTo>
                    <a:lnTo>
                      <a:pt x="147916" y="562534"/>
                    </a:lnTo>
                    <a:lnTo>
                      <a:pt x="137083" y="550152"/>
                    </a:lnTo>
                    <a:lnTo>
                      <a:pt x="133000" y="529840"/>
                    </a:lnTo>
                    <a:lnTo>
                      <a:pt x="105038" y="501691"/>
                    </a:lnTo>
                    <a:lnTo>
                      <a:pt x="72661" y="493035"/>
                    </a:lnTo>
                    <a:lnTo>
                      <a:pt x="61644" y="474294"/>
                    </a:lnTo>
                    <a:lnTo>
                      <a:pt x="45013" y="463390"/>
                    </a:lnTo>
                    <a:lnTo>
                      <a:pt x="39683" y="456457"/>
                    </a:lnTo>
                    <a:lnTo>
                      <a:pt x="32660" y="442526"/>
                    </a:lnTo>
                    <a:lnTo>
                      <a:pt x="30251" y="432915"/>
                    </a:lnTo>
                    <a:lnTo>
                      <a:pt x="17804" y="427809"/>
                    </a:lnTo>
                    <a:lnTo>
                      <a:pt x="12814" y="430559"/>
                    </a:lnTo>
                    <a:lnTo>
                      <a:pt x="1129" y="407991"/>
                    </a:lnTo>
                    <a:lnTo>
                      <a:pt x="4276" y="402126"/>
                    </a:lnTo>
                    <a:lnTo>
                      <a:pt x="0" y="396486"/>
                    </a:lnTo>
                    <a:lnTo>
                      <a:pt x="12742" y="384059"/>
                    </a:lnTo>
                    <a:lnTo>
                      <a:pt x="23090" y="378652"/>
                    </a:lnTo>
                    <a:lnTo>
                      <a:pt x="42554" y="381028"/>
                    </a:lnTo>
                    <a:lnTo>
                      <a:pt x="43612" y="364980"/>
                    </a:lnTo>
                    <a:lnTo>
                      <a:pt x="64667" y="360899"/>
                    </a:lnTo>
                    <a:lnTo>
                      <a:pt x="67249" y="350802"/>
                    </a:lnTo>
                    <a:lnTo>
                      <a:pt x="89258" y="335997"/>
                    </a:lnTo>
                    <a:lnTo>
                      <a:pt x="89539" y="330300"/>
                    </a:lnTo>
                    <a:lnTo>
                      <a:pt x="82784" y="316353"/>
                    </a:lnTo>
                    <a:lnTo>
                      <a:pt x="91912" y="309290"/>
                    </a:lnTo>
                    <a:lnTo>
                      <a:pt x="59674" y="267505"/>
                    </a:lnTo>
                    <a:lnTo>
                      <a:pt x="88625" y="255738"/>
                    </a:lnTo>
                    <a:lnTo>
                      <a:pt x="94804" y="249758"/>
                    </a:lnTo>
                    <a:lnTo>
                      <a:pt x="87373" y="205148"/>
                    </a:lnTo>
                    <a:lnTo>
                      <a:pt x="123460" y="211108"/>
                    </a:lnTo>
                    <a:lnTo>
                      <a:pt x="127392" y="199438"/>
                    </a:lnTo>
                    <a:lnTo>
                      <a:pt x="116520" y="174854"/>
                    </a:lnTo>
                    <a:lnTo>
                      <a:pt x="128797" y="171659"/>
                    </a:lnTo>
                    <a:lnTo>
                      <a:pt x="132983" y="154545"/>
                    </a:lnTo>
                    <a:lnTo>
                      <a:pt x="138228" y="152099"/>
                    </a:lnTo>
                    <a:lnTo>
                      <a:pt x="150952" y="168853"/>
                    </a:lnTo>
                    <a:lnTo>
                      <a:pt x="170912" y="180881"/>
                    </a:lnTo>
                    <a:lnTo>
                      <a:pt x="198519" y="188449"/>
                    </a:lnTo>
                    <a:lnTo>
                      <a:pt x="219495" y="207409"/>
                    </a:lnTo>
                    <a:lnTo>
                      <a:pt x="227082" y="236566"/>
                    </a:lnTo>
                    <a:lnTo>
                      <a:pt x="238065" y="246828"/>
                    </a:lnTo>
                    <a:lnTo>
                      <a:pt x="259683" y="249674"/>
                    </a:lnTo>
                    <a:lnTo>
                      <a:pt x="283572" y="251544"/>
                    </a:lnTo>
                    <a:lnTo>
                      <a:pt x="310970" y="265496"/>
                    </a:lnTo>
                    <a:lnTo>
                      <a:pt x="322541" y="267501"/>
                    </a:lnTo>
                    <a:lnTo>
                      <a:pt x="341030" y="289764"/>
                    </a:lnTo>
                    <a:lnTo>
                      <a:pt x="357793" y="303779"/>
                    </a:lnTo>
                    <a:lnTo>
                      <a:pt x="376010" y="301876"/>
                    </a:lnTo>
                    <a:lnTo>
                      <a:pt x="413274" y="304914"/>
                    </a:lnTo>
                    <a:lnTo>
                      <a:pt x="433854" y="299791"/>
                    </a:lnTo>
                    <a:lnTo>
                      <a:pt x="452191" y="302242"/>
                    </a:lnTo>
                    <a:lnTo>
                      <a:pt x="484465" y="315472"/>
                    </a:lnTo>
                    <a:lnTo>
                      <a:pt x="504753" y="313876"/>
                    </a:lnTo>
                    <a:lnTo>
                      <a:pt x="516065" y="321057"/>
                    </a:lnTo>
                    <a:lnTo>
                      <a:pt x="528788" y="306105"/>
                    </a:lnTo>
                    <a:lnTo>
                      <a:pt x="551210" y="295244"/>
                    </a:lnTo>
                    <a:lnTo>
                      <a:pt x="575607" y="292220"/>
                    </a:lnTo>
                    <a:lnTo>
                      <a:pt x="590204" y="281782"/>
                    </a:lnTo>
                    <a:lnTo>
                      <a:pt x="594636" y="267377"/>
                    </a:lnTo>
                    <a:lnTo>
                      <a:pt x="601389" y="257969"/>
                    </a:lnTo>
                    <a:lnTo>
                      <a:pt x="594054" y="249974"/>
                    </a:lnTo>
                    <a:lnTo>
                      <a:pt x="583357" y="240868"/>
                    </a:lnTo>
                    <a:lnTo>
                      <a:pt x="582532" y="224060"/>
                    </a:lnTo>
                    <a:lnTo>
                      <a:pt x="592954" y="225475"/>
                    </a:lnTo>
                    <a:lnTo>
                      <a:pt x="612561" y="228986"/>
                    </a:lnTo>
                    <a:lnTo>
                      <a:pt x="620691" y="214266"/>
                    </a:lnTo>
                    <a:lnTo>
                      <a:pt x="639195" y="202284"/>
                    </a:lnTo>
                    <a:lnTo>
                      <a:pt x="640502" y="184720"/>
                    </a:lnTo>
                    <a:lnTo>
                      <a:pt x="647102" y="176547"/>
                    </a:lnTo>
                    <a:lnTo>
                      <a:pt x="667854" y="170926"/>
                    </a:lnTo>
                    <a:lnTo>
                      <a:pt x="682117" y="172441"/>
                    </a:lnTo>
                    <a:lnTo>
                      <a:pt x="677974" y="163448"/>
                    </a:lnTo>
                    <a:lnTo>
                      <a:pt x="652184" y="147622"/>
                    </a:lnTo>
                    <a:lnTo>
                      <a:pt x="634361" y="141025"/>
                    </a:lnTo>
                    <a:lnTo>
                      <a:pt x="628480" y="151374"/>
                    </a:lnTo>
                    <a:lnTo>
                      <a:pt x="610513" y="149095"/>
                    </a:lnTo>
                    <a:lnTo>
                      <a:pt x="603715" y="153119"/>
                    </a:lnTo>
                    <a:lnTo>
                      <a:pt x="593057" y="143432"/>
                    </a:lnTo>
                    <a:lnTo>
                      <a:pt x="587521" y="117711"/>
                    </a:lnTo>
                    <a:lnTo>
                      <a:pt x="582239" y="98422"/>
                    </a:lnTo>
                    <a:lnTo>
                      <a:pt x="607075" y="105758"/>
                    </a:lnTo>
                    <a:lnTo>
                      <a:pt x="617565" y="87954"/>
                    </a:lnTo>
                    <a:lnTo>
                      <a:pt x="609632" y="77193"/>
                    </a:lnTo>
                    <a:lnTo>
                      <a:pt x="604002" y="49799"/>
                    </a:lnTo>
                    <a:lnTo>
                      <a:pt x="606349" y="41065"/>
                    </a:lnTo>
                    <a:lnTo>
                      <a:pt x="595861" y="27664"/>
                    </a:lnTo>
                    <a:lnTo>
                      <a:pt x="583331" y="22811"/>
                    </a:lnTo>
                    <a:lnTo>
                      <a:pt x="586010" y="9377"/>
                    </a:lnTo>
                    <a:lnTo>
                      <a:pt x="600624" y="2919"/>
                    </a:lnTo>
                    <a:lnTo>
                      <a:pt x="619314" y="0"/>
                    </a:lnTo>
                    <a:lnTo>
                      <a:pt x="646850" y="4607"/>
                    </a:lnTo>
                    <a:lnTo>
                      <a:pt x="666873" y="11983"/>
                    </a:lnTo>
                    <a:lnTo>
                      <a:pt x="695725" y="35389"/>
                    </a:lnTo>
                    <a:lnTo>
                      <a:pt x="709619" y="45210"/>
                    </a:lnTo>
                    <a:lnTo>
                      <a:pt x="726644" y="59590"/>
                    </a:lnTo>
                    <a:lnTo>
                      <a:pt x="750863" y="82941"/>
                    </a:lnTo>
                    <a:lnTo>
                      <a:pt x="750863" y="82941"/>
                    </a:lnTo>
                  </a:path>
                </a:pathLst>
              </a:custGeom>
              <a:ln w="5400">
                <a:solidFill>
                  <a:srgbClr val="7F7F7F">
                    <a:alpha val="100000"/>
                  </a:srgbClr>
                </a:solidFill>
                <a:prstDash val="solid"/>
                <a:round/>
              </a:ln>
            </p:spPr>
            <p:txBody>
              <a:bodyPr/>
              <a:lstStyle/>
              <a:p/>
            </p:txBody>
          </p:sp>
          <p:sp>
            <p:nvSpPr>
              <p:cNvPr id="213" name="Polyline form 178"/>
              <p:cNvSpPr/>
              <p:nvPr/>
            </p:nvSpPr>
            <p:spPr>
              <a:xfrm>
                <a:off x="6047712" y="3606732"/>
                <a:ext cx="43458" cy="49992"/>
              </a:xfrm>
              <a:custGeom>
                <a:avLst/>
                <a:gdLst/>
                <a:ahLst/>
                <a:cxnLst/>
                <a:rect l="0" t="0" r="0" b="0"/>
                <a:pathLst>
                  <a:path w="43458" h="49992">
                    <a:moveTo>
                      <a:pt x="36747" y="36858"/>
                    </a:moveTo>
                    <a:lnTo>
                      <a:pt x="22954" y="49992"/>
                    </a:lnTo>
                    <a:lnTo>
                      <a:pt x="5516" y="42549"/>
                    </a:lnTo>
                    <a:lnTo>
                      <a:pt x="0" y="20269"/>
                    </a:lnTo>
                    <a:lnTo>
                      <a:pt x="6681" y="8141"/>
                    </a:lnTo>
                    <a:lnTo>
                      <a:pt x="25748" y="0"/>
                    </a:lnTo>
                    <a:lnTo>
                      <a:pt x="36831" y="149"/>
                    </a:lnTo>
                    <a:lnTo>
                      <a:pt x="43458" y="9884"/>
                    </a:lnTo>
                    <a:lnTo>
                      <a:pt x="37760" y="21670"/>
                    </a:lnTo>
                    <a:lnTo>
                      <a:pt x="36747" y="36858"/>
                    </a:lnTo>
                    <a:lnTo>
                      <a:pt x="36747" y="36858"/>
                    </a:lnTo>
                  </a:path>
                </a:pathLst>
              </a:custGeom>
              <a:ln w="5400">
                <a:solidFill>
                  <a:srgbClr val="7F7F7F">
                    <a:alpha val="100000"/>
                  </a:srgbClr>
                </a:solidFill>
                <a:prstDash val="solid"/>
                <a:round/>
              </a:ln>
            </p:spPr>
            <p:txBody>
              <a:bodyPr/>
              <a:lstStyle/>
              <a:p/>
            </p:txBody>
          </p:sp>
          <p:sp>
            <p:nvSpPr>
              <p:cNvPr id="214" name="Polygon form 179"/>
              <p:cNvSpPr/>
              <p:nvPr/>
            </p:nvSpPr>
            <p:spPr>
              <a:xfrm>
                <a:off x="3790870" y="3877889"/>
                <a:ext cx="119021" cy="149251"/>
              </a:xfrm>
              <a:custGeom>
                <a:avLst/>
                <a:gdLst/>
                <a:ahLst/>
                <a:cxnLst/>
                <a:rect l="0" t="0" r="0" b="0"/>
                <a:pathLst>
                  <a:path w="119021" h="149251">
                    <a:moveTo>
                      <a:pt x="113093" y="133452"/>
                    </a:moveTo>
                    <a:lnTo>
                      <a:pt x="104125" y="133696"/>
                    </a:lnTo>
                    <a:lnTo>
                      <a:pt x="90382" y="128975"/>
                    </a:lnTo>
                    <a:lnTo>
                      <a:pt x="77747" y="129249"/>
                    </a:lnTo>
                    <a:lnTo>
                      <a:pt x="54388" y="133451"/>
                    </a:lnTo>
                    <a:lnTo>
                      <a:pt x="40681" y="140409"/>
                    </a:lnTo>
                    <a:lnTo>
                      <a:pt x="21130" y="149251"/>
                    </a:lnTo>
                    <a:lnTo>
                      <a:pt x="17322" y="148615"/>
                    </a:lnTo>
                    <a:lnTo>
                      <a:pt x="18910" y="128740"/>
                    </a:lnTo>
                    <a:lnTo>
                      <a:pt x="20808" y="125720"/>
                    </a:lnTo>
                    <a:lnTo>
                      <a:pt x="20248" y="116211"/>
                    </a:lnTo>
                    <a:lnTo>
                      <a:pt x="11953" y="106097"/>
                    </a:lnTo>
                    <a:lnTo>
                      <a:pt x="5705" y="104479"/>
                    </a:lnTo>
                    <a:lnTo>
                      <a:pt x="0" y="97848"/>
                    </a:lnTo>
                    <a:lnTo>
                      <a:pt x="4342" y="87130"/>
                    </a:lnTo>
                    <a:lnTo>
                      <a:pt x="2446" y="75461"/>
                    </a:lnTo>
                    <a:lnTo>
                      <a:pt x="3400" y="68443"/>
                    </a:lnTo>
                    <a:lnTo>
                      <a:pt x="6519" y="68419"/>
                    </a:lnTo>
                    <a:lnTo>
                      <a:pt x="7747" y="57894"/>
                    </a:lnTo>
                    <a:lnTo>
                      <a:pt x="6261" y="53231"/>
                    </a:lnTo>
                    <a:lnTo>
                      <a:pt x="8163" y="49878"/>
                    </a:lnTo>
                    <a:lnTo>
                      <a:pt x="15482" y="46984"/>
                    </a:lnTo>
                    <a:lnTo>
                      <a:pt x="10770" y="27659"/>
                    </a:lnTo>
                    <a:lnTo>
                      <a:pt x="6326" y="17679"/>
                    </a:lnTo>
                    <a:lnTo>
                      <a:pt x="7970" y="9487"/>
                    </a:lnTo>
                    <a:lnTo>
                      <a:pt x="11896" y="7622"/>
                    </a:lnTo>
                    <a:lnTo>
                      <a:pt x="14471" y="5432"/>
                    </a:lnTo>
                    <a:lnTo>
                      <a:pt x="19871" y="9063"/>
                    </a:lnTo>
                    <a:lnTo>
                      <a:pt x="35017" y="9279"/>
                    </a:lnTo>
                    <a:lnTo>
                      <a:pt x="38676" y="2241"/>
                    </a:lnTo>
                    <a:lnTo>
                      <a:pt x="42055" y="2715"/>
                    </a:lnTo>
                    <a:lnTo>
                      <a:pt x="47735" y="0"/>
                    </a:lnTo>
                    <a:lnTo>
                      <a:pt x="50704" y="10323"/>
                    </a:lnTo>
                    <a:lnTo>
                      <a:pt x="55303" y="7283"/>
                    </a:lnTo>
                    <a:lnTo>
                      <a:pt x="63415" y="3714"/>
                    </a:lnTo>
                    <a:lnTo>
                      <a:pt x="72206" y="8982"/>
                    </a:lnTo>
                    <a:lnTo>
                      <a:pt x="75595" y="16964"/>
                    </a:lnTo>
                    <a:lnTo>
                      <a:pt x="84396" y="22065"/>
                    </a:lnTo>
                    <a:lnTo>
                      <a:pt x="91286" y="16001"/>
                    </a:lnTo>
                    <a:lnTo>
                      <a:pt x="100483" y="15090"/>
                    </a:lnTo>
                    <a:lnTo>
                      <a:pt x="113894" y="21318"/>
                    </a:lnTo>
                    <a:lnTo>
                      <a:pt x="119021" y="55646"/>
                    </a:lnTo>
                    <a:lnTo>
                      <a:pt x="110689" y="75907"/>
                    </a:lnTo>
                    <a:lnTo>
                      <a:pt x="105497" y="103149"/>
                    </a:lnTo>
                    <a:lnTo>
                      <a:pt x="114003" y="123933"/>
                    </a:lnTo>
                    <a:lnTo>
                      <a:pt x="113093" y="133452"/>
                    </a:lnTo>
                    <a:close/>
                  </a:path>
                </a:pathLst>
              </a:custGeom>
              <a:solidFill>
                <a:srgbClr val="74C476">
                  <a:alpha val="100000"/>
                </a:srgbClr>
              </a:solidFill>
              <a:ln w="5400">
                <a:solidFill>
                  <a:srgbClr val="7F7F7F">
                    <a:alpha val="100000"/>
                  </a:srgbClr>
                </a:solidFill>
                <a:prstDash val="solid"/>
                <a:round/>
              </a:ln>
            </p:spPr>
            <p:txBody>
              <a:bodyPr/>
              <a:lstStyle/>
              <a:p/>
            </p:txBody>
          </p:sp>
          <p:sp>
            <p:nvSpPr>
              <p:cNvPr id="215" name="Polygon form 180"/>
              <p:cNvSpPr/>
              <p:nvPr/>
            </p:nvSpPr>
            <p:spPr>
              <a:xfrm>
                <a:off x="4127627" y="3821203"/>
                <a:ext cx="148642" cy="268886"/>
              </a:xfrm>
              <a:custGeom>
                <a:avLst/>
                <a:gdLst/>
                <a:ahLst/>
                <a:cxnLst/>
                <a:rect l="0" t="0" r="0" b="0"/>
                <a:pathLst>
                  <a:path w="148642" h="268886">
                    <a:moveTo>
                      <a:pt x="90680" y="255880"/>
                    </a:moveTo>
                    <a:lnTo>
                      <a:pt x="88220" y="254565"/>
                    </a:lnTo>
                    <a:lnTo>
                      <a:pt x="76547" y="257681"/>
                    </a:lnTo>
                    <a:lnTo>
                      <a:pt x="64545" y="254451"/>
                    </a:lnTo>
                    <a:lnTo>
                      <a:pt x="55171" y="256042"/>
                    </a:lnTo>
                    <a:lnTo>
                      <a:pt x="23055" y="255503"/>
                    </a:lnTo>
                    <a:lnTo>
                      <a:pt x="25886" y="236443"/>
                    </a:lnTo>
                    <a:lnTo>
                      <a:pt x="18124" y="220489"/>
                    </a:lnTo>
                    <a:lnTo>
                      <a:pt x="9110" y="216400"/>
                    </a:lnTo>
                    <a:lnTo>
                      <a:pt x="5063" y="205587"/>
                    </a:lnTo>
                    <a:lnTo>
                      <a:pt x="0" y="202129"/>
                    </a:lnTo>
                    <a:lnTo>
                      <a:pt x="199" y="195459"/>
                    </a:lnTo>
                    <a:lnTo>
                      <a:pt x="5193" y="178375"/>
                    </a:lnTo>
                    <a:lnTo>
                      <a:pt x="14434" y="155080"/>
                    </a:lnTo>
                    <a:lnTo>
                      <a:pt x="20134" y="154857"/>
                    </a:lnTo>
                    <a:lnTo>
                      <a:pt x="31762" y="140717"/>
                    </a:lnTo>
                    <a:lnTo>
                      <a:pt x="39220" y="140308"/>
                    </a:lnTo>
                    <a:lnTo>
                      <a:pt x="50345" y="150216"/>
                    </a:lnTo>
                    <a:lnTo>
                      <a:pt x="63803" y="142064"/>
                    </a:lnTo>
                    <a:lnTo>
                      <a:pt x="65557" y="132026"/>
                    </a:lnTo>
                    <a:lnTo>
                      <a:pt x="69886" y="122294"/>
                    </a:lnTo>
                    <a:lnTo>
                      <a:pt x="72810" y="110071"/>
                    </a:lnTo>
                    <a:lnTo>
                      <a:pt x="83212" y="100107"/>
                    </a:lnTo>
                    <a:lnTo>
                      <a:pt x="86975" y="83195"/>
                    </a:lnTo>
                    <a:lnTo>
                      <a:pt x="91070" y="77805"/>
                    </a:lnTo>
                    <a:lnTo>
                      <a:pt x="93670" y="65247"/>
                    </a:lnTo>
                    <a:lnTo>
                      <a:pt x="98630" y="49823"/>
                    </a:lnTo>
                    <a:lnTo>
                      <a:pt x="114831" y="31093"/>
                    </a:lnTo>
                    <a:lnTo>
                      <a:pt x="115726" y="23061"/>
                    </a:lnTo>
                    <a:lnTo>
                      <a:pt x="117780" y="18693"/>
                    </a:lnTo>
                    <a:lnTo>
                      <a:pt x="109866" y="9093"/>
                    </a:lnTo>
                    <a:lnTo>
                      <a:pt x="110354" y="1401"/>
                    </a:lnTo>
                    <a:lnTo>
                      <a:pt x="115843" y="0"/>
                    </a:lnTo>
                    <a:lnTo>
                      <a:pt x="123906" y="15446"/>
                    </a:lnTo>
                    <a:lnTo>
                      <a:pt x="125503" y="31470"/>
                    </a:lnTo>
                    <a:lnTo>
                      <a:pt x="125061" y="47519"/>
                    </a:lnTo>
                    <a:lnTo>
                      <a:pt x="136088" y="69452"/>
                    </a:lnTo>
                    <a:lnTo>
                      <a:pt x="125128" y="69242"/>
                    </a:lnTo>
                    <a:lnTo>
                      <a:pt x="119618" y="70974"/>
                    </a:lnTo>
                    <a:lnTo>
                      <a:pt x="110642" y="68568"/>
                    </a:lnTo>
                    <a:lnTo>
                      <a:pt x="106539" y="79975"/>
                    </a:lnTo>
                    <a:lnTo>
                      <a:pt x="118318" y="94048"/>
                    </a:lnTo>
                    <a:lnTo>
                      <a:pt x="126928" y="98132"/>
                    </a:lnTo>
                    <a:lnTo>
                      <a:pt x="129828" y="108127"/>
                    </a:lnTo>
                    <a:lnTo>
                      <a:pt x="136234" y="124769"/>
                    </a:lnTo>
                    <a:lnTo>
                      <a:pt x="133231" y="131319"/>
                    </a:lnTo>
                    <a:lnTo>
                      <a:pt x="123592" y="155818"/>
                    </a:lnTo>
                    <a:lnTo>
                      <a:pt x="118907" y="160210"/>
                    </a:lnTo>
                    <a:lnTo>
                      <a:pt x="117549" y="178938"/>
                    </a:lnTo>
                    <a:lnTo>
                      <a:pt x="119589" y="189109"/>
                    </a:lnTo>
                    <a:lnTo>
                      <a:pt x="118053" y="196310"/>
                    </a:lnTo>
                    <a:lnTo>
                      <a:pt x="127455" y="208915"/>
                    </a:lnTo>
                    <a:lnTo>
                      <a:pt x="129189" y="217587"/>
                    </a:lnTo>
                    <a:lnTo>
                      <a:pt x="136541" y="230049"/>
                    </a:lnTo>
                    <a:lnTo>
                      <a:pt x="145603" y="237816"/>
                    </a:lnTo>
                    <a:lnTo>
                      <a:pt x="146533" y="248838"/>
                    </a:lnTo>
                    <a:lnTo>
                      <a:pt x="148642" y="255838"/>
                    </a:lnTo>
                    <a:lnTo>
                      <a:pt x="147265" y="268886"/>
                    </a:lnTo>
                    <a:lnTo>
                      <a:pt x="131566" y="263182"/>
                    </a:lnTo>
                    <a:lnTo>
                      <a:pt x="115589" y="256816"/>
                    </a:lnTo>
                    <a:lnTo>
                      <a:pt x="90680" y="255880"/>
                    </a:lnTo>
                    <a:close/>
                  </a:path>
                </a:pathLst>
              </a:custGeom>
              <a:solidFill>
                <a:srgbClr val="A1D99B">
                  <a:alpha val="100000"/>
                </a:srgbClr>
              </a:solidFill>
              <a:ln w="5400">
                <a:solidFill>
                  <a:srgbClr val="7F7F7F">
                    <a:alpha val="100000"/>
                  </a:srgbClr>
                </a:solidFill>
                <a:prstDash val="solid"/>
                <a:round/>
              </a:ln>
            </p:spPr>
            <p:txBody>
              <a:bodyPr/>
              <a:lstStyle/>
              <a:p/>
            </p:txBody>
          </p:sp>
          <p:sp>
            <p:nvSpPr>
              <p:cNvPr id="216" name="Polygon form 181"/>
              <p:cNvSpPr/>
              <p:nvPr/>
            </p:nvSpPr>
            <p:spPr>
              <a:xfrm>
                <a:off x="4200250" y="4004505"/>
                <a:ext cx="375233" cy="448929"/>
              </a:xfrm>
              <a:custGeom>
                <a:avLst/>
                <a:gdLst/>
                <a:ahLst/>
                <a:cxnLst/>
                <a:rect l="0" t="0" r="0" b="0"/>
                <a:pathLst>
                  <a:path w="375233" h="448929">
                    <a:moveTo>
                      <a:pt x="368233" y="42160"/>
                    </a:moveTo>
                    <a:lnTo>
                      <a:pt x="367300" y="70541"/>
                    </a:lnTo>
                    <a:lnTo>
                      <a:pt x="375233" y="73819"/>
                    </a:lnTo>
                    <a:lnTo>
                      <a:pt x="368944" y="82443"/>
                    </a:lnTo>
                    <a:lnTo>
                      <a:pt x="361396" y="88895"/>
                    </a:lnTo>
                    <a:lnTo>
                      <a:pt x="353900" y="101555"/>
                    </a:lnTo>
                    <a:lnTo>
                      <a:pt x="349776" y="112837"/>
                    </a:lnTo>
                    <a:lnTo>
                      <a:pt x="348677" y="132312"/>
                    </a:lnTo>
                    <a:lnTo>
                      <a:pt x="344092" y="141580"/>
                    </a:lnTo>
                    <a:lnTo>
                      <a:pt x="343874" y="159870"/>
                    </a:lnTo>
                    <a:lnTo>
                      <a:pt x="338168" y="166627"/>
                    </a:lnTo>
                    <a:lnTo>
                      <a:pt x="337354" y="181061"/>
                    </a:lnTo>
                    <a:lnTo>
                      <a:pt x="334631" y="182928"/>
                    </a:lnTo>
                    <a:lnTo>
                      <a:pt x="332703" y="196194"/>
                    </a:lnTo>
                    <a:lnTo>
                      <a:pt x="337564" y="207229"/>
                    </a:lnTo>
                    <a:lnTo>
                      <a:pt x="338478" y="236486"/>
                    </a:lnTo>
                    <a:lnTo>
                      <a:pt x="341693" y="258810"/>
                    </a:lnTo>
                    <a:lnTo>
                      <a:pt x="339508" y="271419"/>
                    </a:lnTo>
                    <a:lnTo>
                      <a:pt x="343183" y="285500"/>
                    </a:lnTo>
                    <a:lnTo>
                      <a:pt x="354316" y="299122"/>
                    </a:lnTo>
                    <a:lnTo>
                      <a:pt x="364202" y="329736"/>
                    </a:lnTo>
                    <a:lnTo>
                      <a:pt x="356524" y="327236"/>
                    </a:lnTo>
                    <a:lnTo>
                      <a:pt x="330022" y="331228"/>
                    </a:lnTo>
                    <a:lnTo>
                      <a:pt x="324682" y="334106"/>
                    </a:lnTo>
                    <a:lnTo>
                      <a:pt x="318684" y="349563"/>
                    </a:lnTo>
                    <a:lnTo>
                      <a:pt x="322785" y="360275"/>
                    </a:lnTo>
                    <a:lnTo>
                      <a:pt x="318446" y="388966"/>
                    </a:lnTo>
                    <a:lnTo>
                      <a:pt x="315221" y="413290"/>
                    </a:lnTo>
                    <a:lnTo>
                      <a:pt x="320357" y="417632"/>
                    </a:lnTo>
                    <a:lnTo>
                      <a:pt x="333687" y="427145"/>
                    </a:lnTo>
                    <a:lnTo>
                      <a:pt x="339216" y="422765"/>
                    </a:lnTo>
                    <a:lnTo>
                      <a:pt x="339838" y="448929"/>
                    </a:lnTo>
                    <a:lnTo>
                      <a:pt x="324907" y="448637"/>
                    </a:lnTo>
                    <a:lnTo>
                      <a:pt x="317397" y="435246"/>
                    </a:lnTo>
                    <a:lnTo>
                      <a:pt x="310570" y="424876"/>
                    </a:lnTo>
                    <a:lnTo>
                      <a:pt x="295703" y="421409"/>
                    </a:lnTo>
                    <a:lnTo>
                      <a:pt x="291734" y="408688"/>
                    </a:lnTo>
                    <a:lnTo>
                      <a:pt x="279525" y="416278"/>
                    </a:lnTo>
                    <a:lnTo>
                      <a:pt x="263965" y="412823"/>
                    </a:lnTo>
                    <a:lnTo>
                      <a:pt x="257756" y="401796"/>
                    </a:lnTo>
                    <a:lnTo>
                      <a:pt x="245388" y="399507"/>
                    </a:lnTo>
                    <a:lnTo>
                      <a:pt x="236194" y="400052"/>
                    </a:lnTo>
                    <a:lnTo>
                      <a:pt x="235278" y="392521"/>
                    </a:lnTo>
                    <a:lnTo>
                      <a:pt x="228536" y="391884"/>
                    </a:lnTo>
                    <a:lnTo>
                      <a:pt x="219651" y="390420"/>
                    </a:lnTo>
                    <a:lnTo>
                      <a:pt x="207421" y="393997"/>
                    </a:lnTo>
                    <a:lnTo>
                      <a:pt x="198923" y="393370"/>
                    </a:lnTo>
                    <a:lnTo>
                      <a:pt x="194019" y="395571"/>
                    </a:lnTo>
                    <a:lnTo>
                      <a:pt x="195752" y="366779"/>
                    </a:lnTo>
                    <a:lnTo>
                      <a:pt x="189402" y="357778"/>
                    </a:lnTo>
                    <a:lnTo>
                      <a:pt x="188267" y="342893"/>
                    </a:lnTo>
                    <a:lnTo>
                      <a:pt x="191442" y="328316"/>
                    </a:lnTo>
                    <a:lnTo>
                      <a:pt x="187627" y="318969"/>
                    </a:lnTo>
                    <a:lnTo>
                      <a:pt x="187522" y="303744"/>
                    </a:lnTo>
                    <a:lnTo>
                      <a:pt x="163646" y="303898"/>
                    </a:lnTo>
                    <a:lnTo>
                      <a:pt x="165490" y="295187"/>
                    </a:lnTo>
                    <a:lnTo>
                      <a:pt x="155447" y="295256"/>
                    </a:lnTo>
                    <a:lnTo>
                      <a:pt x="154326" y="299444"/>
                    </a:lnTo>
                    <a:lnTo>
                      <a:pt x="142108" y="300362"/>
                    </a:lnTo>
                    <a:lnTo>
                      <a:pt x="136966" y="314443"/>
                    </a:lnTo>
                    <a:lnTo>
                      <a:pt x="133926" y="320482"/>
                    </a:lnTo>
                    <a:lnTo>
                      <a:pt x="123113" y="317042"/>
                    </a:lnTo>
                    <a:lnTo>
                      <a:pt x="116574" y="320428"/>
                    </a:lnTo>
                    <a:lnTo>
                      <a:pt x="103545" y="322354"/>
                    </a:lnTo>
                    <a:lnTo>
                      <a:pt x="96187" y="309701"/>
                    </a:lnTo>
                    <a:lnTo>
                      <a:pt x="91766" y="301877"/>
                    </a:lnTo>
                    <a:lnTo>
                      <a:pt x="86288" y="287375"/>
                    </a:lnTo>
                    <a:lnTo>
                      <a:pt x="81619" y="269360"/>
                    </a:lnTo>
                    <a:lnTo>
                      <a:pt x="23493" y="268961"/>
                    </a:lnTo>
                    <a:lnTo>
                      <a:pt x="16561" y="271854"/>
                    </a:lnTo>
                    <a:lnTo>
                      <a:pt x="10858" y="271396"/>
                    </a:lnTo>
                    <a:lnTo>
                      <a:pt x="2704" y="274632"/>
                    </a:lnTo>
                    <a:lnTo>
                      <a:pt x="0" y="267139"/>
                    </a:lnTo>
                    <a:lnTo>
                      <a:pt x="5029" y="264594"/>
                    </a:lnTo>
                    <a:lnTo>
                      <a:pt x="5719" y="254068"/>
                    </a:lnTo>
                    <a:lnTo>
                      <a:pt x="8984" y="247863"/>
                    </a:lnTo>
                    <a:lnTo>
                      <a:pt x="16190" y="242794"/>
                    </a:lnTo>
                    <a:lnTo>
                      <a:pt x="21353" y="245259"/>
                    </a:lnTo>
                    <a:lnTo>
                      <a:pt x="28154" y="236020"/>
                    </a:lnTo>
                    <a:lnTo>
                      <a:pt x="38892" y="236269"/>
                    </a:lnTo>
                    <a:lnTo>
                      <a:pt x="40110" y="243108"/>
                    </a:lnTo>
                    <a:lnTo>
                      <a:pt x="47443" y="247395"/>
                    </a:lnTo>
                    <a:lnTo>
                      <a:pt x="59149" y="232267"/>
                    </a:lnTo>
                    <a:lnTo>
                      <a:pt x="70713" y="220480"/>
                    </a:lnTo>
                    <a:lnTo>
                      <a:pt x="75745" y="212752"/>
                    </a:lnTo>
                    <a:lnTo>
                      <a:pt x="75185" y="192871"/>
                    </a:lnTo>
                    <a:lnTo>
                      <a:pt x="83842" y="169401"/>
                    </a:lnTo>
                    <a:lnTo>
                      <a:pt x="92917" y="156956"/>
                    </a:lnTo>
                    <a:lnTo>
                      <a:pt x="105934" y="145310"/>
                    </a:lnTo>
                    <a:lnTo>
                      <a:pt x="108211" y="137599"/>
                    </a:lnTo>
                    <a:lnTo>
                      <a:pt x="108706" y="128734"/>
                    </a:lnTo>
                    <a:lnTo>
                      <a:pt x="111922" y="120346"/>
                    </a:lnTo>
                    <a:lnTo>
                      <a:pt x="110875" y="106647"/>
                    </a:lnTo>
                    <a:lnTo>
                      <a:pt x="113285" y="85224"/>
                    </a:lnTo>
                    <a:lnTo>
                      <a:pt x="117085" y="70140"/>
                    </a:lnTo>
                    <a:lnTo>
                      <a:pt x="122932" y="57209"/>
                    </a:lnTo>
                    <a:lnTo>
                      <a:pt x="124014" y="42607"/>
                    </a:lnTo>
                    <a:lnTo>
                      <a:pt x="125665" y="25744"/>
                    </a:lnTo>
                    <a:lnTo>
                      <a:pt x="133237" y="13458"/>
                    </a:lnTo>
                    <a:lnTo>
                      <a:pt x="143718" y="5656"/>
                    </a:lnTo>
                    <a:lnTo>
                      <a:pt x="160019" y="13851"/>
                    </a:lnTo>
                    <a:lnTo>
                      <a:pt x="172661" y="22756"/>
                    </a:lnTo>
                    <a:lnTo>
                      <a:pt x="187108" y="25117"/>
                    </a:lnTo>
                    <a:lnTo>
                      <a:pt x="201862" y="29819"/>
                    </a:lnTo>
                    <a:lnTo>
                      <a:pt x="207613" y="15195"/>
                    </a:lnTo>
                    <a:lnTo>
                      <a:pt x="210300" y="13325"/>
                    </a:lnTo>
                    <a:lnTo>
                      <a:pt x="219311" y="15741"/>
                    </a:lnTo>
                    <a:lnTo>
                      <a:pt x="241114" y="3617"/>
                    </a:lnTo>
                    <a:lnTo>
                      <a:pt x="248954" y="8725"/>
                    </a:lnTo>
                    <a:lnTo>
                      <a:pt x="255327" y="7986"/>
                    </a:lnTo>
                    <a:lnTo>
                      <a:pt x="258206" y="2091"/>
                    </a:lnTo>
                    <a:lnTo>
                      <a:pt x="265502" y="0"/>
                    </a:lnTo>
                    <a:lnTo>
                      <a:pt x="280364" y="2518"/>
                    </a:lnTo>
                    <a:lnTo>
                      <a:pt x="293010" y="3048"/>
                    </a:lnTo>
                    <a:lnTo>
                      <a:pt x="299480" y="462"/>
                    </a:lnTo>
                    <a:lnTo>
                      <a:pt x="311692" y="20450"/>
                    </a:lnTo>
                    <a:lnTo>
                      <a:pt x="320583" y="23373"/>
                    </a:lnTo>
                    <a:lnTo>
                      <a:pt x="325809" y="19290"/>
                    </a:lnTo>
                    <a:lnTo>
                      <a:pt x="334946" y="20868"/>
                    </a:lnTo>
                    <a:lnTo>
                      <a:pt x="345857" y="15714"/>
                    </a:lnTo>
                    <a:lnTo>
                      <a:pt x="350678" y="26066"/>
                    </a:lnTo>
                    <a:lnTo>
                      <a:pt x="368233" y="42160"/>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217" name="Polygon form 182"/>
              <p:cNvSpPr/>
              <p:nvPr/>
            </p:nvSpPr>
            <p:spPr>
              <a:xfrm>
                <a:off x="4179047" y="4041727"/>
                <a:ext cx="145217" cy="211755"/>
              </a:xfrm>
              <a:custGeom>
                <a:avLst/>
                <a:gdLst/>
                <a:ahLst/>
                <a:cxnLst/>
                <a:rect l="0" t="0" r="0" b="0"/>
                <a:pathLst>
                  <a:path w="145217" h="211755">
                    <a:moveTo>
                      <a:pt x="37393" y="205572"/>
                    </a:moveTo>
                    <a:lnTo>
                      <a:pt x="30055" y="197280"/>
                    </a:lnTo>
                    <a:lnTo>
                      <a:pt x="24074" y="201336"/>
                    </a:lnTo>
                    <a:lnTo>
                      <a:pt x="16056" y="211755"/>
                    </a:lnTo>
                    <a:lnTo>
                      <a:pt x="0" y="186169"/>
                    </a:lnTo>
                    <a:lnTo>
                      <a:pt x="15075" y="172852"/>
                    </a:lnTo>
                    <a:lnTo>
                      <a:pt x="7694" y="156882"/>
                    </a:lnTo>
                    <a:lnTo>
                      <a:pt x="14479" y="150814"/>
                    </a:lnTo>
                    <a:lnTo>
                      <a:pt x="27803" y="147863"/>
                    </a:lnTo>
                    <a:lnTo>
                      <a:pt x="29404" y="137161"/>
                    </a:lnTo>
                    <a:lnTo>
                      <a:pt x="39916" y="148763"/>
                    </a:lnTo>
                    <a:lnTo>
                      <a:pt x="57333" y="149788"/>
                    </a:lnTo>
                    <a:lnTo>
                      <a:pt x="63424" y="138377"/>
                    </a:lnTo>
                    <a:lnTo>
                      <a:pt x="65955" y="122318"/>
                    </a:lnTo>
                    <a:lnTo>
                      <a:pt x="63829" y="103457"/>
                    </a:lnTo>
                    <a:lnTo>
                      <a:pt x="54495" y="89172"/>
                    </a:lnTo>
                    <a:lnTo>
                      <a:pt x="63016" y="61195"/>
                    </a:lnTo>
                    <a:lnTo>
                      <a:pt x="58080" y="56396"/>
                    </a:lnTo>
                    <a:lnTo>
                      <a:pt x="43398" y="58368"/>
                    </a:lnTo>
                    <a:lnTo>
                      <a:pt x="37854" y="45891"/>
                    </a:lnTo>
                    <a:lnTo>
                      <a:pt x="39261" y="35356"/>
                    </a:lnTo>
                    <a:lnTo>
                      <a:pt x="64169" y="36292"/>
                    </a:lnTo>
                    <a:lnTo>
                      <a:pt x="80146" y="42658"/>
                    </a:lnTo>
                    <a:lnTo>
                      <a:pt x="95845" y="48362"/>
                    </a:lnTo>
                    <a:lnTo>
                      <a:pt x="97222" y="35313"/>
                    </a:lnTo>
                    <a:lnTo>
                      <a:pt x="107464" y="12818"/>
                    </a:lnTo>
                    <a:lnTo>
                      <a:pt x="119145" y="0"/>
                    </a:lnTo>
                    <a:lnTo>
                      <a:pt x="132522" y="4047"/>
                    </a:lnTo>
                    <a:lnTo>
                      <a:pt x="145217" y="5384"/>
                    </a:lnTo>
                    <a:lnTo>
                      <a:pt x="144136" y="19986"/>
                    </a:lnTo>
                    <a:lnTo>
                      <a:pt x="138289" y="32918"/>
                    </a:lnTo>
                    <a:lnTo>
                      <a:pt x="134488" y="48002"/>
                    </a:lnTo>
                    <a:lnTo>
                      <a:pt x="132078" y="69424"/>
                    </a:lnTo>
                    <a:lnTo>
                      <a:pt x="133126" y="83124"/>
                    </a:lnTo>
                    <a:lnTo>
                      <a:pt x="129910" y="91512"/>
                    </a:lnTo>
                    <a:lnTo>
                      <a:pt x="129414" y="100377"/>
                    </a:lnTo>
                    <a:lnTo>
                      <a:pt x="127138" y="108087"/>
                    </a:lnTo>
                    <a:lnTo>
                      <a:pt x="114121" y="119733"/>
                    </a:lnTo>
                    <a:lnTo>
                      <a:pt x="105045" y="132178"/>
                    </a:lnTo>
                    <a:lnTo>
                      <a:pt x="96389" y="155648"/>
                    </a:lnTo>
                    <a:lnTo>
                      <a:pt x="96948" y="175529"/>
                    </a:lnTo>
                    <a:lnTo>
                      <a:pt x="91917" y="183257"/>
                    </a:lnTo>
                    <a:lnTo>
                      <a:pt x="80353" y="195045"/>
                    </a:lnTo>
                    <a:lnTo>
                      <a:pt x="68646" y="210173"/>
                    </a:lnTo>
                    <a:lnTo>
                      <a:pt x="61313" y="205885"/>
                    </a:lnTo>
                    <a:lnTo>
                      <a:pt x="60096" y="199046"/>
                    </a:lnTo>
                    <a:lnTo>
                      <a:pt x="49358" y="198797"/>
                    </a:lnTo>
                    <a:lnTo>
                      <a:pt x="42556" y="208037"/>
                    </a:lnTo>
                    <a:lnTo>
                      <a:pt x="37393" y="205572"/>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218" name="Polygon form 183"/>
              <p:cNvSpPr/>
              <p:nvPr/>
            </p:nvSpPr>
            <p:spPr>
              <a:xfrm>
                <a:off x="2401187" y="3821663"/>
                <a:ext cx="238995" cy="417216"/>
              </a:xfrm>
              <a:custGeom>
                <a:avLst/>
                <a:gdLst/>
                <a:ahLst/>
                <a:cxnLst/>
                <a:rect l="0" t="0" r="0" b="0"/>
                <a:pathLst>
                  <a:path w="238995" h="417216">
                    <a:moveTo>
                      <a:pt x="71124" y="313978"/>
                    </a:moveTo>
                    <a:lnTo>
                      <a:pt x="62669" y="308047"/>
                    </a:lnTo>
                    <a:lnTo>
                      <a:pt x="52995" y="299744"/>
                    </a:lnTo>
                    <a:lnTo>
                      <a:pt x="47377" y="303730"/>
                    </a:lnTo>
                    <a:lnTo>
                      <a:pt x="30634" y="300242"/>
                    </a:lnTo>
                    <a:lnTo>
                      <a:pt x="25878" y="289442"/>
                    </a:lnTo>
                    <a:lnTo>
                      <a:pt x="22194" y="289839"/>
                    </a:lnTo>
                    <a:lnTo>
                      <a:pt x="2579" y="275467"/>
                    </a:lnTo>
                    <a:lnTo>
                      <a:pt x="0" y="267659"/>
                    </a:lnTo>
                    <a:lnTo>
                      <a:pt x="7391" y="265791"/>
                    </a:lnTo>
                    <a:lnTo>
                      <a:pt x="6724" y="253202"/>
                    </a:lnTo>
                    <a:lnTo>
                      <a:pt x="11534" y="244119"/>
                    </a:lnTo>
                    <a:lnTo>
                      <a:pt x="21358" y="242470"/>
                    </a:lnTo>
                    <a:lnTo>
                      <a:pt x="30049" y="226731"/>
                    </a:lnTo>
                    <a:lnTo>
                      <a:pt x="37978" y="213606"/>
                    </a:lnTo>
                    <a:lnTo>
                      <a:pt x="30900" y="207598"/>
                    </a:lnTo>
                    <a:lnTo>
                      <a:pt x="35133" y="193059"/>
                    </a:lnTo>
                    <a:lnTo>
                      <a:pt x="31636" y="170079"/>
                    </a:lnTo>
                    <a:lnTo>
                      <a:pt x="36161" y="163526"/>
                    </a:lnTo>
                    <a:lnTo>
                      <a:pt x="34126" y="142286"/>
                    </a:lnTo>
                    <a:lnTo>
                      <a:pt x="26914" y="128849"/>
                    </a:lnTo>
                    <a:lnTo>
                      <a:pt x="30172" y="116679"/>
                    </a:lnTo>
                    <a:lnTo>
                      <a:pt x="36395" y="118544"/>
                    </a:lnTo>
                    <a:lnTo>
                      <a:pt x="40568" y="111130"/>
                    </a:lnTo>
                    <a:lnTo>
                      <a:pt x="36989" y="96311"/>
                    </a:lnTo>
                    <a:lnTo>
                      <a:pt x="39626" y="92672"/>
                    </a:lnTo>
                    <a:lnTo>
                      <a:pt x="49713" y="93585"/>
                    </a:lnTo>
                    <a:lnTo>
                      <a:pt x="65688" y="76274"/>
                    </a:lnTo>
                    <a:lnTo>
                      <a:pt x="73962" y="73709"/>
                    </a:lnTo>
                    <a:lnTo>
                      <a:pt x="74783" y="65434"/>
                    </a:lnTo>
                    <a:lnTo>
                      <a:pt x="80092" y="44341"/>
                    </a:lnTo>
                    <a:lnTo>
                      <a:pt x="92303" y="32893"/>
                    </a:lnTo>
                    <a:lnTo>
                      <a:pt x="104671" y="32593"/>
                    </a:lnTo>
                    <a:lnTo>
                      <a:pt x="106679" y="27408"/>
                    </a:lnTo>
                    <a:lnTo>
                      <a:pt x="121800" y="29709"/>
                    </a:lnTo>
                    <a:lnTo>
                      <a:pt x="138286" y="17330"/>
                    </a:lnTo>
                    <a:lnTo>
                      <a:pt x="146398" y="11866"/>
                    </a:lnTo>
                    <a:lnTo>
                      <a:pt x="156950" y="0"/>
                    </a:lnTo>
                    <a:lnTo>
                      <a:pt x="163724" y="1630"/>
                    </a:lnTo>
                    <a:lnTo>
                      <a:pt x="168251" y="8258"/>
                    </a:lnTo>
                    <a:lnTo>
                      <a:pt x="163715" y="16589"/>
                    </a:lnTo>
                    <a:lnTo>
                      <a:pt x="150796" y="20587"/>
                    </a:lnTo>
                    <a:lnTo>
                      <a:pt x="144773" y="32982"/>
                    </a:lnTo>
                    <a:lnTo>
                      <a:pt x="136607" y="40031"/>
                    </a:lnTo>
                    <a:lnTo>
                      <a:pt x="130170" y="49228"/>
                    </a:lnTo>
                    <a:lnTo>
                      <a:pt x="126407" y="67006"/>
                    </a:lnTo>
                    <a:lnTo>
                      <a:pt x="119918" y="81540"/>
                    </a:lnTo>
                    <a:lnTo>
                      <a:pt x="129931" y="83327"/>
                    </a:lnTo>
                    <a:lnTo>
                      <a:pt x="131680" y="94828"/>
                    </a:lnTo>
                    <a:lnTo>
                      <a:pt x="135659" y="100364"/>
                    </a:lnTo>
                    <a:lnTo>
                      <a:pt x="136590" y="110425"/>
                    </a:lnTo>
                    <a:lnTo>
                      <a:pt x="133713" y="119639"/>
                    </a:lnTo>
                    <a:lnTo>
                      <a:pt x="134109" y="124854"/>
                    </a:lnTo>
                    <a:lnTo>
                      <a:pt x="138834" y="126977"/>
                    </a:lnTo>
                    <a:lnTo>
                      <a:pt x="143051" y="135720"/>
                    </a:lnTo>
                    <a:lnTo>
                      <a:pt x="168471" y="133539"/>
                    </a:lnTo>
                    <a:lnTo>
                      <a:pt x="179735" y="136808"/>
                    </a:lnTo>
                    <a:lnTo>
                      <a:pt x="192575" y="158336"/>
                    </a:lnTo>
                    <a:lnTo>
                      <a:pt x="200649" y="155732"/>
                    </a:lnTo>
                    <a:lnTo>
                      <a:pt x="214771" y="157165"/>
                    </a:lnTo>
                    <a:lnTo>
                      <a:pt x="226115" y="154410"/>
                    </a:lnTo>
                    <a:lnTo>
                      <a:pt x="232893" y="158728"/>
                    </a:lnTo>
                    <a:lnTo>
                      <a:pt x="228802" y="172085"/>
                    </a:lnTo>
                    <a:lnTo>
                      <a:pt x="224091" y="180401"/>
                    </a:lnTo>
                    <a:lnTo>
                      <a:pt x="221940" y="198217"/>
                    </a:lnTo>
                    <a:lnTo>
                      <a:pt x="225424" y="214749"/>
                    </a:lnTo>
                    <a:lnTo>
                      <a:pt x="230840" y="222156"/>
                    </a:lnTo>
                    <a:lnTo>
                      <a:pt x="231385" y="227721"/>
                    </a:lnTo>
                    <a:lnTo>
                      <a:pt x="221123" y="240057"/>
                    </a:lnTo>
                    <a:lnTo>
                      <a:pt x="228178" y="245556"/>
                    </a:lnTo>
                    <a:lnTo>
                      <a:pt x="233277" y="254258"/>
                    </a:lnTo>
                    <a:lnTo>
                      <a:pt x="238995" y="279042"/>
                    </a:lnTo>
                    <a:lnTo>
                      <a:pt x="235244" y="282098"/>
                    </a:lnTo>
                    <a:lnTo>
                      <a:pt x="231541" y="267437"/>
                    </a:lnTo>
                    <a:lnTo>
                      <a:pt x="226162" y="259545"/>
                    </a:lnTo>
                    <a:lnTo>
                      <a:pt x="219522" y="268098"/>
                    </a:lnTo>
                    <a:lnTo>
                      <a:pt x="181073" y="267466"/>
                    </a:lnTo>
                    <a:lnTo>
                      <a:pt x="181160" y="283049"/>
                    </a:lnTo>
                    <a:lnTo>
                      <a:pt x="192707" y="285638"/>
                    </a:lnTo>
                    <a:lnTo>
                      <a:pt x="191985" y="295171"/>
                    </a:lnTo>
                    <a:lnTo>
                      <a:pt x="188050" y="292591"/>
                    </a:lnTo>
                    <a:lnTo>
                      <a:pt x="176915" y="296686"/>
                    </a:lnTo>
                    <a:lnTo>
                      <a:pt x="176791" y="314784"/>
                    </a:lnTo>
                    <a:lnTo>
                      <a:pt x="185572" y="323866"/>
                    </a:lnTo>
                    <a:lnTo>
                      <a:pt x="188748" y="338119"/>
                    </a:lnTo>
                    <a:lnTo>
                      <a:pt x="188386" y="348916"/>
                    </a:lnTo>
                    <a:lnTo>
                      <a:pt x="180960" y="417216"/>
                    </a:lnTo>
                    <a:lnTo>
                      <a:pt x="170705" y="404022"/>
                    </a:lnTo>
                    <a:lnTo>
                      <a:pt x="164799" y="403458"/>
                    </a:lnTo>
                    <a:lnTo>
                      <a:pt x="176924" y="378052"/>
                    </a:lnTo>
                    <a:lnTo>
                      <a:pt x="161602" y="366429"/>
                    </a:lnTo>
                    <a:lnTo>
                      <a:pt x="149795" y="368605"/>
                    </a:lnTo>
                    <a:lnTo>
                      <a:pt x="142596" y="364308"/>
                    </a:lnTo>
                    <a:lnTo>
                      <a:pt x="131836" y="370938"/>
                    </a:lnTo>
                    <a:lnTo>
                      <a:pt x="117087" y="367853"/>
                    </a:lnTo>
                    <a:lnTo>
                      <a:pt x="105104" y="341680"/>
                    </a:lnTo>
                    <a:lnTo>
                      <a:pt x="95911" y="335251"/>
                    </a:lnTo>
                    <a:lnTo>
                      <a:pt x="89540" y="323451"/>
                    </a:lnTo>
                    <a:lnTo>
                      <a:pt x="76385" y="311604"/>
                    </a:lnTo>
                    <a:lnTo>
                      <a:pt x="71124" y="313978"/>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19" name="Polygon form 184"/>
              <p:cNvSpPr/>
              <p:nvPr/>
            </p:nvSpPr>
            <p:spPr>
              <a:xfrm>
                <a:off x="2277211" y="3847944"/>
                <a:ext cx="63452" cy="76296"/>
              </a:xfrm>
              <a:custGeom>
                <a:avLst/>
                <a:gdLst/>
                <a:ahLst/>
                <a:cxnLst/>
                <a:rect l="0" t="0" r="0" b="0"/>
                <a:pathLst>
                  <a:path w="63452" h="76296">
                    <a:moveTo>
                      <a:pt x="52613" y="76296"/>
                    </a:moveTo>
                    <a:lnTo>
                      <a:pt x="42365" y="70567"/>
                    </a:lnTo>
                    <a:lnTo>
                      <a:pt x="38776" y="65219"/>
                    </a:lnTo>
                    <a:lnTo>
                      <a:pt x="41372" y="60865"/>
                    </a:lnTo>
                    <a:lnTo>
                      <a:pt x="41096" y="55279"/>
                    </a:lnTo>
                    <a:lnTo>
                      <a:pt x="36144" y="49162"/>
                    </a:lnTo>
                    <a:lnTo>
                      <a:pt x="28840" y="44092"/>
                    </a:lnTo>
                    <a:lnTo>
                      <a:pt x="22366" y="40758"/>
                    </a:lnTo>
                    <a:lnTo>
                      <a:pt x="21719" y="33348"/>
                    </a:lnTo>
                    <a:lnTo>
                      <a:pt x="16983" y="28757"/>
                    </a:lnTo>
                    <a:lnTo>
                      <a:pt x="17591" y="36123"/>
                    </a:lnTo>
                    <a:lnTo>
                      <a:pt x="13159" y="42106"/>
                    </a:lnTo>
                    <a:lnTo>
                      <a:pt x="9289" y="35025"/>
                    </a:lnTo>
                    <a:lnTo>
                      <a:pt x="3216" y="32432"/>
                    </a:lnTo>
                    <a:lnTo>
                      <a:pt x="999" y="27293"/>
                    </a:lnTo>
                    <a:lnTo>
                      <a:pt x="1825" y="19594"/>
                    </a:lnTo>
                    <a:lnTo>
                      <a:pt x="5176" y="11670"/>
                    </a:lnTo>
                    <a:lnTo>
                      <a:pt x="0" y="8014"/>
                    </a:lnTo>
                    <a:lnTo>
                      <a:pt x="4966" y="3204"/>
                    </a:lnTo>
                    <a:lnTo>
                      <a:pt x="8238" y="0"/>
                    </a:lnTo>
                    <a:lnTo>
                      <a:pt x="20456" y="6907"/>
                    </a:lnTo>
                    <a:lnTo>
                      <a:pt x="25276" y="3689"/>
                    </a:lnTo>
                    <a:lnTo>
                      <a:pt x="31271" y="5897"/>
                    </a:lnTo>
                    <a:lnTo>
                      <a:pt x="34012" y="11145"/>
                    </a:lnTo>
                    <a:lnTo>
                      <a:pt x="39627" y="12918"/>
                    </a:lnTo>
                    <a:lnTo>
                      <a:pt x="44820" y="7645"/>
                    </a:lnTo>
                    <a:lnTo>
                      <a:pt x="48495" y="21430"/>
                    </a:lnTo>
                    <a:lnTo>
                      <a:pt x="55164" y="31693"/>
                    </a:lnTo>
                    <a:lnTo>
                      <a:pt x="63452" y="42585"/>
                    </a:lnTo>
                    <a:lnTo>
                      <a:pt x="55685" y="44732"/>
                    </a:lnTo>
                    <a:lnTo>
                      <a:pt x="54980" y="54884"/>
                    </a:lnTo>
                    <a:lnTo>
                      <a:pt x="58768" y="58685"/>
                    </a:lnTo>
                    <a:lnTo>
                      <a:pt x="55605" y="61634"/>
                    </a:lnTo>
                    <a:lnTo>
                      <a:pt x="56024" y="66208"/>
                    </a:lnTo>
                    <a:lnTo>
                      <a:pt x="54008" y="71302"/>
                    </a:lnTo>
                    <a:lnTo>
                      <a:pt x="52613" y="76296"/>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220" name="Polygon form 185"/>
              <p:cNvSpPr/>
              <p:nvPr/>
            </p:nvSpPr>
            <p:spPr>
              <a:xfrm>
                <a:off x="2336988" y="3548132"/>
                <a:ext cx="198774" cy="86581"/>
              </a:xfrm>
              <a:custGeom>
                <a:avLst/>
                <a:gdLst/>
                <a:ahLst/>
                <a:cxnLst/>
                <a:rect l="0" t="0" r="0" b="0"/>
                <a:pathLst>
                  <a:path w="198774" h="86581">
                    <a:moveTo>
                      <a:pt x="57857" y="0"/>
                    </a:moveTo>
                    <a:lnTo>
                      <a:pt x="73847" y="2323"/>
                    </a:lnTo>
                    <a:lnTo>
                      <a:pt x="88670" y="3086"/>
                    </a:lnTo>
                    <a:lnTo>
                      <a:pt x="104804" y="12171"/>
                    </a:lnTo>
                    <a:lnTo>
                      <a:pt x="110612" y="21558"/>
                    </a:lnTo>
                    <a:lnTo>
                      <a:pt x="128881" y="19273"/>
                    </a:lnTo>
                    <a:lnTo>
                      <a:pt x="134518" y="25343"/>
                    </a:lnTo>
                    <a:lnTo>
                      <a:pt x="147837" y="41277"/>
                    </a:lnTo>
                    <a:lnTo>
                      <a:pt x="157743" y="52867"/>
                    </a:lnTo>
                    <a:lnTo>
                      <a:pt x="164082" y="52698"/>
                    </a:lnTo>
                    <a:lnTo>
                      <a:pt x="174603" y="58095"/>
                    </a:lnTo>
                    <a:lnTo>
                      <a:pt x="172040" y="65078"/>
                    </a:lnTo>
                    <a:lnTo>
                      <a:pt x="185960" y="66479"/>
                    </a:lnTo>
                    <a:lnTo>
                      <a:pt x="198774" y="77052"/>
                    </a:lnTo>
                    <a:lnTo>
                      <a:pt x="195581" y="82830"/>
                    </a:lnTo>
                    <a:lnTo>
                      <a:pt x="182344" y="85671"/>
                    </a:lnTo>
                    <a:lnTo>
                      <a:pt x="169250" y="86581"/>
                    </a:lnTo>
                    <a:lnTo>
                      <a:pt x="156366" y="84266"/>
                    </a:lnTo>
                    <a:lnTo>
                      <a:pt x="128542" y="85979"/>
                    </a:lnTo>
                    <a:lnTo>
                      <a:pt x="143671" y="72383"/>
                    </a:lnTo>
                    <a:lnTo>
                      <a:pt x="136970" y="65683"/>
                    </a:lnTo>
                    <a:lnTo>
                      <a:pt x="124938" y="63673"/>
                    </a:lnTo>
                    <a:lnTo>
                      <a:pt x="119590" y="56271"/>
                    </a:lnTo>
                    <a:lnTo>
                      <a:pt x="117599" y="41904"/>
                    </a:lnTo>
                    <a:lnTo>
                      <a:pt x="106659" y="42563"/>
                    </a:lnTo>
                    <a:lnTo>
                      <a:pt x="90139" y="35324"/>
                    </a:lnTo>
                    <a:lnTo>
                      <a:pt x="85415" y="29900"/>
                    </a:lnTo>
                    <a:lnTo>
                      <a:pt x="61385" y="25250"/>
                    </a:lnTo>
                    <a:lnTo>
                      <a:pt x="55707" y="20151"/>
                    </a:lnTo>
                    <a:lnTo>
                      <a:pt x="64053" y="14116"/>
                    </a:lnTo>
                    <a:lnTo>
                      <a:pt x="45707" y="12232"/>
                    </a:lnTo>
                    <a:lnTo>
                      <a:pt x="29481" y="24829"/>
                    </a:lnTo>
                    <a:lnTo>
                      <a:pt x="21542" y="24926"/>
                    </a:lnTo>
                    <a:lnTo>
                      <a:pt x="17611" y="30967"/>
                    </a:lnTo>
                    <a:lnTo>
                      <a:pt x="7663" y="33412"/>
                    </a:lnTo>
                    <a:lnTo>
                      <a:pt x="0" y="30766"/>
                    </a:lnTo>
                    <a:lnTo>
                      <a:pt x="11573" y="23327"/>
                    </a:lnTo>
                    <a:lnTo>
                      <a:pt x="17510" y="14398"/>
                    </a:lnTo>
                    <a:lnTo>
                      <a:pt x="27214" y="9098"/>
                    </a:lnTo>
                    <a:lnTo>
                      <a:pt x="37886" y="4528"/>
                    </a:lnTo>
                    <a:lnTo>
                      <a:pt x="52711" y="2602"/>
                    </a:lnTo>
                    <a:lnTo>
                      <a:pt x="57857" y="0"/>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221" name="Polygon form 186"/>
              <p:cNvSpPr/>
              <p:nvPr/>
            </p:nvSpPr>
            <p:spPr>
              <a:xfrm>
                <a:off x="4555129" y="3265419"/>
                <a:ext cx="31768" cy="16641"/>
              </a:xfrm>
              <a:custGeom>
                <a:avLst/>
                <a:gdLst/>
                <a:ahLst/>
                <a:cxnLst/>
                <a:rect l="0" t="0" r="0" b="0"/>
                <a:pathLst>
                  <a:path w="31768" h="16641">
                    <a:moveTo>
                      <a:pt x="0" y="13496"/>
                    </a:moveTo>
                    <a:lnTo>
                      <a:pt x="1266" y="13340"/>
                    </a:lnTo>
                    <a:lnTo>
                      <a:pt x="3158" y="7448"/>
                    </a:lnTo>
                    <a:lnTo>
                      <a:pt x="16250" y="7540"/>
                    </a:lnTo>
                    <a:lnTo>
                      <a:pt x="31768" y="0"/>
                    </a:lnTo>
                    <a:lnTo>
                      <a:pt x="20879" y="10552"/>
                    </a:lnTo>
                    <a:lnTo>
                      <a:pt x="22782" y="15067"/>
                    </a:lnTo>
                    <a:lnTo>
                      <a:pt x="20728" y="14252"/>
                    </a:lnTo>
                    <a:lnTo>
                      <a:pt x="17494" y="16151"/>
                    </a:lnTo>
                    <a:lnTo>
                      <a:pt x="14713" y="15695"/>
                    </a:lnTo>
                    <a:lnTo>
                      <a:pt x="13925" y="16641"/>
                    </a:lnTo>
                    <a:lnTo>
                      <a:pt x="13256" y="14197"/>
                    </a:lnTo>
                    <a:lnTo>
                      <a:pt x="11760" y="12735"/>
                    </a:lnTo>
                    <a:lnTo>
                      <a:pt x="8230" y="12546"/>
                    </a:lnTo>
                    <a:lnTo>
                      <a:pt x="3564" y="14700"/>
                    </a:lnTo>
                    <a:lnTo>
                      <a:pt x="0" y="13496"/>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222" name="Polygon form 187"/>
              <p:cNvSpPr/>
              <p:nvPr/>
            </p:nvSpPr>
            <p:spPr>
              <a:xfrm>
                <a:off x="4546617" y="3277965"/>
                <a:ext cx="32110" cy="14641"/>
              </a:xfrm>
              <a:custGeom>
                <a:avLst/>
                <a:gdLst/>
                <a:ahLst/>
                <a:cxnLst/>
                <a:rect l="0" t="0" r="0" b="0"/>
                <a:pathLst>
                  <a:path w="32110" h="14641">
                    <a:moveTo>
                      <a:pt x="31294" y="2521"/>
                    </a:moveTo>
                    <a:lnTo>
                      <a:pt x="32110" y="4461"/>
                    </a:lnTo>
                    <a:lnTo>
                      <a:pt x="14710" y="14641"/>
                    </a:lnTo>
                    <a:lnTo>
                      <a:pt x="5424" y="11650"/>
                    </a:lnTo>
                    <a:lnTo>
                      <a:pt x="0" y="1993"/>
                    </a:lnTo>
                    <a:lnTo>
                      <a:pt x="8512" y="950"/>
                    </a:lnTo>
                    <a:lnTo>
                      <a:pt x="12076" y="2155"/>
                    </a:lnTo>
                    <a:lnTo>
                      <a:pt x="16742" y="0"/>
                    </a:lnTo>
                    <a:lnTo>
                      <a:pt x="20272" y="190"/>
                    </a:lnTo>
                    <a:lnTo>
                      <a:pt x="21767" y="1652"/>
                    </a:lnTo>
                    <a:lnTo>
                      <a:pt x="22437" y="4095"/>
                    </a:lnTo>
                    <a:lnTo>
                      <a:pt x="23225" y="3149"/>
                    </a:lnTo>
                    <a:lnTo>
                      <a:pt x="26006" y="3605"/>
                    </a:lnTo>
                    <a:lnTo>
                      <a:pt x="29240" y="1706"/>
                    </a:lnTo>
                    <a:lnTo>
                      <a:pt x="31294" y="2521"/>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223" name="Polygon form 188"/>
              <p:cNvSpPr/>
              <p:nvPr/>
            </p:nvSpPr>
            <p:spPr>
              <a:xfrm>
                <a:off x="2657061" y="4673154"/>
                <a:ext cx="293829" cy="750080"/>
              </a:xfrm>
              <a:custGeom>
                <a:avLst/>
                <a:gdLst/>
                <a:ahLst/>
                <a:cxnLst/>
                <a:rect l="0" t="0" r="0" b="0"/>
                <a:pathLst>
                  <a:path w="293829" h="750080">
                    <a:moveTo>
                      <a:pt x="61572" y="5425"/>
                    </a:moveTo>
                    <a:lnTo>
                      <a:pt x="75490" y="22996"/>
                    </a:lnTo>
                    <a:lnTo>
                      <a:pt x="79912" y="2957"/>
                    </a:lnTo>
                    <a:lnTo>
                      <a:pt x="101804" y="3477"/>
                    </a:lnTo>
                    <a:lnTo>
                      <a:pt x="105652" y="8686"/>
                    </a:lnTo>
                    <a:lnTo>
                      <a:pt x="146623" y="48079"/>
                    </a:lnTo>
                    <a:lnTo>
                      <a:pt x="162688" y="51456"/>
                    </a:lnTo>
                    <a:lnTo>
                      <a:pt x="188587" y="69076"/>
                    </a:lnTo>
                    <a:lnTo>
                      <a:pt x="209514" y="78220"/>
                    </a:lnTo>
                    <a:lnTo>
                      <a:pt x="213898" y="88994"/>
                    </a:lnTo>
                    <a:lnTo>
                      <a:pt x="201458" y="126783"/>
                    </a:lnTo>
                    <a:lnTo>
                      <a:pt x="221461" y="132981"/>
                    </a:lnTo>
                    <a:lnTo>
                      <a:pt x="243096" y="136193"/>
                    </a:lnTo>
                    <a:lnTo>
                      <a:pt x="257252" y="131886"/>
                    </a:lnTo>
                    <a:lnTo>
                      <a:pt x="271293" y="112701"/>
                    </a:lnTo>
                    <a:lnTo>
                      <a:pt x="271096" y="91001"/>
                    </a:lnTo>
                    <a:lnTo>
                      <a:pt x="279741" y="86095"/>
                    </a:lnTo>
                    <a:lnTo>
                      <a:pt x="291270" y="100025"/>
                    </a:lnTo>
                    <a:lnTo>
                      <a:pt x="293829" y="119593"/>
                    </a:lnTo>
                    <a:lnTo>
                      <a:pt x="280152" y="133468"/>
                    </a:lnTo>
                    <a:lnTo>
                      <a:pt x="269198" y="143750"/>
                    </a:lnTo>
                    <a:lnTo>
                      <a:pt x="252150" y="168077"/>
                    </a:lnTo>
                    <a:lnTo>
                      <a:pt x="233399" y="202174"/>
                    </a:lnTo>
                    <a:lnTo>
                      <a:pt x="232498" y="221924"/>
                    </a:lnTo>
                    <a:lnTo>
                      <a:pt x="232524" y="247264"/>
                    </a:lnTo>
                    <a:lnTo>
                      <a:pt x="237668" y="271664"/>
                    </a:lnTo>
                    <a:lnTo>
                      <a:pt x="234847" y="277240"/>
                    </a:lnTo>
                    <a:lnTo>
                      <a:pt x="236786" y="293115"/>
                    </a:lnTo>
                    <a:lnTo>
                      <a:pt x="238305" y="305938"/>
                    </a:lnTo>
                    <a:lnTo>
                      <a:pt x="265819" y="326163"/>
                    </a:lnTo>
                    <a:lnTo>
                      <a:pt x="267096" y="343104"/>
                    </a:lnTo>
                    <a:lnTo>
                      <a:pt x="280695" y="353390"/>
                    </a:lnTo>
                    <a:lnTo>
                      <a:pt x="282488" y="365358"/>
                    </a:lnTo>
                    <a:lnTo>
                      <a:pt x="272737" y="397274"/>
                    </a:lnTo>
                    <a:lnTo>
                      <a:pt x="249730" y="411316"/>
                    </a:lnTo>
                    <a:lnTo>
                      <a:pt x="215655" y="417719"/>
                    </a:lnTo>
                    <a:lnTo>
                      <a:pt x="195644" y="415995"/>
                    </a:lnTo>
                    <a:lnTo>
                      <a:pt x="203249" y="430445"/>
                    </a:lnTo>
                    <a:lnTo>
                      <a:pt x="204658" y="448894"/>
                    </a:lnTo>
                    <a:lnTo>
                      <a:pt x="211304" y="461095"/>
                    </a:lnTo>
                    <a:lnTo>
                      <a:pt x="203297" y="470118"/>
                    </a:lnTo>
                    <a:lnTo>
                      <a:pt x="186480" y="474226"/>
                    </a:lnTo>
                    <a:lnTo>
                      <a:pt x="167183" y="466019"/>
                    </a:lnTo>
                    <a:lnTo>
                      <a:pt x="162366" y="472704"/>
                    </a:lnTo>
                    <a:lnTo>
                      <a:pt x="172075" y="496905"/>
                    </a:lnTo>
                    <a:lnTo>
                      <a:pt x="185932" y="503761"/>
                    </a:lnTo>
                    <a:lnTo>
                      <a:pt x="193044" y="495652"/>
                    </a:lnTo>
                    <a:lnTo>
                      <a:pt x="201972" y="508125"/>
                    </a:lnTo>
                    <a:lnTo>
                      <a:pt x="188480" y="516389"/>
                    </a:lnTo>
                    <a:lnTo>
                      <a:pt x="179500" y="532184"/>
                    </a:lnTo>
                    <a:lnTo>
                      <a:pt x="184908" y="556858"/>
                    </a:lnTo>
                    <a:lnTo>
                      <a:pt x="185221" y="570106"/>
                    </a:lnTo>
                    <a:lnTo>
                      <a:pt x="169329" y="570920"/>
                    </a:lnTo>
                    <a:lnTo>
                      <a:pt x="160431" y="584048"/>
                    </a:lnTo>
                    <a:lnTo>
                      <a:pt x="162046" y="602571"/>
                    </a:lnTo>
                    <a:lnTo>
                      <a:pt x="184727" y="619615"/>
                    </a:lnTo>
                    <a:lnTo>
                      <a:pt x="202307" y="623770"/>
                    </a:lnTo>
                    <a:lnTo>
                      <a:pt x="204436" y="645883"/>
                    </a:lnTo>
                    <a:lnTo>
                      <a:pt x="190144" y="660572"/>
                    </a:lnTo>
                    <a:lnTo>
                      <a:pt x="190466" y="689615"/>
                    </a:lnTo>
                    <a:lnTo>
                      <a:pt x="179528" y="699975"/>
                    </a:lnTo>
                    <a:lnTo>
                      <a:pt x="177523" y="711700"/>
                    </a:lnTo>
                    <a:lnTo>
                      <a:pt x="192999" y="736621"/>
                    </a:lnTo>
                    <a:lnTo>
                      <a:pt x="209349" y="750080"/>
                    </a:lnTo>
                    <a:lnTo>
                      <a:pt x="202186" y="749218"/>
                    </a:lnTo>
                    <a:lnTo>
                      <a:pt x="185958" y="746225"/>
                    </a:lnTo>
                    <a:lnTo>
                      <a:pt x="146413" y="745135"/>
                    </a:lnTo>
                    <a:lnTo>
                      <a:pt x="133710" y="731367"/>
                    </a:lnTo>
                    <a:lnTo>
                      <a:pt x="126227" y="713164"/>
                    </a:lnTo>
                    <a:lnTo>
                      <a:pt x="116261" y="715337"/>
                    </a:lnTo>
                    <a:lnTo>
                      <a:pt x="106853" y="706848"/>
                    </a:lnTo>
                    <a:lnTo>
                      <a:pt x="94554" y="681137"/>
                    </a:lnTo>
                    <a:lnTo>
                      <a:pt x="102570" y="669731"/>
                    </a:lnTo>
                    <a:lnTo>
                      <a:pt x="101495" y="653993"/>
                    </a:lnTo>
                    <a:lnTo>
                      <a:pt x="94692" y="641772"/>
                    </a:lnTo>
                    <a:lnTo>
                      <a:pt x="95310" y="620478"/>
                    </a:lnTo>
                    <a:lnTo>
                      <a:pt x="89212" y="587828"/>
                    </a:lnTo>
                    <a:lnTo>
                      <a:pt x="82155" y="573573"/>
                    </a:lnTo>
                    <a:lnTo>
                      <a:pt x="87818" y="568567"/>
                    </a:lnTo>
                    <a:lnTo>
                      <a:pt x="82712" y="559445"/>
                    </a:lnTo>
                    <a:lnTo>
                      <a:pt x="73130" y="554941"/>
                    </a:lnTo>
                    <a:lnTo>
                      <a:pt x="75067" y="544392"/>
                    </a:lnTo>
                    <a:lnTo>
                      <a:pt x="64147" y="535495"/>
                    </a:lnTo>
                    <a:lnTo>
                      <a:pt x="50390" y="507423"/>
                    </a:lnTo>
                    <a:lnTo>
                      <a:pt x="55598" y="502096"/>
                    </a:lnTo>
                    <a:lnTo>
                      <a:pt x="42764" y="472327"/>
                    </a:lnTo>
                    <a:lnTo>
                      <a:pt x="38767" y="446983"/>
                    </a:lnTo>
                    <a:lnTo>
                      <a:pt x="36613" y="424844"/>
                    </a:lnTo>
                    <a:lnTo>
                      <a:pt x="44423" y="415448"/>
                    </a:lnTo>
                    <a:lnTo>
                      <a:pt x="31921" y="391676"/>
                    </a:lnTo>
                    <a:lnTo>
                      <a:pt x="25313" y="369065"/>
                    </a:lnTo>
                    <a:lnTo>
                      <a:pt x="34293" y="352418"/>
                    </a:lnTo>
                    <a:lnTo>
                      <a:pt x="28250" y="331857"/>
                    </a:lnTo>
                    <a:lnTo>
                      <a:pt x="32163" y="307393"/>
                    </a:lnTo>
                    <a:lnTo>
                      <a:pt x="26414" y="284718"/>
                    </a:lnTo>
                    <a:lnTo>
                      <a:pt x="20566" y="280392"/>
                    </a:lnTo>
                    <a:lnTo>
                      <a:pt x="1724" y="238095"/>
                    </a:lnTo>
                    <a:lnTo>
                      <a:pt x="7114" y="212277"/>
                    </a:lnTo>
                    <a:lnTo>
                      <a:pt x="0" y="188404"/>
                    </a:lnTo>
                    <a:lnTo>
                      <a:pt x="1767" y="165713"/>
                    </a:lnTo>
                    <a:lnTo>
                      <a:pt x="9151" y="142128"/>
                    </a:lnTo>
                    <a:lnTo>
                      <a:pt x="19275" y="126344"/>
                    </a:lnTo>
                    <a:lnTo>
                      <a:pt x="11782" y="116811"/>
                    </a:lnTo>
                    <a:lnTo>
                      <a:pt x="14169" y="108733"/>
                    </a:lnTo>
                    <a:lnTo>
                      <a:pt x="5981" y="67520"/>
                    </a:lnTo>
                    <a:lnTo>
                      <a:pt x="24443" y="54753"/>
                    </a:lnTo>
                    <a:lnTo>
                      <a:pt x="26661" y="28882"/>
                    </a:lnTo>
                    <a:lnTo>
                      <a:pt x="23351" y="22746"/>
                    </a:lnTo>
                    <a:lnTo>
                      <a:pt x="35714" y="0"/>
                    </a:lnTo>
                    <a:lnTo>
                      <a:pt x="61572" y="5425"/>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224" name="Polygon form 189"/>
              <p:cNvSpPr/>
              <p:nvPr/>
            </p:nvSpPr>
            <p:spPr>
              <a:xfrm>
                <a:off x="2861688" y="5430589"/>
                <a:ext cx="76852" cy="61345"/>
              </a:xfrm>
              <a:custGeom>
                <a:avLst/>
                <a:gdLst/>
                <a:ahLst/>
                <a:cxnLst/>
                <a:rect l="0" t="0" r="0" b="0"/>
                <a:pathLst>
                  <a:path w="76852" h="61345">
                    <a:moveTo>
                      <a:pt x="75025" y="59350"/>
                    </a:moveTo>
                    <a:lnTo>
                      <a:pt x="60961" y="61345"/>
                    </a:lnTo>
                    <a:lnTo>
                      <a:pt x="49428" y="53245"/>
                    </a:lnTo>
                    <a:lnTo>
                      <a:pt x="39873" y="53108"/>
                    </a:lnTo>
                    <a:lnTo>
                      <a:pt x="23396" y="54016"/>
                    </a:lnTo>
                    <a:lnTo>
                      <a:pt x="0" y="0"/>
                    </a:lnTo>
                    <a:lnTo>
                      <a:pt x="10773" y="10896"/>
                    </a:lnTo>
                    <a:lnTo>
                      <a:pt x="26305" y="28615"/>
                    </a:lnTo>
                    <a:lnTo>
                      <a:pt x="52660" y="42022"/>
                    </a:lnTo>
                    <a:lnTo>
                      <a:pt x="76852" y="46905"/>
                    </a:lnTo>
                    <a:lnTo>
                      <a:pt x="75025" y="59350"/>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225" name="Polygon form 190"/>
              <p:cNvSpPr/>
              <p:nvPr/>
            </p:nvSpPr>
            <p:spPr>
              <a:xfrm>
                <a:off x="4161868" y="2897450"/>
                <a:ext cx="110803" cy="61821"/>
              </a:xfrm>
              <a:custGeom>
                <a:avLst/>
                <a:gdLst/>
                <a:ahLst/>
                <a:cxnLst/>
                <a:rect l="0" t="0" r="0" b="0"/>
                <a:pathLst>
                  <a:path w="110803" h="61821">
                    <a:moveTo>
                      <a:pt x="81502" y="60334"/>
                    </a:moveTo>
                    <a:lnTo>
                      <a:pt x="73400" y="55867"/>
                    </a:lnTo>
                    <a:lnTo>
                      <a:pt x="65689" y="57210"/>
                    </a:lnTo>
                    <a:lnTo>
                      <a:pt x="52135" y="49987"/>
                    </a:lnTo>
                    <a:lnTo>
                      <a:pt x="46433" y="51852"/>
                    </a:lnTo>
                    <a:lnTo>
                      <a:pt x="37851" y="61821"/>
                    </a:lnTo>
                    <a:lnTo>
                      <a:pt x="24872" y="54176"/>
                    </a:lnTo>
                    <a:lnTo>
                      <a:pt x="14724" y="43890"/>
                    </a:lnTo>
                    <a:lnTo>
                      <a:pt x="5851" y="38167"/>
                    </a:lnTo>
                    <a:lnTo>
                      <a:pt x="3388" y="28006"/>
                    </a:lnTo>
                    <a:lnTo>
                      <a:pt x="0" y="20860"/>
                    </a:lnTo>
                    <a:lnTo>
                      <a:pt x="11575" y="15497"/>
                    </a:lnTo>
                    <a:lnTo>
                      <a:pt x="17215" y="9427"/>
                    </a:lnTo>
                    <a:lnTo>
                      <a:pt x="28610" y="4636"/>
                    </a:lnTo>
                    <a:lnTo>
                      <a:pt x="32333" y="0"/>
                    </a:lnTo>
                    <a:lnTo>
                      <a:pt x="36877" y="2728"/>
                    </a:lnTo>
                    <a:lnTo>
                      <a:pt x="43956" y="131"/>
                    </a:lnTo>
                    <a:lnTo>
                      <a:pt x="52398" y="7814"/>
                    </a:lnTo>
                    <a:lnTo>
                      <a:pt x="64844" y="9773"/>
                    </a:lnTo>
                    <a:lnTo>
                      <a:pt x="64438" y="16425"/>
                    </a:lnTo>
                    <a:lnTo>
                      <a:pt x="73841" y="21311"/>
                    </a:lnTo>
                    <a:lnTo>
                      <a:pt x="75698" y="15049"/>
                    </a:lnTo>
                    <a:lnTo>
                      <a:pt x="87232" y="17607"/>
                    </a:lnTo>
                    <a:lnTo>
                      <a:pt x="89551" y="25145"/>
                    </a:lnTo>
                    <a:lnTo>
                      <a:pt x="101955" y="26444"/>
                    </a:lnTo>
                    <a:lnTo>
                      <a:pt x="110803" y="38228"/>
                    </a:lnTo>
                    <a:lnTo>
                      <a:pt x="105870" y="38323"/>
                    </a:lnTo>
                    <a:lnTo>
                      <a:pt x="103751" y="42703"/>
                    </a:lnTo>
                    <a:lnTo>
                      <a:pt x="100052" y="43802"/>
                    </a:lnTo>
                    <a:lnTo>
                      <a:pt x="99517" y="49308"/>
                    </a:lnTo>
                    <a:lnTo>
                      <a:pt x="96449" y="50495"/>
                    </a:lnTo>
                    <a:lnTo>
                      <a:pt x="96222" y="52746"/>
                    </a:lnTo>
                    <a:lnTo>
                      <a:pt x="90782" y="55315"/>
                    </a:lnTo>
                    <a:lnTo>
                      <a:pt x="83367" y="54996"/>
                    </a:lnTo>
                    <a:lnTo>
                      <a:pt x="81502" y="60334"/>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26" name="Polyline form 191"/>
              <p:cNvSpPr/>
              <p:nvPr/>
            </p:nvSpPr>
            <p:spPr>
              <a:xfrm>
                <a:off x="4057588" y="2804815"/>
                <a:ext cx="148237" cy="185258"/>
              </a:xfrm>
              <a:custGeom>
                <a:avLst/>
                <a:gdLst/>
                <a:ahLst/>
                <a:cxnLst/>
                <a:rect l="0" t="0" r="0" b="0"/>
                <a:pathLst>
                  <a:path w="148237" h="185258">
                    <a:moveTo>
                      <a:pt x="59301" y="0"/>
                    </a:moveTo>
                    <a:lnTo>
                      <a:pt x="60168" y="9321"/>
                    </a:lnTo>
                    <a:lnTo>
                      <a:pt x="76562" y="14816"/>
                    </a:lnTo>
                    <a:lnTo>
                      <a:pt x="76979" y="23380"/>
                    </a:lnTo>
                    <a:lnTo>
                      <a:pt x="92834" y="18709"/>
                    </a:lnTo>
                    <a:lnTo>
                      <a:pt x="101251" y="12018"/>
                    </a:lnTo>
                    <a:lnTo>
                      <a:pt x="119965" y="21366"/>
                    </a:lnTo>
                    <a:lnTo>
                      <a:pt x="128153" y="28971"/>
                    </a:lnTo>
                    <a:lnTo>
                      <a:pt x="132966" y="41209"/>
                    </a:lnTo>
                    <a:lnTo>
                      <a:pt x="129049" y="47697"/>
                    </a:lnTo>
                    <a:lnTo>
                      <a:pt x="135637" y="56234"/>
                    </a:lnTo>
                    <a:lnTo>
                      <a:pt x="140762" y="69098"/>
                    </a:lnTo>
                    <a:lnTo>
                      <a:pt x="140220" y="77431"/>
                    </a:lnTo>
                    <a:lnTo>
                      <a:pt x="148237" y="92767"/>
                    </a:lnTo>
                    <a:lnTo>
                      <a:pt x="141157" y="95363"/>
                    </a:lnTo>
                    <a:lnTo>
                      <a:pt x="136614" y="92635"/>
                    </a:lnTo>
                    <a:lnTo>
                      <a:pt x="132890" y="97271"/>
                    </a:lnTo>
                    <a:lnTo>
                      <a:pt x="121496" y="102062"/>
                    </a:lnTo>
                    <a:lnTo>
                      <a:pt x="115855" y="108132"/>
                    </a:lnTo>
                    <a:lnTo>
                      <a:pt x="104281" y="113495"/>
                    </a:lnTo>
                    <a:lnTo>
                      <a:pt x="107668" y="120642"/>
                    </a:lnTo>
                    <a:lnTo>
                      <a:pt x="110132" y="130802"/>
                    </a:lnTo>
                    <a:lnTo>
                      <a:pt x="119004" y="136525"/>
                    </a:lnTo>
                    <a:lnTo>
                      <a:pt x="129153" y="146811"/>
                    </a:lnTo>
                    <a:lnTo>
                      <a:pt x="124089" y="157993"/>
                    </a:lnTo>
                    <a:lnTo>
                      <a:pt x="118300" y="161112"/>
                    </a:lnTo>
                    <a:lnTo>
                      <a:pt x="121773" y="176814"/>
                    </a:lnTo>
                    <a:lnTo>
                      <a:pt x="120488" y="180930"/>
                    </a:lnTo>
                    <a:lnTo>
                      <a:pt x="114905" y="176035"/>
                    </a:lnTo>
                    <a:lnTo>
                      <a:pt x="106799" y="175363"/>
                    </a:lnTo>
                    <a:lnTo>
                      <a:pt x="95047" y="179788"/>
                    </a:lnTo>
                    <a:lnTo>
                      <a:pt x="80146" y="178872"/>
                    </a:lnTo>
                    <a:lnTo>
                      <a:pt x="78101" y="185258"/>
                    </a:lnTo>
                    <a:lnTo>
                      <a:pt x="69218" y="178616"/>
                    </a:lnTo>
                    <a:lnTo>
                      <a:pt x="64207" y="179981"/>
                    </a:lnTo>
                    <a:lnTo>
                      <a:pt x="45833" y="172716"/>
                    </a:lnTo>
                    <a:lnTo>
                      <a:pt x="42618" y="177978"/>
                    </a:lnTo>
                    <a:lnTo>
                      <a:pt x="28303" y="177887"/>
                    </a:lnTo>
                    <a:lnTo>
                      <a:pt x="29736" y="160686"/>
                    </a:lnTo>
                    <a:lnTo>
                      <a:pt x="37462" y="144119"/>
                    </a:lnTo>
                    <a:lnTo>
                      <a:pt x="13319" y="139800"/>
                    </a:lnTo>
                    <a:lnTo>
                      <a:pt x="5260" y="133518"/>
                    </a:lnTo>
                    <a:lnTo>
                      <a:pt x="5826" y="122937"/>
                    </a:lnTo>
                    <a:lnTo>
                      <a:pt x="2340" y="117503"/>
                    </a:lnTo>
                    <a:lnTo>
                      <a:pt x="3639" y="101194"/>
                    </a:lnTo>
                    <a:lnTo>
                      <a:pt x="0" y="75925"/>
                    </a:lnTo>
                    <a:lnTo>
                      <a:pt x="9762" y="75870"/>
                    </a:lnTo>
                    <a:lnTo>
                      <a:pt x="13511" y="66769"/>
                    </a:lnTo>
                    <a:lnTo>
                      <a:pt x="16601" y="44658"/>
                    </a:lnTo>
                    <a:lnTo>
                      <a:pt x="13254" y="36517"/>
                    </a:lnTo>
                    <a:lnTo>
                      <a:pt x="16157" y="31392"/>
                    </a:lnTo>
                    <a:lnTo>
                      <a:pt x="29448" y="30004"/>
                    </a:lnTo>
                    <a:lnTo>
                      <a:pt x="32677" y="35306"/>
                    </a:lnTo>
                    <a:lnTo>
                      <a:pt x="42895" y="23343"/>
                    </a:lnTo>
                    <a:lnTo>
                      <a:pt x="38768" y="14323"/>
                    </a:lnTo>
                    <a:lnTo>
                      <a:pt x="37302" y="647"/>
                    </a:lnTo>
                    <a:lnTo>
                      <a:pt x="49421" y="3747"/>
                    </a:lnTo>
                    <a:lnTo>
                      <a:pt x="59301" y="0"/>
                    </a:lnTo>
                    <a:lnTo>
                      <a:pt x="59301" y="0"/>
                    </a:lnTo>
                  </a:path>
                </a:pathLst>
              </a:custGeom>
              <a:ln w="5400">
                <a:solidFill>
                  <a:srgbClr val="7F7F7F">
                    <a:alpha val="100000"/>
                  </a:srgbClr>
                </a:solidFill>
                <a:prstDash val="solid"/>
                <a:round/>
              </a:ln>
            </p:spPr>
            <p:txBody>
              <a:bodyPr/>
              <a:lstStyle/>
              <a:p/>
            </p:txBody>
          </p:sp>
          <p:sp>
            <p:nvSpPr>
              <p:cNvPr id="227" name="Polygon form 192"/>
              <p:cNvSpPr/>
              <p:nvPr/>
            </p:nvSpPr>
            <p:spPr>
              <a:xfrm>
                <a:off x="4775663" y="3821847"/>
                <a:ext cx="31411" cy="43305"/>
              </a:xfrm>
              <a:custGeom>
                <a:avLst/>
                <a:gdLst/>
                <a:ahLst/>
                <a:cxnLst/>
                <a:rect l="0" t="0" r="0" b="0"/>
                <a:pathLst>
                  <a:path w="31411" h="43305">
                    <a:moveTo>
                      <a:pt x="26367" y="0"/>
                    </a:moveTo>
                    <a:lnTo>
                      <a:pt x="31411" y="7512"/>
                    </a:lnTo>
                    <a:lnTo>
                      <a:pt x="31346" y="17651"/>
                    </a:lnTo>
                    <a:lnTo>
                      <a:pt x="20494" y="23581"/>
                    </a:lnTo>
                    <a:lnTo>
                      <a:pt x="29238" y="30191"/>
                    </a:lnTo>
                    <a:lnTo>
                      <a:pt x="22670" y="43305"/>
                    </a:lnTo>
                    <a:lnTo>
                      <a:pt x="18114" y="38989"/>
                    </a:lnTo>
                    <a:lnTo>
                      <a:pt x="13482" y="40755"/>
                    </a:lnTo>
                    <a:lnTo>
                      <a:pt x="2524" y="40428"/>
                    </a:lnTo>
                    <a:lnTo>
                      <a:pt x="1855" y="33012"/>
                    </a:lnTo>
                    <a:lnTo>
                      <a:pt x="0" y="26291"/>
                    </a:lnTo>
                    <a:lnTo>
                      <a:pt x="6032" y="14806"/>
                    </a:lnTo>
                    <a:lnTo>
                      <a:pt x="12326" y="3963"/>
                    </a:lnTo>
                    <a:lnTo>
                      <a:pt x="20806" y="6010"/>
                    </a:lnTo>
                    <a:lnTo>
                      <a:pt x="26367" y="0"/>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228" name="Polygon form 193"/>
              <p:cNvSpPr/>
              <p:nvPr/>
            </p:nvSpPr>
            <p:spPr>
              <a:xfrm>
                <a:off x="4086006" y="2738466"/>
                <a:ext cx="43991" cy="70096"/>
              </a:xfrm>
              <a:custGeom>
                <a:avLst/>
                <a:gdLst/>
                <a:ahLst/>
                <a:cxnLst/>
                <a:rect l="0" t="0" r="0" b="0"/>
                <a:pathLst>
                  <a:path w="43991" h="70096">
                    <a:moveTo>
                      <a:pt x="43991" y="30628"/>
                    </a:moveTo>
                    <a:lnTo>
                      <a:pt x="40829" y="39760"/>
                    </a:lnTo>
                    <a:lnTo>
                      <a:pt x="36003" y="37178"/>
                    </a:lnTo>
                    <a:lnTo>
                      <a:pt x="25866" y="54635"/>
                    </a:lnTo>
                    <a:lnTo>
                      <a:pt x="30883" y="66349"/>
                    </a:lnTo>
                    <a:lnTo>
                      <a:pt x="21003" y="70096"/>
                    </a:lnTo>
                    <a:lnTo>
                      <a:pt x="8884" y="66996"/>
                    </a:lnTo>
                    <a:lnTo>
                      <a:pt x="1779" y="53648"/>
                    </a:lnTo>
                    <a:lnTo>
                      <a:pt x="0" y="28989"/>
                    </a:lnTo>
                    <a:lnTo>
                      <a:pt x="2233" y="22460"/>
                    </a:lnTo>
                    <a:lnTo>
                      <a:pt x="6265" y="15193"/>
                    </a:lnTo>
                    <a:lnTo>
                      <a:pt x="19780" y="13600"/>
                    </a:lnTo>
                    <a:lnTo>
                      <a:pt x="24761" y="6904"/>
                    </a:lnTo>
                    <a:lnTo>
                      <a:pt x="36654" y="0"/>
                    </a:lnTo>
                    <a:lnTo>
                      <a:pt x="37017" y="12411"/>
                    </a:lnTo>
                    <a:lnTo>
                      <a:pt x="32988" y="20305"/>
                    </a:lnTo>
                    <a:lnTo>
                      <a:pt x="35311" y="27046"/>
                    </a:lnTo>
                    <a:lnTo>
                      <a:pt x="43991" y="30628"/>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29" name="Polygon form 194"/>
              <p:cNvSpPr/>
              <p:nvPr/>
            </p:nvSpPr>
            <p:spPr>
              <a:xfrm>
                <a:off x="4131036" y="2777264"/>
                <a:ext cx="28295" cy="31679"/>
              </a:xfrm>
              <a:custGeom>
                <a:avLst/>
                <a:gdLst/>
                <a:ahLst/>
                <a:cxnLst/>
                <a:rect l="0" t="0" r="0" b="0"/>
                <a:pathLst>
                  <a:path w="28295" h="31679">
                    <a:moveTo>
                      <a:pt x="28295" y="12048"/>
                    </a:moveTo>
                    <a:lnTo>
                      <a:pt x="20402" y="31679"/>
                    </a:lnTo>
                    <a:lnTo>
                      <a:pt x="2901" y="18199"/>
                    </a:lnTo>
                    <a:lnTo>
                      <a:pt x="0" y="8203"/>
                    </a:lnTo>
                    <a:lnTo>
                      <a:pt x="22319" y="0"/>
                    </a:lnTo>
                    <a:lnTo>
                      <a:pt x="28295" y="12048"/>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30" name="Polygon form 195"/>
              <p:cNvSpPr/>
              <p:nvPr/>
            </p:nvSpPr>
            <p:spPr>
              <a:xfrm>
                <a:off x="2572403" y="3636360"/>
                <a:ext cx="69791" cy="56934"/>
              </a:xfrm>
              <a:custGeom>
                <a:avLst/>
                <a:gdLst/>
                <a:ahLst/>
                <a:cxnLst/>
                <a:rect l="0" t="0" r="0" b="0"/>
                <a:pathLst>
                  <a:path w="69791" h="56934">
                    <a:moveTo>
                      <a:pt x="8424" y="4180"/>
                    </a:moveTo>
                    <a:lnTo>
                      <a:pt x="11455" y="0"/>
                    </a:lnTo>
                    <a:lnTo>
                      <a:pt x="26405" y="472"/>
                    </a:lnTo>
                    <a:lnTo>
                      <a:pt x="36830" y="7131"/>
                    </a:lnTo>
                    <a:lnTo>
                      <a:pt x="41978" y="6624"/>
                    </a:lnTo>
                    <a:lnTo>
                      <a:pt x="44205" y="15510"/>
                    </a:lnTo>
                    <a:lnTo>
                      <a:pt x="54785" y="15252"/>
                    </a:lnTo>
                    <a:lnTo>
                      <a:pt x="53135" y="22633"/>
                    </a:lnTo>
                    <a:lnTo>
                      <a:pt x="61566" y="23718"/>
                    </a:lnTo>
                    <a:lnTo>
                      <a:pt x="69791" y="33022"/>
                    </a:lnTo>
                    <a:lnTo>
                      <a:pt x="61303" y="42968"/>
                    </a:lnTo>
                    <a:lnTo>
                      <a:pt x="52855" y="37377"/>
                    </a:lnTo>
                    <a:lnTo>
                      <a:pt x="43876" y="38228"/>
                    </a:lnTo>
                    <a:lnTo>
                      <a:pt x="37700" y="36910"/>
                    </a:lnTo>
                    <a:lnTo>
                      <a:pt x="33617" y="41365"/>
                    </a:lnTo>
                    <a:lnTo>
                      <a:pt x="26015" y="42737"/>
                    </a:lnTo>
                    <a:lnTo>
                      <a:pt x="23902" y="36644"/>
                    </a:lnTo>
                    <a:lnTo>
                      <a:pt x="17047" y="40073"/>
                    </a:lnTo>
                    <a:lnTo>
                      <a:pt x="7047" y="56934"/>
                    </a:lnTo>
                    <a:lnTo>
                      <a:pt x="2606" y="52873"/>
                    </a:lnTo>
                    <a:lnTo>
                      <a:pt x="2592" y="45701"/>
                    </a:lnTo>
                    <a:lnTo>
                      <a:pt x="3914" y="38952"/>
                    </a:lnTo>
                    <a:lnTo>
                      <a:pt x="0" y="31372"/>
                    </a:lnTo>
                    <a:lnTo>
                      <a:pt x="5282" y="27287"/>
                    </a:lnTo>
                    <a:lnTo>
                      <a:pt x="8118" y="17761"/>
                    </a:lnTo>
                    <a:lnTo>
                      <a:pt x="8424" y="4180"/>
                    </a:lnTo>
                    <a:close/>
                  </a:path>
                </a:pathLst>
              </a:custGeom>
              <a:solidFill>
                <a:srgbClr val="74C476">
                  <a:alpha val="100000"/>
                </a:srgbClr>
              </a:solidFill>
              <a:ln w="5400">
                <a:solidFill>
                  <a:srgbClr val="7F7F7F">
                    <a:alpha val="100000"/>
                  </a:srgbClr>
                </a:solidFill>
                <a:prstDash val="solid"/>
                <a:round/>
              </a:ln>
            </p:spPr>
            <p:txBody>
              <a:bodyPr/>
              <a:lstStyle/>
              <a:p/>
            </p:txBody>
          </p:sp>
          <p:sp>
            <p:nvSpPr>
              <p:cNvPr id="231" name="Polygon form 196"/>
              <p:cNvSpPr/>
              <p:nvPr/>
            </p:nvSpPr>
            <p:spPr>
              <a:xfrm>
                <a:off x="3796933" y="3236113"/>
                <a:ext cx="392010" cy="435949"/>
              </a:xfrm>
              <a:custGeom>
                <a:avLst/>
                <a:gdLst/>
                <a:ahLst/>
                <a:cxnLst/>
                <a:rect l="0" t="0" r="0" b="0"/>
                <a:pathLst>
                  <a:path w="392010" h="435949">
                    <a:moveTo>
                      <a:pt x="392010" y="328991"/>
                    </a:moveTo>
                    <a:lnTo>
                      <a:pt x="327631" y="375233"/>
                    </a:lnTo>
                    <a:lnTo>
                      <a:pt x="272714" y="422764"/>
                    </a:lnTo>
                    <a:lnTo>
                      <a:pt x="245637" y="433564"/>
                    </a:lnTo>
                    <a:lnTo>
                      <a:pt x="224256" y="435949"/>
                    </a:lnTo>
                    <a:lnTo>
                      <a:pt x="223938" y="420600"/>
                    </a:lnTo>
                    <a:lnTo>
                      <a:pt x="214997" y="416684"/>
                    </a:lnTo>
                    <a:lnTo>
                      <a:pt x="202980" y="409793"/>
                    </a:lnTo>
                    <a:lnTo>
                      <a:pt x="198362" y="398491"/>
                    </a:lnTo>
                    <a:lnTo>
                      <a:pt x="133723" y="345858"/>
                    </a:lnTo>
                    <a:lnTo>
                      <a:pt x="69945" y="293141"/>
                    </a:lnTo>
                    <a:lnTo>
                      <a:pt x="0" y="234524"/>
                    </a:lnTo>
                    <a:lnTo>
                      <a:pt x="479" y="229849"/>
                    </a:lnTo>
                    <a:lnTo>
                      <a:pt x="511" y="228234"/>
                    </a:lnTo>
                    <a:lnTo>
                      <a:pt x="1086" y="199638"/>
                    </a:lnTo>
                    <a:lnTo>
                      <a:pt x="31676" y="181936"/>
                    </a:lnTo>
                    <a:lnTo>
                      <a:pt x="50368" y="178312"/>
                    </a:lnTo>
                    <a:lnTo>
                      <a:pt x="65730" y="171867"/>
                    </a:lnTo>
                    <a:lnTo>
                      <a:pt x="73038" y="159802"/>
                    </a:lnTo>
                    <a:lnTo>
                      <a:pt x="94875" y="150297"/>
                    </a:lnTo>
                    <a:lnTo>
                      <a:pt x="95886" y="132437"/>
                    </a:lnTo>
                    <a:lnTo>
                      <a:pt x="106604" y="130351"/>
                    </a:lnTo>
                    <a:lnTo>
                      <a:pt x="115044" y="121439"/>
                    </a:lnTo>
                    <a:lnTo>
                      <a:pt x="139211" y="117396"/>
                    </a:lnTo>
                    <a:lnTo>
                      <a:pt x="142628" y="108023"/>
                    </a:lnTo>
                    <a:lnTo>
                      <a:pt x="137803" y="102894"/>
                    </a:lnTo>
                    <a:lnTo>
                      <a:pt x="131608" y="77420"/>
                    </a:lnTo>
                    <a:lnTo>
                      <a:pt x="130615" y="62747"/>
                    </a:lnTo>
                    <a:lnTo>
                      <a:pt x="123863" y="47288"/>
                    </a:lnTo>
                    <a:lnTo>
                      <a:pt x="141406" y="34121"/>
                    </a:lnTo>
                    <a:lnTo>
                      <a:pt x="161017" y="29935"/>
                    </a:lnTo>
                    <a:lnTo>
                      <a:pt x="172438" y="19980"/>
                    </a:lnTo>
                    <a:lnTo>
                      <a:pt x="189809" y="12628"/>
                    </a:lnTo>
                    <a:lnTo>
                      <a:pt x="220352" y="8288"/>
                    </a:lnTo>
                    <a:lnTo>
                      <a:pt x="250147" y="6265"/>
                    </a:lnTo>
                    <a:lnTo>
                      <a:pt x="259315" y="9823"/>
                    </a:lnTo>
                    <a:lnTo>
                      <a:pt x="276068" y="259"/>
                    </a:lnTo>
                    <a:lnTo>
                      <a:pt x="295300" y="0"/>
                    </a:lnTo>
                    <a:lnTo>
                      <a:pt x="302794" y="5584"/>
                    </a:lnTo>
                    <a:lnTo>
                      <a:pt x="315071" y="4063"/>
                    </a:lnTo>
                    <a:lnTo>
                      <a:pt x="311812" y="16465"/>
                    </a:lnTo>
                    <a:lnTo>
                      <a:pt x="315419" y="39457"/>
                    </a:lnTo>
                    <a:lnTo>
                      <a:pt x="311753" y="59377"/>
                    </a:lnTo>
                    <a:lnTo>
                      <a:pt x="300886" y="72882"/>
                    </a:lnTo>
                    <a:lnTo>
                      <a:pt x="302994" y="91052"/>
                    </a:lnTo>
                    <a:lnTo>
                      <a:pt x="318423" y="105369"/>
                    </a:lnTo>
                    <a:lnTo>
                      <a:pt x="318753" y="111210"/>
                    </a:lnTo>
                    <a:lnTo>
                      <a:pt x="330408" y="120901"/>
                    </a:lnTo>
                    <a:lnTo>
                      <a:pt x="339633" y="164190"/>
                    </a:lnTo>
                    <a:lnTo>
                      <a:pt x="346305" y="185473"/>
                    </a:lnTo>
                    <a:lnTo>
                      <a:pt x="347659" y="196683"/>
                    </a:lnTo>
                    <a:lnTo>
                      <a:pt x="344939" y="216388"/>
                    </a:lnTo>
                    <a:lnTo>
                      <a:pt x="346608" y="227386"/>
                    </a:lnTo>
                    <a:lnTo>
                      <a:pt x="344586" y="240605"/>
                    </a:lnTo>
                    <a:lnTo>
                      <a:pt x="346642" y="255774"/>
                    </a:lnTo>
                    <a:lnTo>
                      <a:pt x="339414" y="265889"/>
                    </a:lnTo>
                    <a:lnTo>
                      <a:pt x="351053" y="283438"/>
                    </a:lnTo>
                    <a:lnTo>
                      <a:pt x="352034" y="293778"/>
                    </a:lnTo>
                    <a:lnTo>
                      <a:pt x="359135" y="307212"/>
                    </a:lnTo>
                    <a:lnTo>
                      <a:pt x="367897" y="302755"/>
                    </a:lnTo>
                    <a:lnTo>
                      <a:pt x="383215" y="313908"/>
                    </a:lnTo>
                    <a:lnTo>
                      <a:pt x="392010" y="328991"/>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32" name="Polygon form 197"/>
              <p:cNvSpPr/>
              <p:nvPr/>
            </p:nvSpPr>
            <p:spPr>
              <a:xfrm>
                <a:off x="2362403" y="4097130"/>
                <a:ext cx="112741" cy="159371"/>
              </a:xfrm>
              <a:custGeom>
                <a:avLst/>
                <a:gdLst/>
                <a:ahLst/>
                <a:cxnLst/>
                <a:rect l="0" t="0" r="0" b="0"/>
                <a:pathLst>
                  <a:path w="112741" h="159371">
                    <a:moveTo>
                      <a:pt x="13816" y="120405"/>
                    </a:moveTo>
                    <a:lnTo>
                      <a:pt x="23841" y="101556"/>
                    </a:lnTo>
                    <a:lnTo>
                      <a:pt x="19350" y="90584"/>
                    </a:lnTo>
                    <a:lnTo>
                      <a:pt x="12048" y="102296"/>
                    </a:lnTo>
                    <a:lnTo>
                      <a:pt x="0" y="91303"/>
                    </a:lnTo>
                    <a:lnTo>
                      <a:pt x="3879" y="84191"/>
                    </a:lnTo>
                    <a:lnTo>
                      <a:pt x="255" y="61340"/>
                    </a:lnTo>
                    <a:lnTo>
                      <a:pt x="7139" y="57533"/>
                    </a:lnTo>
                    <a:lnTo>
                      <a:pt x="10694" y="41846"/>
                    </a:lnTo>
                    <a:lnTo>
                      <a:pt x="18169" y="25637"/>
                    </a:lnTo>
                    <a:lnTo>
                      <a:pt x="16841" y="15367"/>
                    </a:lnTo>
                    <a:lnTo>
                      <a:pt x="27695" y="9984"/>
                    </a:lnTo>
                    <a:lnTo>
                      <a:pt x="41363" y="0"/>
                    </a:lnTo>
                    <a:lnTo>
                      <a:pt x="60978" y="14372"/>
                    </a:lnTo>
                    <a:lnTo>
                      <a:pt x="64661" y="13975"/>
                    </a:lnTo>
                    <a:lnTo>
                      <a:pt x="69418" y="24775"/>
                    </a:lnTo>
                    <a:lnTo>
                      <a:pt x="86161" y="28263"/>
                    </a:lnTo>
                    <a:lnTo>
                      <a:pt x="91779" y="24277"/>
                    </a:lnTo>
                    <a:lnTo>
                      <a:pt x="101453" y="32580"/>
                    </a:lnTo>
                    <a:lnTo>
                      <a:pt x="109908" y="38511"/>
                    </a:lnTo>
                    <a:lnTo>
                      <a:pt x="112741" y="57523"/>
                    </a:lnTo>
                    <a:lnTo>
                      <a:pt x="106754" y="73814"/>
                    </a:lnTo>
                    <a:lnTo>
                      <a:pt x="85669" y="100109"/>
                    </a:lnTo>
                    <a:lnTo>
                      <a:pt x="62167" y="110091"/>
                    </a:lnTo>
                    <a:lnTo>
                      <a:pt x="50692" y="131994"/>
                    </a:lnTo>
                    <a:lnTo>
                      <a:pt x="47545" y="148963"/>
                    </a:lnTo>
                    <a:lnTo>
                      <a:pt x="36806" y="159371"/>
                    </a:lnTo>
                    <a:lnTo>
                      <a:pt x="28041" y="146731"/>
                    </a:lnTo>
                    <a:lnTo>
                      <a:pt x="19979" y="144060"/>
                    </a:lnTo>
                    <a:lnTo>
                      <a:pt x="11905" y="146114"/>
                    </a:lnTo>
                    <a:lnTo>
                      <a:pt x="11043" y="136894"/>
                    </a:lnTo>
                    <a:lnTo>
                      <a:pt x="16470" y="130870"/>
                    </a:lnTo>
                    <a:lnTo>
                      <a:pt x="13816" y="120405"/>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233" name="Polygon form 198"/>
              <p:cNvSpPr/>
              <p:nvPr/>
            </p:nvSpPr>
            <p:spPr>
              <a:xfrm>
                <a:off x="4419767" y="3366299"/>
                <a:ext cx="245903" cy="232772"/>
              </a:xfrm>
              <a:custGeom>
                <a:avLst/>
                <a:gdLst/>
                <a:ahLst/>
                <a:cxnLst/>
                <a:rect l="0" t="0" r="0" b="0"/>
                <a:pathLst>
                  <a:path w="245903" h="232772">
                    <a:moveTo>
                      <a:pt x="191560" y="48687"/>
                    </a:moveTo>
                    <a:lnTo>
                      <a:pt x="187378" y="58523"/>
                    </a:lnTo>
                    <a:lnTo>
                      <a:pt x="185278" y="76919"/>
                    </a:lnTo>
                    <a:lnTo>
                      <a:pt x="181466" y="89631"/>
                    </a:lnTo>
                    <a:lnTo>
                      <a:pt x="177515" y="93933"/>
                    </a:lnTo>
                    <a:lnTo>
                      <a:pt x="170494" y="86195"/>
                    </a:lnTo>
                    <a:lnTo>
                      <a:pt x="160972" y="75491"/>
                    </a:lnTo>
                    <a:lnTo>
                      <a:pt x="144158" y="40922"/>
                    </a:lnTo>
                    <a:lnTo>
                      <a:pt x="142471" y="43149"/>
                    </a:lnTo>
                    <a:lnTo>
                      <a:pt x="152766" y="68625"/>
                    </a:lnTo>
                    <a:lnTo>
                      <a:pt x="166653" y="92846"/>
                    </a:lnTo>
                    <a:lnTo>
                      <a:pt x="184476" y="130444"/>
                    </a:lnTo>
                    <a:lnTo>
                      <a:pt x="192676" y="143545"/>
                    </a:lnTo>
                    <a:lnTo>
                      <a:pt x="200012" y="157175"/>
                    </a:lnTo>
                    <a:lnTo>
                      <a:pt x="219461" y="183832"/>
                    </a:lnTo>
                    <a:lnTo>
                      <a:pt x="216059" y="188117"/>
                    </a:lnTo>
                    <a:lnTo>
                      <a:pt x="218043" y="203897"/>
                    </a:lnTo>
                    <a:lnTo>
                      <a:pt x="242127" y="225423"/>
                    </a:lnTo>
                    <a:lnTo>
                      <a:pt x="245903" y="230359"/>
                    </a:lnTo>
                    <a:lnTo>
                      <a:pt x="170066" y="231272"/>
                    </a:lnTo>
                    <a:lnTo>
                      <a:pt x="95860" y="232061"/>
                    </a:lnTo>
                    <a:lnTo>
                      <a:pt x="18960" y="232772"/>
                    </a:lnTo>
                    <a:lnTo>
                      <a:pt x="13424" y="143632"/>
                    </a:lnTo>
                    <a:lnTo>
                      <a:pt x="7219" y="57567"/>
                    </a:lnTo>
                    <a:lnTo>
                      <a:pt x="117" y="38139"/>
                    </a:lnTo>
                    <a:lnTo>
                      <a:pt x="3709" y="23144"/>
                    </a:lnTo>
                    <a:lnTo>
                      <a:pt x="0" y="12830"/>
                    </a:lnTo>
                    <a:lnTo>
                      <a:pt x="5730" y="1139"/>
                    </a:lnTo>
                    <a:lnTo>
                      <a:pt x="30271" y="432"/>
                    </a:lnTo>
                    <a:lnTo>
                      <a:pt x="48629" y="6601"/>
                    </a:lnTo>
                    <a:lnTo>
                      <a:pt x="67658" y="13510"/>
                    </a:lnTo>
                    <a:lnTo>
                      <a:pt x="76587" y="17164"/>
                    </a:lnTo>
                    <a:lnTo>
                      <a:pt x="90097" y="9291"/>
                    </a:lnTo>
                    <a:lnTo>
                      <a:pt x="97015" y="2239"/>
                    </a:lnTo>
                    <a:lnTo>
                      <a:pt x="113096" y="0"/>
                    </a:lnTo>
                    <a:lnTo>
                      <a:pt x="126547" y="2860"/>
                    </a:lnTo>
                    <a:lnTo>
                      <a:pt x="132851" y="14806"/>
                    </a:lnTo>
                    <a:lnTo>
                      <a:pt x="136305" y="6819"/>
                    </a:lnTo>
                    <a:lnTo>
                      <a:pt x="151743" y="12316"/>
                    </a:lnTo>
                    <a:lnTo>
                      <a:pt x="166317" y="13458"/>
                    </a:lnTo>
                    <a:lnTo>
                      <a:pt x="174730" y="7198"/>
                    </a:lnTo>
                    <a:lnTo>
                      <a:pt x="191560" y="48687"/>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34" name="Polygon form 199"/>
              <p:cNvSpPr/>
              <p:nvPr/>
            </p:nvSpPr>
            <p:spPr>
              <a:xfrm>
                <a:off x="4667369" y="3693633"/>
                <a:ext cx="134660" cy="134224"/>
              </a:xfrm>
              <a:custGeom>
                <a:avLst/>
                <a:gdLst/>
                <a:ahLst/>
                <a:cxnLst/>
                <a:rect l="0" t="0" r="0" b="0"/>
                <a:pathLst>
                  <a:path w="134660" h="134224">
                    <a:moveTo>
                      <a:pt x="120620" y="132177"/>
                    </a:moveTo>
                    <a:lnTo>
                      <a:pt x="113508" y="124342"/>
                    </a:lnTo>
                    <a:lnTo>
                      <a:pt x="104674" y="110117"/>
                    </a:lnTo>
                    <a:lnTo>
                      <a:pt x="95573" y="102363"/>
                    </a:lnTo>
                    <a:lnTo>
                      <a:pt x="90038" y="93993"/>
                    </a:lnTo>
                    <a:lnTo>
                      <a:pt x="72503" y="84380"/>
                    </a:lnTo>
                    <a:lnTo>
                      <a:pt x="59137" y="84210"/>
                    </a:lnTo>
                    <a:lnTo>
                      <a:pt x="54141" y="79162"/>
                    </a:lnTo>
                    <a:lnTo>
                      <a:pt x="43060" y="84990"/>
                    </a:lnTo>
                    <a:lnTo>
                      <a:pt x="30608" y="74047"/>
                    </a:lnTo>
                    <a:lnTo>
                      <a:pt x="25558" y="92260"/>
                    </a:lnTo>
                    <a:lnTo>
                      <a:pt x="2603" y="87366"/>
                    </a:lnTo>
                    <a:lnTo>
                      <a:pt x="0" y="77647"/>
                    </a:lnTo>
                    <a:lnTo>
                      <a:pt x="6274" y="41839"/>
                    </a:lnTo>
                    <a:lnTo>
                      <a:pt x="7166" y="25656"/>
                    </a:lnTo>
                    <a:lnTo>
                      <a:pt x="12777" y="18138"/>
                    </a:lnTo>
                    <a:lnTo>
                      <a:pt x="26763" y="13993"/>
                    </a:lnTo>
                    <a:lnTo>
                      <a:pt x="35579" y="0"/>
                    </a:lnTo>
                    <a:lnTo>
                      <a:pt x="48776" y="28057"/>
                    </a:lnTo>
                    <a:lnTo>
                      <a:pt x="55598" y="50349"/>
                    </a:lnTo>
                    <a:lnTo>
                      <a:pt x="67005" y="62106"/>
                    </a:lnTo>
                    <a:lnTo>
                      <a:pt x="94994" y="84864"/>
                    </a:lnTo>
                    <a:lnTo>
                      <a:pt x="106662" y="98659"/>
                    </a:lnTo>
                    <a:lnTo>
                      <a:pt x="118058" y="112634"/>
                    </a:lnTo>
                    <a:lnTo>
                      <a:pt x="124644" y="120960"/>
                    </a:lnTo>
                    <a:lnTo>
                      <a:pt x="134660" y="128214"/>
                    </a:lnTo>
                    <a:lnTo>
                      <a:pt x="129100" y="134224"/>
                    </a:lnTo>
                    <a:lnTo>
                      <a:pt x="120620" y="132177"/>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235" name="Polygon form 200"/>
              <p:cNvSpPr/>
              <p:nvPr/>
            </p:nvSpPr>
            <p:spPr>
              <a:xfrm>
                <a:off x="3796994" y="3076086"/>
                <a:ext cx="216489" cy="188418"/>
              </a:xfrm>
              <a:custGeom>
                <a:avLst/>
                <a:gdLst/>
                <a:ahLst/>
                <a:cxnLst/>
                <a:rect l="0" t="0" r="0" b="0"/>
                <a:pathLst>
                  <a:path w="216489" h="188418">
                    <a:moveTo>
                      <a:pt x="5060" y="44970"/>
                    </a:moveTo>
                    <a:lnTo>
                      <a:pt x="6656" y="27789"/>
                    </a:lnTo>
                    <a:lnTo>
                      <a:pt x="0" y="17279"/>
                    </a:lnTo>
                    <a:lnTo>
                      <a:pt x="25249" y="0"/>
                    </a:lnTo>
                    <a:lnTo>
                      <a:pt x="46274" y="4454"/>
                    </a:lnTo>
                    <a:lnTo>
                      <a:pt x="69531" y="4392"/>
                    </a:lnTo>
                    <a:lnTo>
                      <a:pt x="87874" y="8570"/>
                    </a:lnTo>
                    <a:lnTo>
                      <a:pt x="102292" y="7340"/>
                    </a:lnTo>
                    <a:lnTo>
                      <a:pt x="130299" y="8187"/>
                    </a:lnTo>
                    <a:lnTo>
                      <a:pt x="137143" y="17574"/>
                    </a:lnTo>
                    <a:lnTo>
                      <a:pt x="169159" y="28550"/>
                    </a:lnTo>
                    <a:lnTo>
                      <a:pt x="175480" y="23332"/>
                    </a:lnTo>
                    <a:lnTo>
                      <a:pt x="195162" y="34229"/>
                    </a:lnTo>
                    <a:lnTo>
                      <a:pt x="215359" y="31072"/>
                    </a:lnTo>
                    <a:lnTo>
                      <a:pt x="216489" y="45084"/>
                    </a:lnTo>
                    <a:lnTo>
                      <a:pt x="200048" y="61178"/>
                    </a:lnTo>
                    <a:lnTo>
                      <a:pt x="177536" y="66297"/>
                    </a:lnTo>
                    <a:lnTo>
                      <a:pt x="175992" y="74413"/>
                    </a:lnTo>
                    <a:lnTo>
                      <a:pt x="165154" y="87790"/>
                    </a:lnTo>
                    <a:lnTo>
                      <a:pt x="158308" y="107426"/>
                    </a:lnTo>
                    <a:lnTo>
                      <a:pt x="165251" y="121212"/>
                    </a:lnTo>
                    <a:lnTo>
                      <a:pt x="154909" y="131974"/>
                    </a:lnTo>
                    <a:lnTo>
                      <a:pt x="150996" y="147654"/>
                    </a:lnTo>
                    <a:lnTo>
                      <a:pt x="137413" y="152454"/>
                    </a:lnTo>
                    <a:lnTo>
                      <a:pt x="124528" y="170991"/>
                    </a:lnTo>
                    <a:lnTo>
                      <a:pt x="101616" y="171324"/>
                    </a:lnTo>
                    <a:lnTo>
                      <a:pt x="84423" y="170830"/>
                    </a:lnTo>
                    <a:lnTo>
                      <a:pt x="72954" y="179321"/>
                    </a:lnTo>
                    <a:lnTo>
                      <a:pt x="65859" y="188418"/>
                    </a:lnTo>
                    <a:lnTo>
                      <a:pt x="57041" y="186389"/>
                    </a:lnTo>
                    <a:lnTo>
                      <a:pt x="50535" y="178215"/>
                    </a:lnTo>
                    <a:lnTo>
                      <a:pt x="45767" y="164318"/>
                    </a:lnTo>
                    <a:lnTo>
                      <a:pt x="29057" y="160515"/>
                    </a:lnTo>
                    <a:lnTo>
                      <a:pt x="27797" y="152519"/>
                    </a:lnTo>
                    <a:lnTo>
                      <a:pt x="34720" y="143499"/>
                    </a:lnTo>
                    <a:lnTo>
                      <a:pt x="37370" y="136949"/>
                    </a:lnTo>
                    <a:lnTo>
                      <a:pt x="31414" y="129750"/>
                    </a:lnTo>
                    <a:lnTo>
                      <a:pt x="36820" y="113917"/>
                    </a:lnTo>
                    <a:lnTo>
                      <a:pt x="30147" y="99422"/>
                    </a:lnTo>
                    <a:lnTo>
                      <a:pt x="37877" y="97468"/>
                    </a:lnTo>
                    <a:lnTo>
                      <a:pt x="38937" y="86067"/>
                    </a:lnTo>
                    <a:lnTo>
                      <a:pt x="41916" y="82548"/>
                    </a:lnTo>
                    <a:lnTo>
                      <a:pt x="42716" y="63724"/>
                    </a:lnTo>
                    <a:lnTo>
                      <a:pt x="51033" y="57225"/>
                    </a:lnTo>
                    <a:lnTo>
                      <a:pt x="46491" y="45103"/>
                    </a:lnTo>
                    <a:lnTo>
                      <a:pt x="36316" y="44216"/>
                    </a:lnTo>
                    <a:lnTo>
                      <a:pt x="33216" y="47249"/>
                    </a:lnTo>
                    <a:lnTo>
                      <a:pt x="22867" y="47228"/>
                    </a:lnTo>
                    <a:lnTo>
                      <a:pt x="18925" y="35393"/>
                    </a:lnTo>
                    <a:lnTo>
                      <a:pt x="11657" y="38873"/>
                    </a:lnTo>
                    <a:lnTo>
                      <a:pt x="5060" y="4497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36" name="Polygon form 201"/>
              <p:cNvSpPr/>
              <p:nvPr/>
            </p:nvSpPr>
            <p:spPr>
              <a:xfrm>
                <a:off x="4725677" y="3125741"/>
                <a:ext cx="62576" cy="60346"/>
              </a:xfrm>
              <a:custGeom>
                <a:avLst/>
                <a:gdLst/>
                <a:ahLst/>
                <a:cxnLst/>
                <a:rect l="0" t="0" r="0" b="0"/>
                <a:pathLst>
                  <a:path w="62576" h="60346">
                    <a:moveTo>
                      <a:pt x="0" y="4466"/>
                    </a:moveTo>
                    <a:lnTo>
                      <a:pt x="23529" y="0"/>
                    </a:lnTo>
                    <a:lnTo>
                      <a:pt x="28448" y="6280"/>
                    </a:lnTo>
                    <a:lnTo>
                      <a:pt x="35970" y="10294"/>
                    </a:lnTo>
                    <a:lnTo>
                      <a:pt x="33682" y="16487"/>
                    </a:lnTo>
                    <a:lnTo>
                      <a:pt x="44719" y="24558"/>
                    </a:lnTo>
                    <a:lnTo>
                      <a:pt x="41314" y="32438"/>
                    </a:lnTo>
                    <a:lnTo>
                      <a:pt x="50114" y="38838"/>
                    </a:lnTo>
                    <a:lnTo>
                      <a:pt x="58833" y="42599"/>
                    </a:lnTo>
                    <a:lnTo>
                      <a:pt x="62576" y="59452"/>
                    </a:lnTo>
                    <a:lnTo>
                      <a:pt x="56296" y="60346"/>
                    </a:lnTo>
                    <a:lnTo>
                      <a:pt x="46316" y="46481"/>
                    </a:lnTo>
                    <a:lnTo>
                      <a:pt x="45658" y="42728"/>
                    </a:lnTo>
                    <a:lnTo>
                      <a:pt x="37867" y="42999"/>
                    </a:lnTo>
                    <a:lnTo>
                      <a:pt x="31367" y="36624"/>
                    </a:lnTo>
                    <a:lnTo>
                      <a:pt x="27827" y="37380"/>
                    </a:lnTo>
                    <a:lnTo>
                      <a:pt x="19505" y="30476"/>
                    </a:lnTo>
                    <a:lnTo>
                      <a:pt x="5255" y="24793"/>
                    </a:lnTo>
                    <a:lnTo>
                      <a:pt x="4651" y="12930"/>
                    </a:lnTo>
                    <a:lnTo>
                      <a:pt x="0" y="4466"/>
                    </a:lnTo>
                    <a:close/>
                  </a:path>
                </a:pathLst>
              </a:custGeom>
              <a:solidFill>
                <a:srgbClr val="74C476">
                  <a:alpha val="100000"/>
                </a:srgbClr>
              </a:solidFill>
              <a:ln w="5400">
                <a:solidFill>
                  <a:srgbClr val="7F7F7F">
                    <a:alpha val="100000"/>
                  </a:srgbClr>
                </a:solidFill>
                <a:prstDash val="solid"/>
                <a:round/>
              </a:ln>
            </p:spPr>
            <p:txBody>
              <a:bodyPr/>
              <a:lstStyle/>
              <a:p/>
            </p:txBody>
          </p:sp>
          <p:sp>
            <p:nvSpPr>
              <p:cNvPr id="237" name="Polygon form 202"/>
              <p:cNvSpPr/>
              <p:nvPr/>
            </p:nvSpPr>
            <p:spPr>
              <a:xfrm>
                <a:off x="4312534" y="2689728"/>
                <a:ext cx="72325" cy="51286"/>
              </a:xfrm>
              <a:custGeom>
                <a:avLst/>
                <a:gdLst/>
                <a:ahLst/>
                <a:cxnLst/>
                <a:rect l="0" t="0" r="0" b="0"/>
                <a:pathLst>
                  <a:path w="72325" h="51286">
                    <a:moveTo>
                      <a:pt x="20309" y="44303"/>
                    </a:moveTo>
                    <a:lnTo>
                      <a:pt x="19698" y="30040"/>
                    </a:lnTo>
                    <a:lnTo>
                      <a:pt x="14617" y="33188"/>
                    </a:lnTo>
                    <a:lnTo>
                      <a:pt x="3574" y="24800"/>
                    </a:lnTo>
                    <a:lnTo>
                      <a:pt x="0" y="10971"/>
                    </a:lnTo>
                    <a:lnTo>
                      <a:pt x="17871" y="3886"/>
                    </a:lnTo>
                    <a:lnTo>
                      <a:pt x="36131" y="0"/>
                    </a:lnTo>
                    <a:lnTo>
                      <a:pt x="53135" y="3638"/>
                    </a:lnTo>
                    <a:lnTo>
                      <a:pt x="68468" y="2582"/>
                    </a:lnTo>
                    <a:lnTo>
                      <a:pt x="71562" y="6739"/>
                    </a:lnTo>
                    <a:lnTo>
                      <a:pt x="63547" y="20872"/>
                    </a:lnTo>
                    <a:lnTo>
                      <a:pt x="72325" y="43264"/>
                    </a:lnTo>
                    <a:lnTo>
                      <a:pt x="67200" y="51061"/>
                    </a:lnTo>
                    <a:lnTo>
                      <a:pt x="54551" y="51286"/>
                    </a:lnTo>
                    <a:lnTo>
                      <a:pt x="39797" y="42607"/>
                    </a:lnTo>
                    <a:lnTo>
                      <a:pt x="32596" y="39785"/>
                    </a:lnTo>
                    <a:lnTo>
                      <a:pt x="20309" y="44303"/>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238" name="Polygon form 203"/>
              <p:cNvSpPr/>
              <p:nvPr/>
            </p:nvSpPr>
            <p:spPr>
              <a:xfrm>
                <a:off x="4608334" y="3767679"/>
                <a:ext cx="291498" cy="280770"/>
              </a:xfrm>
              <a:custGeom>
                <a:avLst/>
                <a:gdLst/>
                <a:ahLst/>
                <a:cxnLst/>
                <a:rect l="0" t="0" r="0" b="0"/>
                <a:pathLst>
                  <a:path w="291498" h="280770">
                    <a:moveTo>
                      <a:pt x="89643" y="0"/>
                    </a:moveTo>
                    <a:lnTo>
                      <a:pt x="102095" y="10943"/>
                    </a:lnTo>
                    <a:lnTo>
                      <a:pt x="113176" y="5115"/>
                    </a:lnTo>
                    <a:lnTo>
                      <a:pt x="118172" y="10164"/>
                    </a:lnTo>
                    <a:lnTo>
                      <a:pt x="131538" y="10333"/>
                    </a:lnTo>
                    <a:lnTo>
                      <a:pt x="149073" y="19946"/>
                    </a:lnTo>
                    <a:lnTo>
                      <a:pt x="154609" y="28316"/>
                    </a:lnTo>
                    <a:lnTo>
                      <a:pt x="163709" y="36070"/>
                    </a:lnTo>
                    <a:lnTo>
                      <a:pt x="172544" y="50295"/>
                    </a:lnTo>
                    <a:lnTo>
                      <a:pt x="179655" y="58130"/>
                    </a:lnTo>
                    <a:lnTo>
                      <a:pt x="173361" y="68973"/>
                    </a:lnTo>
                    <a:lnTo>
                      <a:pt x="167328" y="80458"/>
                    </a:lnTo>
                    <a:lnTo>
                      <a:pt x="169183" y="87179"/>
                    </a:lnTo>
                    <a:lnTo>
                      <a:pt x="169853" y="94595"/>
                    </a:lnTo>
                    <a:lnTo>
                      <a:pt x="180811" y="94922"/>
                    </a:lnTo>
                    <a:lnTo>
                      <a:pt x="185442" y="93157"/>
                    </a:lnTo>
                    <a:lnTo>
                      <a:pt x="189998" y="97473"/>
                    </a:lnTo>
                    <a:lnTo>
                      <a:pt x="186133" y="106148"/>
                    </a:lnTo>
                    <a:lnTo>
                      <a:pt x="193981" y="119534"/>
                    </a:lnTo>
                    <a:lnTo>
                      <a:pt x="201726" y="131236"/>
                    </a:lnTo>
                    <a:lnTo>
                      <a:pt x="209583" y="139899"/>
                    </a:lnTo>
                    <a:lnTo>
                      <a:pt x="274970" y="168499"/>
                    </a:lnTo>
                    <a:lnTo>
                      <a:pt x="291498" y="168249"/>
                    </a:lnTo>
                    <a:lnTo>
                      <a:pt x="238148" y="241922"/>
                    </a:lnTo>
                    <a:lnTo>
                      <a:pt x="212497" y="243090"/>
                    </a:lnTo>
                    <a:lnTo>
                      <a:pt x="195279" y="260356"/>
                    </a:lnTo>
                    <a:lnTo>
                      <a:pt x="182647" y="260843"/>
                    </a:lnTo>
                    <a:lnTo>
                      <a:pt x="177388" y="268549"/>
                    </a:lnTo>
                    <a:lnTo>
                      <a:pt x="163913" y="268579"/>
                    </a:lnTo>
                    <a:lnTo>
                      <a:pt x="155818" y="260360"/>
                    </a:lnTo>
                    <a:lnTo>
                      <a:pt x="137974" y="270602"/>
                    </a:lnTo>
                    <a:lnTo>
                      <a:pt x="132294" y="280770"/>
                    </a:lnTo>
                    <a:lnTo>
                      <a:pt x="119112" y="278882"/>
                    </a:lnTo>
                    <a:lnTo>
                      <a:pt x="114706" y="276083"/>
                    </a:lnTo>
                    <a:lnTo>
                      <a:pt x="110097" y="276764"/>
                    </a:lnTo>
                    <a:lnTo>
                      <a:pt x="103860" y="276532"/>
                    </a:lnTo>
                    <a:lnTo>
                      <a:pt x="78579" y="255920"/>
                    </a:lnTo>
                    <a:lnTo>
                      <a:pt x="64856" y="255955"/>
                    </a:lnTo>
                    <a:lnTo>
                      <a:pt x="57986" y="247968"/>
                    </a:lnTo>
                    <a:lnTo>
                      <a:pt x="57733" y="234317"/>
                    </a:lnTo>
                    <a:lnTo>
                      <a:pt x="47418" y="230268"/>
                    </a:lnTo>
                    <a:lnTo>
                      <a:pt x="35206" y="203850"/>
                    </a:lnTo>
                    <a:lnTo>
                      <a:pt x="26084" y="198248"/>
                    </a:lnTo>
                    <a:lnTo>
                      <a:pt x="22397" y="188543"/>
                    </a:lnTo>
                    <a:lnTo>
                      <a:pt x="12122" y="176740"/>
                    </a:lnTo>
                    <a:lnTo>
                      <a:pt x="0" y="175049"/>
                    </a:lnTo>
                    <a:lnTo>
                      <a:pt x="6318" y="161184"/>
                    </a:lnTo>
                    <a:lnTo>
                      <a:pt x="16730" y="160541"/>
                    </a:lnTo>
                    <a:lnTo>
                      <a:pt x="19448" y="153106"/>
                    </a:lnTo>
                    <a:lnTo>
                      <a:pt x="18492" y="131262"/>
                    </a:lnTo>
                    <a:lnTo>
                      <a:pt x="23395" y="105801"/>
                    </a:lnTo>
                    <a:lnTo>
                      <a:pt x="32418" y="98940"/>
                    </a:lnTo>
                    <a:lnTo>
                      <a:pt x="33992" y="88992"/>
                    </a:lnTo>
                    <a:lnTo>
                      <a:pt x="41602" y="70369"/>
                    </a:lnTo>
                    <a:lnTo>
                      <a:pt x="52849" y="58242"/>
                    </a:lnTo>
                    <a:lnTo>
                      <a:pt x="59626" y="34229"/>
                    </a:lnTo>
                    <a:lnTo>
                      <a:pt x="61638" y="13320"/>
                    </a:lnTo>
                    <a:lnTo>
                      <a:pt x="84593" y="18214"/>
                    </a:lnTo>
                    <a:lnTo>
                      <a:pt x="89643" y="0"/>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239" name="Polygon form 204"/>
              <p:cNvSpPr/>
              <p:nvPr/>
            </p:nvSpPr>
            <p:spPr>
              <a:xfrm>
                <a:off x="4233153" y="2435098"/>
                <a:ext cx="181818" cy="249839"/>
              </a:xfrm>
              <a:custGeom>
                <a:avLst/>
                <a:gdLst/>
                <a:ahLst/>
                <a:cxnLst/>
                <a:rect l="0" t="0" r="0" b="0"/>
                <a:pathLst>
                  <a:path w="181818" h="249839">
                    <a:moveTo>
                      <a:pt x="104898" y="26162"/>
                    </a:moveTo>
                    <a:lnTo>
                      <a:pt x="107135" y="43038"/>
                    </a:lnTo>
                    <a:lnTo>
                      <a:pt x="131612" y="58560"/>
                    </a:lnTo>
                    <a:lnTo>
                      <a:pt x="123654" y="76996"/>
                    </a:lnTo>
                    <a:lnTo>
                      <a:pt x="146287" y="103982"/>
                    </a:lnTo>
                    <a:lnTo>
                      <a:pt x="141912" y="124841"/>
                    </a:lnTo>
                    <a:lnTo>
                      <a:pt x="158825" y="142436"/>
                    </a:lnTo>
                    <a:lnTo>
                      <a:pt x="156736" y="158266"/>
                    </a:lnTo>
                    <a:lnTo>
                      <a:pt x="181818" y="174221"/>
                    </a:lnTo>
                    <a:lnTo>
                      <a:pt x="179324" y="186641"/>
                    </a:lnTo>
                    <a:lnTo>
                      <a:pt x="169050" y="200894"/>
                    </a:lnTo>
                    <a:lnTo>
                      <a:pt x="144195" y="232400"/>
                    </a:lnTo>
                    <a:lnTo>
                      <a:pt x="117678" y="234912"/>
                    </a:lnTo>
                    <a:lnTo>
                      <a:pt x="93148" y="244288"/>
                    </a:lnTo>
                    <a:lnTo>
                      <a:pt x="69726" y="249839"/>
                    </a:lnTo>
                    <a:lnTo>
                      <a:pt x="58967" y="236843"/>
                    </a:lnTo>
                    <a:lnTo>
                      <a:pt x="43354" y="229183"/>
                    </a:lnTo>
                    <a:lnTo>
                      <a:pt x="42884" y="205375"/>
                    </a:lnTo>
                    <a:lnTo>
                      <a:pt x="32341" y="183755"/>
                    </a:lnTo>
                    <a:lnTo>
                      <a:pt x="36929" y="169599"/>
                    </a:lnTo>
                    <a:lnTo>
                      <a:pt x="47313" y="154229"/>
                    </a:lnTo>
                    <a:lnTo>
                      <a:pt x="74766" y="127473"/>
                    </a:lnTo>
                    <a:lnTo>
                      <a:pt x="83098" y="122244"/>
                    </a:lnTo>
                    <a:lnTo>
                      <a:pt x="79568" y="112091"/>
                    </a:lnTo>
                    <a:lnTo>
                      <a:pt x="58032" y="101105"/>
                    </a:lnTo>
                    <a:lnTo>
                      <a:pt x="51558" y="91827"/>
                    </a:lnTo>
                    <a:lnTo>
                      <a:pt x="43875" y="54760"/>
                    </a:lnTo>
                    <a:lnTo>
                      <a:pt x="19828" y="38763"/>
                    </a:lnTo>
                    <a:lnTo>
                      <a:pt x="0" y="27290"/>
                    </a:lnTo>
                    <a:lnTo>
                      <a:pt x="6719" y="20793"/>
                    </a:lnTo>
                    <a:lnTo>
                      <a:pt x="23796" y="33257"/>
                    </a:lnTo>
                    <a:lnTo>
                      <a:pt x="40831" y="31738"/>
                    </a:lnTo>
                    <a:lnTo>
                      <a:pt x="56271" y="37269"/>
                    </a:lnTo>
                    <a:lnTo>
                      <a:pt x="66536" y="26361"/>
                    </a:lnTo>
                    <a:lnTo>
                      <a:pt x="68921" y="8592"/>
                    </a:lnTo>
                    <a:lnTo>
                      <a:pt x="87098" y="0"/>
                    </a:lnTo>
                    <a:lnTo>
                      <a:pt x="106157" y="9168"/>
                    </a:lnTo>
                    <a:lnTo>
                      <a:pt x="104898" y="26162"/>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40" name="Polygon form 205"/>
              <p:cNvSpPr/>
              <p:nvPr/>
            </p:nvSpPr>
            <p:spPr>
              <a:xfrm>
                <a:off x="2971892" y="5385368"/>
                <a:ext cx="52540" cy="30656"/>
              </a:xfrm>
              <a:custGeom>
                <a:avLst/>
                <a:gdLst/>
                <a:ahLst/>
                <a:cxnLst/>
                <a:rect l="0" t="0" r="0" b="0"/>
                <a:pathLst>
                  <a:path w="52540" h="30656">
                    <a:moveTo>
                      <a:pt x="0" y="20137"/>
                    </a:moveTo>
                    <a:lnTo>
                      <a:pt x="13937" y="4697"/>
                    </a:lnTo>
                    <a:lnTo>
                      <a:pt x="29698" y="10128"/>
                    </a:lnTo>
                    <a:lnTo>
                      <a:pt x="35950" y="0"/>
                    </a:lnTo>
                    <a:lnTo>
                      <a:pt x="52540" y="10327"/>
                    </a:lnTo>
                    <a:lnTo>
                      <a:pt x="50675" y="19018"/>
                    </a:lnTo>
                    <a:lnTo>
                      <a:pt x="31736" y="27265"/>
                    </a:lnTo>
                    <a:lnTo>
                      <a:pt x="21525" y="19122"/>
                    </a:lnTo>
                    <a:lnTo>
                      <a:pt x="11962" y="30656"/>
                    </a:lnTo>
                    <a:lnTo>
                      <a:pt x="0" y="20137"/>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241" name="Polygon form 206"/>
              <p:cNvSpPr/>
              <p:nvPr/>
            </p:nvSpPr>
            <p:spPr>
              <a:xfrm>
                <a:off x="3883624" y="2897879"/>
                <a:ext cx="211426" cy="212436"/>
              </a:xfrm>
              <a:custGeom>
                <a:avLst/>
                <a:gdLst/>
                <a:ahLst/>
                <a:cxnLst/>
                <a:rect l="0" t="0" r="0" b="0"/>
                <a:pathLst>
                  <a:path w="211426" h="212436">
                    <a:moveTo>
                      <a:pt x="135694" y="18525"/>
                    </a:moveTo>
                    <a:lnTo>
                      <a:pt x="147456" y="29867"/>
                    </a:lnTo>
                    <a:lnTo>
                      <a:pt x="155884" y="27961"/>
                    </a:lnTo>
                    <a:lnTo>
                      <a:pt x="170680" y="38906"/>
                    </a:lnTo>
                    <a:lnTo>
                      <a:pt x="174456" y="40985"/>
                    </a:lnTo>
                    <a:lnTo>
                      <a:pt x="179224" y="40454"/>
                    </a:lnTo>
                    <a:lnTo>
                      <a:pt x="187283" y="46736"/>
                    </a:lnTo>
                    <a:lnTo>
                      <a:pt x="211426" y="51054"/>
                    </a:lnTo>
                    <a:lnTo>
                      <a:pt x="203699" y="67622"/>
                    </a:lnTo>
                    <a:lnTo>
                      <a:pt x="202266" y="84823"/>
                    </a:lnTo>
                    <a:lnTo>
                      <a:pt x="197805" y="88967"/>
                    </a:lnTo>
                    <a:lnTo>
                      <a:pt x="190050" y="86783"/>
                    </a:lnTo>
                    <a:lnTo>
                      <a:pt x="190812" y="92911"/>
                    </a:lnTo>
                    <a:lnTo>
                      <a:pt x="178906" y="106523"/>
                    </a:lnTo>
                    <a:lnTo>
                      <a:pt x="178997" y="117448"/>
                    </a:lnTo>
                    <a:lnTo>
                      <a:pt x="186984" y="113633"/>
                    </a:lnTo>
                    <a:lnTo>
                      <a:pt x="193187" y="124187"/>
                    </a:lnTo>
                    <a:lnTo>
                      <a:pt x="192721" y="131008"/>
                    </a:lnTo>
                    <a:lnTo>
                      <a:pt x="198068" y="140044"/>
                    </a:lnTo>
                    <a:lnTo>
                      <a:pt x="192384" y="147420"/>
                    </a:lnTo>
                    <a:lnTo>
                      <a:pt x="197447" y="166069"/>
                    </a:lnTo>
                    <a:lnTo>
                      <a:pt x="206903" y="169086"/>
                    </a:lnTo>
                    <a:lnTo>
                      <a:pt x="205306" y="179568"/>
                    </a:lnTo>
                    <a:lnTo>
                      <a:pt x="190055" y="193269"/>
                    </a:lnTo>
                    <a:lnTo>
                      <a:pt x="155655" y="186858"/>
                    </a:lnTo>
                    <a:lnTo>
                      <a:pt x="130514" y="194747"/>
                    </a:lnTo>
                    <a:lnTo>
                      <a:pt x="128729" y="209278"/>
                    </a:lnTo>
                    <a:lnTo>
                      <a:pt x="108532" y="212436"/>
                    </a:lnTo>
                    <a:lnTo>
                      <a:pt x="88850" y="201539"/>
                    </a:lnTo>
                    <a:lnTo>
                      <a:pt x="82529" y="206757"/>
                    </a:lnTo>
                    <a:lnTo>
                      <a:pt x="50513" y="195781"/>
                    </a:lnTo>
                    <a:lnTo>
                      <a:pt x="43669" y="186394"/>
                    </a:lnTo>
                    <a:lnTo>
                      <a:pt x="52732" y="171934"/>
                    </a:lnTo>
                    <a:lnTo>
                      <a:pt x="56306" y="123873"/>
                    </a:lnTo>
                    <a:lnTo>
                      <a:pt x="39026" y="98536"/>
                    </a:lnTo>
                    <a:lnTo>
                      <a:pt x="26755" y="86308"/>
                    </a:lnTo>
                    <a:lnTo>
                      <a:pt x="1253" y="76962"/>
                    </a:lnTo>
                    <a:lnTo>
                      <a:pt x="0" y="59365"/>
                    </a:lnTo>
                    <a:lnTo>
                      <a:pt x="21730" y="54177"/>
                    </a:lnTo>
                    <a:lnTo>
                      <a:pt x="49650" y="60431"/>
                    </a:lnTo>
                    <a:lnTo>
                      <a:pt x="44652" y="33118"/>
                    </a:lnTo>
                    <a:lnTo>
                      <a:pt x="60210" y="43483"/>
                    </a:lnTo>
                    <a:lnTo>
                      <a:pt x="98717" y="24666"/>
                    </a:lnTo>
                    <a:lnTo>
                      <a:pt x="103483" y="4892"/>
                    </a:lnTo>
                    <a:lnTo>
                      <a:pt x="117738" y="0"/>
                    </a:lnTo>
                    <a:lnTo>
                      <a:pt x="120237" y="8479"/>
                    </a:lnTo>
                    <a:lnTo>
                      <a:pt x="127868" y="8861"/>
                    </a:lnTo>
                    <a:lnTo>
                      <a:pt x="135694" y="18525"/>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42" name="Polygon form 207"/>
              <p:cNvSpPr/>
              <p:nvPr/>
            </p:nvSpPr>
            <p:spPr>
              <a:xfrm>
                <a:off x="2884249" y="3990336"/>
                <a:ext cx="57353" cy="91042"/>
              </a:xfrm>
              <a:custGeom>
                <a:avLst/>
                <a:gdLst/>
                <a:ahLst/>
                <a:cxnLst/>
                <a:rect l="0" t="0" r="0" b="0"/>
                <a:pathLst>
                  <a:path w="57353" h="91042">
                    <a:moveTo>
                      <a:pt x="38904" y="79989"/>
                    </a:moveTo>
                    <a:lnTo>
                      <a:pt x="31225" y="89304"/>
                    </a:lnTo>
                    <a:lnTo>
                      <a:pt x="21755" y="91042"/>
                    </a:lnTo>
                    <a:lnTo>
                      <a:pt x="19147" y="84120"/>
                    </a:lnTo>
                    <a:lnTo>
                      <a:pt x="14747" y="83083"/>
                    </a:lnTo>
                    <a:lnTo>
                      <a:pt x="8555" y="89736"/>
                    </a:lnTo>
                    <a:lnTo>
                      <a:pt x="0" y="84647"/>
                    </a:lnTo>
                    <a:lnTo>
                      <a:pt x="5151" y="74161"/>
                    </a:lnTo>
                    <a:lnTo>
                      <a:pt x="7051" y="62969"/>
                    </a:lnTo>
                    <a:lnTo>
                      <a:pt x="10659" y="52448"/>
                    </a:lnTo>
                    <a:lnTo>
                      <a:pt x="3323" y="37916"/>
                    </a:lnTo>
                    <a:lnTo>
                      <a:pt x="2193" y="21088"/>
                    </a:lnTo>
                    <a:lnTo>
                      <a:pt x="13078" y="0"/>
                    </a:lnTo>
                    <a:lnTo>
                      <a:pt x="19681" y="2737"/>
                    </a:lnTo>
                    <a:lnTo>
                      <a:pt x="34011" y="8621"/>
                    </a:lnTo>
                    <a:lnTo>
                      <a:pt x="54322" y="29433"/>
                    </a:lnTo>
                    <a:lnTo>
                      <a:pt x="57353" y="39496"/>
                    </a:lnTo>
                    <a:lnTo>
                      <a:pt x="45243" y="61923"/>
                    </a:lnTo>
                    <a:lnTo>
                      <a:pt x="38904" y="79989"/>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43" name="Polygon form 208"/>
              <p:cNvSpPr/>
              <p:nvPr/>
            </p:nvSpPr>
            <p:spPr>
              <a:xfrm>
                <a:off x="4109518" y="3093766"/>
                <a:ext cx="17853" cy="39349"/>
              </a:xfrm>
              <a:custGeom>
                <a:avLst/>
                <a:gdLst/>
                <a:ahLst/>
                <a:cxnLst/>
                <a:rect l="0" t="0" r="0" b="0"/>
                <a:pathLst>
                  <a:path w="17853" h="39349">
                    <a:moveTo>
                      <a:pt x="17853" y="20675"/>
                    </a:moveTo>
                    <a:lnTo>
                      <a:pt x="12866" y="39349"/>
                    </a:lnTo>
                    <a:lnTo>
                      <a:pt x="4697" y="34480"/>
                    </a:lnTo>
                    <a:lnTo>
                      <a:pt x="0" y="18265"/>
                    </a:lnTo>
                    <a:lnTo>
                      <a:pt x="3160" y="9279"/>
                    </a:lnTo>
                    <a:lnTo>
                      <a:pt x="13974" y="0"/>
                    </a:lnTo>
                    <a:lnTo>
                      <a:pt x="17853" y="20675"/>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44" name="Polygon form 209"/>
              <p:cNvSpPr/>
              <p:nvPr/>
            </p:nvSpPr>
            <p:spPr>
              <a:xfrm>
                <a:off x="4133928" y="4075654"/>
                <a:ext cx="111074" cy="152242"/>
              </a:xfrm>
              <a:custGeom>
                <a:avLst/>
                <a:gdLst/>
                <a:ahLst/>
                <a:cxnLst/>
                <a:rect l="0" t="0" r="0" b="0"/>
                <a:pathLst>
                  <a:path w="111074" h="152242">
                    <a:moveTo>
                      <a:pt x="45119" y="152242"/>
                    </a:moveTo>
                    <a:lnTo>
                      <a:pt x="24939" y="127863"/>
                    </a:lnTo>
                    <a:lnTo>
                      <a:pt x="11948" y="107939"/>
                    </a:lnTo>
                    <a:lnTo>
                      <a:pt x="0" y="83003"/>
                    </a:lnTo>
                    <a:lnTo>
                      <a:pt x="640" y="74984"/>
                    </a:lnTo>
                    <a:lnTo>
                      <a:pt x="4955" y="67268"/>
                    </a:lnTo>
                    <a:lnTo>
                      <a:pt x="9752" y="49696"/>
                    </a:lnTo>
                    <a:lnTo>
                      <a:pt x="13719" y="31798"/>
                    </a:lnTo>
                    <a:lnTo>
                      <a:pt x="20378" y="30403"/>
                    </a:lnTo>
                    <a:lnTo>
                      <a:pt x="49096" y="30645"/>
                    </a:lnTo>
                    <a:lnTo>
                      <a:pt x="48870" y="1590"/>
                    </a:lnTo>
                    <a:lnTo>
                      <a:pt x="58244" y="0"/>
                    </a:lnTo>
                    <a:lnTo>
                      <a:pt x="70246" y="3229"/>
                    </a:lnTo>
                    <a:lnTo>
                      <a:pt x="81919" y="114"/>
                    </a:lnTo>
                    <a:lnTo>
                      <a:pt x="84380" y="1429"/>
                    </a:lnTo>
                    <a:lnTo>
                      <a:pt x="82973" y="11964"/>
                    </a:lnTo>
                    <a:lnTo>
                      <a:pt x="88517" y="24441"/>
                    </a:lnTo>
                    <a:lnTo>
                      <a:pt x="103200" y="22469"/>
                    </a:lnTo>
                    <a:lnTo>
                      <a:pt x="108135" y="27268"/>
                    </a:lnTo>
                    <a:lnTo>
                      <a:pt x="99614" y="55244"/>
                    </a:lnTo>
                    <a:lnTo>
                      <a:pt x="108948" y="69530"/>
                    </a:lnTo>
                    <a:lnTo>
                      <a:pt x="111074" y="88390"/>
                    </a:lnTo>
                    <a:lnTo>
                      <a:pt x="108543" y="104450"/>
                    </a:lnTo>
                    <a:lnTo>
                      <a:pt x="102452" y="115861"/>
                    </a:lnTo>
                    <a:lnTo>
                      <a:pt x="85035" y="114836"/>
                    </a:lnTo>
                    <a:lnTo>
                      <a:pt x="74523" y="103234"/>
                    </a:lnTo>
                    <a:lnTo>
                      <a:pt x="72922" y="113935"/>
                    </a:lnTo>
                    <a:lnTo>
                      <a:pt x="59598" y="116887"/>
                    </a:lnTo>
                    <a:lnTo>
                      <a:pt x="52813" y="122955"/>
                    </a:lnTo>
                    <a:lnTo>
                      <a:pt x="60194" y="138925"/>
                    </a:lnTo>
                    <a:lnTo>
                      <a:pt x="45119" y="152242"/>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245" name="Polyline form 210"/>
              <p:cNvSpPr/>
              <p:nvPr/>
            </p:nvSpPr>
            <p:spPr>
              <a:xfrm>
                <a:off x="3864903" y="2717256"/>
                <a:ext cx="122471" cy="209170"/>
              </a:xfrm>
              <a:custGeom>
                <a:avLst/>
                <a:gdLst/>
                <a:ahLst/>
                <a:cxnLst/>
                <a:rect l="0" t="0" r="0" b="0"/>
                <a:pathLst>
                  <a:path w="122471" h="209170">
                    <a:moveTo>
                      <a:pt x="49671" y="0"/>
                    </a:moveTo>
                    <a:lnTo>
                      <a:pt x="32694" y="26056"/>
                    </a:lnTo>
                    <a:lnTo>
                      <a:pt x="48433" y="22795"/>
                    </a:lnTo>
                    <a:lnTo>
                      <a:pt x="65261" y="22954"/>
                    </a:lnTo>
                    <a:lnTo>
                      <a:pt x="60963" y="42604"/>
                    </a:lnTo>
                    <a:lnTo>
                      <a:pt x="46591" y="64195"/>
                    </a:lnTo>
                    <a:lnTo>
                      <a:pt x="62737" y="65767"/>
                    </a:lnTo>
                    <a:lnTo>
                      <a:pt x="63945" y="68304"/>
                    </a:lnTo>
                    <a:lnTo>
                      <a:pt x="77691" y="96785"/>
                    </a:lnTo>
                    <a:lnTo>
                      <a:pt x="88525" y="100666"/>
                    </a:lnTo>
                    <a:lnTo>
                      <a:pt x="98323" y="128154"/>
                    </a:lnTo>
                    <a:lnTo>
                      <a:pt x="102922" y="137682"/>
                    </a:lnTo>
                    <a:lnTo>
                      <a:pt x="122471" y="142261"/>
                    </a:lnTo>
                    <a:lnTo>
                      <a:pt x="120656" y="157692"/>
                    </a:lnTo>
                    <a:lnTo>
                      <a:pt x="112438" y="164774"/>
                    </a:lnTo>
                    <a:lnTo>
                      <a:pt x="119037" y="177248"/>
                    </a:lnTo>
                    <a:lnTo>
                      <a:pt x="104385" y="189893"/>
                    </a:lnTo>
                    <a:lnTo>
                      <a:pt x="82437" y="189668"/>
                    </a:lnTo>
                    <a:lnTo>
                      <a:pt x="54414" y="196268"/>
                    </a:lnTo>
                    <a:lnTo>
                      <a:pt x="46828" y="191504"/>
                    </a:lnTo>
                    <a:lnTo>
                      <a:pt x="35741" y="202781"/>
                    </a:lnTo>
                    <a:lnTo>
                      <a:pt x="20568" y="199998"/>
                    </a:lnTo>
                    <a:lnTo>
                      <a:pt x="8728" y="209170"/>
                    </a:lnTo>
                    <a:lnTo>
                      <a:pt x="108" y="204318"/>
                    </a:lnTo>
                    <a:lnTo>
                      <a:pt x="24916" y="179066"/>
                    </a:lnTo>
                    <a:lnTo>
                      <a:pt x="39649" y="173896"/>
                    </a:lnTo>
                    <a:lnTo>
                      <a:pt x="39521" y="173876"/>
                    </a:lnTo>
                    <a:lnTo>
                      <a:pt x="14165" y="169778"/>
                    </a:lnTo>
                    <a:lnTo>
                      <a:pt x="9856" y="160160"/>
                    </a:lnTo>
                    <a:lnTo>
                      <a:pt x="27005" y="152742"/>
                    </a:lnTo>
                    <a:lnTo>
                      <a:pt x="18513" y="139718"/>
                    </a:lnTo>
                    <a:lnTo>
                      <a:pt x="22015" y="123927"/>
                    </a:lnTo>
                    <a:lnTo>
                      <a:pt x="45771" y="126178"/>
                    </a:lnTo>
                    <a:lnTo>
                      <a:pt x="45799" y="126180"/>
                    </a:lnTo>
                    <a:lnTo>
                      <a:pt x="48412" y="112180"/>
                    </a:lnTo>
                    <a:lnTo>
                      <a:pt x="38073" y="97294"/>
                    </a:lnTo>
                    <a:lnTo>
                      <a:pt x="37839" y="96954"/>
                    </a:lnTo>
                    <a:lnTo>
                      <a:pt x="18732" y="92647"/>
                    </a:lnTo>
                    <a:lnTo>
                      <a:pt x="15173" y="86104"/>
                    </a:lnTo>
                    <a:lnTo>
                      <a:pt x="21232" y="75345"/>
                    </a:lnTo>
                    <a:lnTo>
                      <a:pt x="16284" y="68679"/>
                    </a:lnTo>
                    <a:lnTo>
                      <a:pt x="7440" y="80051"/>
                    </a:lnTo>
                    <a:lnTo>
                      <a:pt x="7370" y="56795"/>
                    </a:lnTo>
                    <a:lnTo>
                      <a:pt x="0" y="44455"/>
                    </a:lnTo>
                    <a:lnTo>
                      <a:pt x="6600" y="19541"/>
                    </a:lnTo>
                    <a:lnTo>
                      <a:pt x="19187" y="23"/>
                    </a:lnTo>
                    <a:lnTo>
                      <a:pt x="31270" y="1978"/>
                    </a:lnTo>
                    <a:lnTo>
                      <a:pt x="49671" y="0"/>
                    </a:lnTo>
                    <a:lnTo>
                      <a:pt x="49671" y="0"/>
                    </a:lnTo>
                  </a:path>
                </a:pathLst>
              </a:custGeom>
              <a:ln w="5400">
                <a:solidFill>
                  <a:srgbClr val="7F7F7F">
                    <a:alpha val="100000"/>
                  </a:srgbClr>
                </a:solidFill>
                <a:prstDash val="solid"/>
                <a:round/>
              </a:ln>
            </p:spPr>
            <p:txBody>
              <a:bodyPr/>
              <a:lstStyle/>
              <a:p/>
            </p:txBody>
          </p:sp>
          <p:sp>
            <p:nvSpPr>
              <p:cNvPr id="246" name="Polyline form 211"/>
              <p:cNvSpPr/>
              <p:nvPr/>
            </p:nvSpPr>
            <p:spPr>
              <a:xfrm>
                <a:off x="3839651" y="2800558"/>
                <a:ext cx="30845" cy="31532"/>
              </a:xfrm>
              <a:custGeom>
                <a:avLst/>
                <a:gdLst/>
                <a:ahLst/>
                <a:cxnLst/>
                <a:rect l="0" t="0" r="0" b="0"/>
                <a:pathLst>
                  <a:path w="30845" h="31532">
                    <a:moveTo>
                      <a:pt x="30845" y="14996"/>
                    </a:moveTo>
                    <a:lnTo>
                      <a:pt x="21707" y="31532"/>
                    </a:lnTo>
                    <a:lnTo>
                      <a:pt x="9863" y="26499"/>
                    </a:lnTo>
                    <a:lnTo>
                      <a:pt x="0" y="26776"/>
                    </a:lnTo>
                    <a:lnTo>
                      <a:pt x="3880" y="13867"/>
                    </a:lnTo>
                    <a:lnTo>
                      <a:pt x="1236" y="922"/>
                    </a:lnTo>
                    <a:lnTo>
                      <a:pt x="14493" y="0"/>
                    </a:lnTo>
                    <a:lnTo>
                      <a:pt x="30845" y="14996"/>
                    </a:lnTo>
                    <a:lnTo>
                      <a:pt x="30845" y="14996"/>
                    </a:lnTo>
                  </a:path>
                </a:pathLst>
              </a:custGeom>
              <a:ln w="5400">
                <a:solidFill>
                  <a:srgbClr val="7F7F7F">
                    <a:alpha val="100000"/>
                  </a:srgbClr>
                </a:solidFill>
                <a:prstDash val="solid"/>
                <a:round/>
              </a:ln>
            </p:spPr>
            <p:txBody>
              <a:bodyPr/>
              <a:lstStyle/>
              <a:p/>
            </p:txBody>
          </p:sp>
          <p:sp>
            <p:nvSpPr>
              <p:cNvPr id="247" name="Polygon form 212"/>
              <p:cNvSpPr/>
              <p:nvPr/>
            </p:nvSpPr>
            <p:spPr>
              <a:xfrm>
                <a:off x="4651627" y="3072146"/>
                <a:ext cx="126999" cy="58061"/>
              </a:xfrm>
              <a:custGeom>
                <a:avLst/>
                <a:gdLst/>
                <a:ahLst/>
                <a:cxnLst/>
                <a:rect l="0" t="0" r="0" b="0"/>
                <a:pathLst>
                  <a:path w="126999" h="58061">
                    <a:moveTo>
                      <a:pt x="36530" y="48248"/>
                    </a:moveTo>
                    <a:lnTo>
                      <a:pt x="37146" y="37813"/>
                    </a:lnTo>
                    <a:lnTo>
                      <a:pt x="29601" y="21382"/>
                    </a:lnTo>
                    <a:lnTo>
                      <a:pt x="17860" y="12713"/>
                    </a:lnTo>
                    <a:lnTo>
                      <a:pt x="7749" y="10178"/>
                    </a:lnTo>
                    <a:lnTo>
                      <a:pt x="0" y="2918"/>
                    </a:lnTo>
                    <a:lnTo>
                      <a:pt x="1550" y="0"/>
                    </a:lnTo>
                    <a:lnTo>
                      <a:pt x="16920" y="3756"/>
                    </a:lnTo>
                    <a:lnTo>
                      <a:pt x="43090" y="6988"/>
                    </a:lnTo>
                    <a:lnTo>
                      <a:pt x="68992" y="17958"/>
                    </a:lnTo>
                    <a:lnTo>
                      <a:pt x="72957" y="22382"/>
                    </a:lnTo>
                    <a:lnTo>
                      <a:pt x="82659" y="18270"/>
                    </a:lnTo>
                    <a:lnTo>
                      <a:pt x="99877" y="22876"/>
                    </a:lnTo>
                    <a:lnTo>
                      <a:pt x="107308" y="32684"/>
                    </a:lnTo>
                    <a:lnTo>
                      <a:pt x="119430" y="37990"/>
                    </a:lnTo>
                    <a:lnTo>
                      <a:pt x="115630" y="41473"/>
                    </a:lnTo>
                    <a:lnTo>
                      <a:pt x="126999" y="54367"/>
                    </a:lnTo>
                    <a:lnTo>
                      <a:pt x="125218" y="57286"/>
                    </a:lnTo>
                    <a:lnTo>
                      <a:pt x="115497" y="56117"/>
                    </a:lnTo>
                    <a:lnTo>
                      <a:pt x="101042" y="49506"/>
                    </a:lnTo>
                    <a:lnTo>
                      <a:pt x="97579" y="53595"/>
                    </a:lnTo>
                    <a:lnTo>
                      <a:pt x="74050" y="58061"/>
                    </a:lnTo>
                    <a:lnTo>
                      <a:pt x="54895" y="46600"/>
                    </a:lnTo>
                    <a:lnTo>
                      <a:pt x="36530" y="48248"/>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248" name="Polygon form 213"/>
              <p:cNvSpPr/>
              <p:nvPr/>
            </p:nvSpPr>
            <p:spPr>
              <a:xfrm>
                <a:off x="3896367" y="3864096"/>
                <a:ext cx="84774" cy="154100"/>
              </a:xfrm>
              <a:custGeom>
                <a:avLst/>
                <a:gdLst/>
                <a:ahLst/>
                <a:cxnLst/>
                <a:rect l="0" t="0" r="0" b="0"/>
                <a:pathLst>
                  <a:path w="84774" h="154100">
                    <a:moveTo>
                      <a:pt x="84774" y="124710"/>
                    </a:moveTo>
                    <a:lnTo>
                      <a:pt x="53888" y="138832"/>
                    </a:lnTo>
                    <a:lnTo>
                      <a:pt x="42928" y="147104"/>
                    </a:lnTo>
                    <a:lnTo>
                      <a:pt x="25160" y="154100"/>
                    </a:lnTo>
                    <a:lnTo>
                      <a:pt x="7596" y="147245"/>
                    </a:lnTo>
                    <a:lnTo>
                      <a:pt x="8506" y="137726"/>
                    </a:lnTo>
                    <a:lnTo>
                      <a:pt x="0" y="116941"/>
                    </a:lnTo>
                    <a:lnTo>
                      <a:pt x="5192" y="89700"/>
                    </a:lnTo>
                    <a:lnTo>
                      <a:pt x="13524" y="69439"/>
                    </a:lnTo>
                    <a:lnTo>
                      <a:pt x="8397" y="35111"/>
                    </a:lnTo>
                    <a:lnTo>
                      <a:pt x="5775" y="16946"/>
                    </a:lnTo>
                    <a:lnTo>
                      <a:pt x="6279" y="3258"/>
                    </a:lnTo>
                    <a:lnTo>
                      <a:pt x="40316" y="2133"/>
                    </a:lnTo>
                    <a:lnTo>
                      <a:pt x="48970" y="3893"/>
                    </a:lnTo>
                    <a:lnTo>
                      <a:pt x="55298" y="0"/>
                    </a:lnTo>
                    <a:lnTo>
                      <a:pt x="64358" y="1922"/>
                    </a:lnTo>
                    <a:lnTo>
                      <a:pt x="62916" y="9443"/>
                    </a:lnTo>
                    <a:lnTo>
                      <a:pt x="71102" y="21884"/>
                    </a:lnTo>
                    <a:lnTo>
                      <a:pt x="71075" y="39403"/>
                    </a:lnTo>
                    <a:lnTo>
                      <a:pt x="72954" y="58408"/>
                    </a:lnTo>
                    <a:lnTo>
                      <a:pt x="77888" y="67207"/>
                    </a:lnTo>
                    <a:lnTo>
                      <a:pt x="73551" y="88936"/>
                    </a:lnTo>
                    <a:lnTo>
                      <a:pt x="75119" y="100935"/>
                    </a:lnTo>
                    <a:lnTo>
                      <a:pt x="80374" y="116239"/>
                    </a:lnTo>
                    <a:lnTo>
                      <a:pt x="84774" y="124710"/>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249" name="Polygon form 214"/>
              <p:cNvSpPr/>
              <p:nvPr/>
            </p:nvSpPr>
            <p:spPr>
              <a:xfrm>
                <a:off x="3663840" y="3827845"/>
                <a:ext cx="142512" cy="127576"/>
              </a:xfrm>
              <a:custGeom>
                <a:avLst/>
                <a:gdLst/>
                <a:ahLst/>
                <a:cxnLst/>
                <a:rect l="0" t="0" r="0" b="0"/>
                <a:pathLst>
                  <a:path w="142512" h="127576">
                    <a:moveTo>
                      <a:pt x="130430" y="118486"/>
                    </a:moveTo>
                    <a:lnTo>
                      <a:pt x="124872" y="117862"/>
                    </a:lnTo>
                    <a:lnTo>
                      <a:pt x="120794" y="127576"/>
                    </a:lnTo>
                    <a:lnTo>
                      <a:pt x="115232" y="127452"/>
                    </a:lnTo>
                    <a:lnTo>
                      <a:pt x="111441" y="122307"/>
                    </a:lnTo>
                    <a:lnTo>
                      <a:pt x="112812" y="112614"/>
                    </a:lnTo>
                    <a:lnTo>
                      <a:pt x="104712" y="97819"/>
                    </a:lnTo>
                    <a:lnTo>
                      <a:pt x="99555" y="100530"/>
                    </a:lnTo>
                    <a:lnTo>
                      <a:pt x="95354" y="101062"/>
                    </a:lnTo>
                    <a:lnTo>
                      <a:pt x="89929" y="102438"/>
                    </a:lnTo>
                    <a:lnTo>
                      <a:pt x="90229" y="93588"/>
                    </a:lnTo>
                    <a:lnTo>
                      <a:pt x="87137" y="87267"/>
                    </a:lnTo>
                    <a:lnTo>
                      <a:pt x="87842" y="80249"/>
                    </a:lnTo>
                    <a:lnTo>
                      <a:pt x="83692" y="70095"/>
                    </a:lnTo>
                    <a:lnTo>
                      <a:pt x="78327" y="61452"/>
                    </a:lnTo>
                    <a:lnTo>
                      <a:pt x="62638" y="61397"/>
                    </a:lnTo>
                    <a:lnTo>
                      <a:pt x="58010" y="65938"/>
                    </a:lnTo>
                    <a:lnTo>
                      <a:pt x="52595" y="66477"/>
                    </a:lnTo>
                    <a:lnTo>
                      <a:pt x="49179" y="71678"/>
                    </a:lnTo>
                    <a:lnTo>
                      <a:pt x="46835" y="78374"/>
                    </a:lnTo>
                    <a:lnTo>
                      <a:pt x="36208" y="88972"/>
                    </a:lnTo>
                    <a:lnTo>
                      <a:pt x="27776" y="74665"/>
                    </a:lnTo>
                    <a:lnTo>
                      <a:pt x="20274" y="65195"/>
                    </a:lnTo>
                    <a:lnTo>
                      <a:pt x="15296" y="62055"/>
                    </a:lnTo>
                    <a:lnTo>
                      <a:pt x="10471" y="57243"/>
                    </a:lnTo>
                    <a:lnTo>
                      <a:pt x="8412" y="46565"/>
                    </a:lnTo>
                    <a:lnTo>
                      <a:pt x="5630" y="41237"/>
                    </a:lnTo>
                    <a:lnTo>
                      <a:pt x="0" y="37264"/>
                    </a:lnTo>
                    <a:lnTo>
                      <a:pt x="8910" y="25512"/>
                    </a:lnTo>
                    <a:lnTo>
                      <a:pt x="14844" y="25976"/>
                    </a:lnTo>
                    <a:lnTo>
                      <a:pt x="20017" y="21935"/>
                    </a:lnTo>
                    <a:lnTo>
                      <a:pt x="24335" y="21907"/>
                    </a:lnTo>
                    <a:lnTo>
                      <a:pt x="27474" y="18714"/>
                    </a:lnTo>
                    <a:lnTo>
                      <a:pt x="25944" y="10706"/>
                    </a:lnTo>
                    <a:lnTo>
                      <a:pt x="28129" y="8187"/>
                    </a:lnTo>
                    <a:lnTo>
                      <a:pt x="28629" y="0"/>
                    </a:lnTo>
                    <a:lnTo>
                      <a:pt x="38058" y="274"/>
                    </a:lnTo>
                    <a:lnTo>
                      <a:pt x="52013" y="6196"/>
                    </a:lnTo>
                    <a:lnTo>
                      <a:pt x="56332" y="5666"/>
                    </a:lnTo>
                    <a:lnTo>
                      <a:pt x="57841" y="2984"/>
                    </a:lnTo>
                    <a:lnTo>
                      <a:pt x="68472" y="4918"/>
                    </a:lnTo>
                    <a:lnTo>
                      <a:pt x="71315" y="3562"/>
                    </a:lnTo>
                    <a:lnTo>
                      <a:pt x="72317" y="12405"/>
                    </a:lnTo>
                    <a:lnTo>
                      <a:pt x="75420" y="12384"/>
                    </a:lnTo>
                    <a:lnTo>
                      <a:pt x="80570" y="9178"/>
                    </a:lnTo>
                    <a:lnTo>
                      <a:pt x="83800" y="9990"/>
                    </a:lnTo>
                    <a:lnTo>
                      <a:pt x="89150" y="16130"/>
                    </a:lnTo>
                    <a:lnTo>
                      <a:pt x="97500" y="18075"/>
                    </a:lnTo>
                    <a:lnTo>
                      <a:pt x="102929" y="12861"/>
                    </a:lnTo>
                    <a:lnTo>
                      <a:pt x="109288" y="9644"/>
                    </a:lnTo>
                    <a:lnTo>
                      <a:pt x="114027" y="6272"/>
                    </a:lnTo>
                    <a:lnTo>
                      <a:pt x="117933" y="6912"/>
                    </a:lnTo>
                    <a:lnTo>
                      <a:pt x="122219" y="12222"/>
                    </a:lnTo>
                    <a:lnTo>
                      <a:pt x="124479" y="18883"/>
                    </a:lnTo>
                    <a:lnTo>
                      <a:pt x="132398" y="29005"/>
                    </a:lnTo>
                    <a:lnTo>
                      <a:pt x="128323" y="35212"/>
                    </a:lnTo>
                    <a:lnTo>
                      <a:pt x="127483" y="43063"/>
                    </a:lnTo>
                    <a:lnTo>
                      <a:pt x="131679" y="40695"/>
                    </a:lnTo>
                    <a:lnTo>
                      <a:pt x="134102" y="43514"/>
                    </a:lnTo>
                    <a:lnTo>
                      <a:pt x="132998" y="50700"/>
                    </a:lnTo>
                    <a:lnTo>
                      <a:pt x="138927" y="57665"/>
                    </a:lnTo>
                    <a:lnTo>
                      <a:pt x="135000" y="59531"/>
                    </a:lnTo>
                    <a:lnTo>
                      <a:pt x="133356" y="67722"/>
                    </a:lnTo>
                    <a:lnTo>
                      <a:pt x="137801" y="77702"/>
                    </a:lnTo>
                    <a:lnTo>
                      <a:pt x="142512" y="97027"/>
                    </a:lnTo>
                    <a:lnTo>
                      <a:pt x="135193" y="99922"/>
                    </a:lnTo>
                    <a:lnTo>
                      <a:pt x="133291" y="103275"/>
                    </a:lnTo>
                    <a:lnTo>
                      <a:pt x="134778" y="107937"/>
                    </a:lnTo>
                    <a:lnTo>
                      <a:pt x="133550" y="118462"/>
                    </a:lnTo>
                    <a:lnTo>
                      <a:pt x="130430" y="118486"/>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250" name="Polygon form 215"/>
              <p:cNvSpPr/>
              <p:nvPr/>
            </p:nvSpPr>
            <p:spPr>
              <a:xfrm>
                <a:off x="3631379" y="3796599"/>
                <a:ext cx="58675" cy="17974"/>
              </a:xfrm>
              <a:custGeom>
                <a:avLst/>
                <a:gdLst/>
                <a:ahLst/>
                <a:cxnLst/>
                <a:rect l="0" t="0" r="0" b="0"/>
                <a:pathLst>
                  <a:path w="58675" h="17974">
                    <a:moveTo>
                      <a:pt x="0" y="17405"/>
                    </a:moveTo>
                    <a:lnTo>
                      <a:pt x="2741" y="6694"/>
                    </a:lnTo>
                    <a:lnTo>
                      <a:pt x="24007" y="6075"/>
                    </a:lnTo>
                    <a:lnTo>
                      <a:pt x="28537" y="369"/>
                    </a:lnTo>
                    <a:lnTo>
                      <a:pt x="34729" y="0"/>
                    </a:lnTo>
                    <a:lnTo>
                      <a:pt x="42304" y="5970"/>
                    </a:lnTo>
                    <a:lnTo>
                      <a:pt x="48356" y="6102"/>
                    </a:lnTo>
                    <a:lnTo>
                      <a:pt x="54870" y="2054"/>
                    </a:lnTo>
                    <a:lnTo>
                      <a:pt x="58675" y="9046"/>
                    </a:lnTo>
                    <a:lnTo>
                      <a:pt x="50124" y="14443"/>
                    </a:lnTo>
                    <a:lnTo>
                      <a:pt x="41650" y="13992"/>
                    </a:lnTo>
                    <a:lnTo>
                      <a:pt x="33381" y="8862"/>
                    </a:lnTo>
                    <a:lnTo>
                      <a:pt x="26030" y="14418"/>
                    </a:lnTo>
                    <a:lnTo>
                      <a:pt x="22527" y="14605"/>
                    </a:lnTo>
                    <a:lnTo>
                      <a:pt x="17763" y="17974"/>
                    </a:lnTo>
                    <a:lnTo>
                      <a:pt x="0" y="17405"/>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251" name="Polygon form 216"/>
              <p:cNvSpPr/>
              <p:nvPr/>
            </p:nvSpPr>
            <p:spPr>
              <a:xfrm>
                <a:off x="3634180" y="3826728"/>
                <a:ext cx="58289" cy="38382"/>
              </a:xfrm>
              <a:custGeom>
                <a:avLst/>
                <a:gdLst/>
                <a:ahLst/>
                <a:cxnLst/>
                <a:rect l="0" t="0" r="0" b="0"/>
                <a:pathLst>
                  <a:path w="58289" h="38382">
                    <a:moveTo>
                      <a:pt x="29660" y="38382"/>
                    </a:moveTo>
                    <a:lnTo>
                      <a:pt x="19383" y="28254"/>
                    </a:lnTo>
                    <a:lnTo>
                      <a:pt x="11170" y="26633"/>
                    </a:lnTo>
                    <a:lnTo>
                      <a:pt x="6809" y="19807"/>
                    </a:lnTo>
                    <a:lnTo>
                      <a:pt x="6996" y="16130"/>
                    </a:lnTo>
                    <a:lnTo>
                      <a:pt x="1136" y="10984"/>
                    </a:lnTo>
                    <a:lnTo>
                      <a:pt x="0" y="5810"/>
                    </a:lnTo>
                    <a:lnTo>
                      <a:pt x="10438" y="1906"/>
                    </a:lnTo>
                    <a:lnTo>
                      <a:pt x="16895" y="2704"/>
                    </a:lnTo>
                    <a:lnTo>
                      <a:pt x="22190" y="0"/>
                    </a:lnTo>
                    <a:lnTo>
                      <a:pt x="58289" y="1118"/>
                    </a:lnTo>
                    <a:lnTo>
                      <a:pt x="57789" y="9304"/>
                    </a:lnTo>
                    <a:lnTo>
                      <a:pt x="55604" y="11823"/>
                    </a:lnTo>
                    <a:lnTo>
                      <a:pt x="57134" y="19831"/>
                    </a:lnTo>
                    <a:lnTo>
                      <a:pt x="53996" y="23025"/>
                    </a:lnTo>
                    <a:lnTo>
                      <a:pt x="49677" y="23053"/>
                    </a:lnTo>
                    <a:lnTo>
                      <a:pt x="44504" y="27094"/>
                    </a:lnTo>
                    <a:lnTo>
                      <a:pt x="38570" y="26630"/>
                    </a:lnTo>
                    <a:lnTo>
                      <a:pt x="29660" y="38382"/>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252" name="Polygon form 217"/>
              <p:cNvSpPr/>
              <p:nvPr/>
            </p:nvSpPr>
            <p:spPr>
              <a:xfrm>
                <a:off x="4143947" y="4076706"/>
                <a:ext cx="39077" cy="30747"/>
              </a:xfrm>
              <a:custGeom>
                <a:avLst/>
                <a:gdLst/>
                <a:ahLst/>
                <a:cxnLst/>
                <a:rect l="0" t="0" r="0" b="0"/>
                <a:pathLst>
                  <a:path w="39077" h="30747">
                    <a:moveTo>
                      <a:pt x="3701" y="30747"/>
                    </a:moveTo>
                    <a:lnTo>
                      <a:pt x="0" y="27108"/>
                    </a:lnTo>
                    <a:lnTo>
                      <a:pt x="6736" y="0"/>
                    </a:lnTo>
                    <a:lnTo>
                      <a:pt x="38851" y="539"/>
                    </a:lnTo>
                    <a:lnTo>
                      <a:pt x="39077" y="29593"/>
                    </a:lnTo>
                    <a:lnTo>
                      <a:pt x="10359" y="29351"/>
                    </a:lnTo>
                    <a:lnTo>
                      <a:pt x="3701" y="30747"/>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253" name="Polygon form 218"/>
              <p:cNvSpPr/>
              <p:nvPr/>
            </p:nvSpPr>
            <p:spPr>
              <a:xfrm>
                <a:off x="4317854" y="3119080"/>
                <a:ext cx="108876" cy="131885"/>
              </a:xfrm>
              <a:custGeom>
                <a:avLst/>
                <a:gdLst/>
                <a:ahLst/>
                <a:cxnLst/>
                <a:rect l="0" t="0" r="0" b="0"/>
                <a:pathLst>
                  <a:path w="108876" h="131885">
                    <a:moveTo>
                      <a:pt x="108876" y="6262"/>
                    </a:moveTo>
                    <a:lnTo>
                      <a:pt x="105251" y="21485"/>
                    </a:lnTo>
                    <a:lnTo>
                      <a:pt x="101390" y="24263"/>
                    </a:lnTo>
                    <a:lnTo>
                      <a:pt x="90595" y="23745"/>
                    </a:lnTo>
                    <a:lnTo>
                      <a:pt x="81162" y="21602"/>
                    </a:lnTo>
                    <a:lnTo>
                      <a:pt x="60535" y="28202"/>
                    </a:lnTo>
                    <a:lnTo>
                      <a:pt x="74203" y="41612"/>
                    </a:lnTo>
                    <a:lnTo>
                      <a:pt x="65636" y="45683"/>
                    </a:lnTo>
                    <a:lnTo>
                      <a:pt x="55787" y="45847"/>
                    </a:lnTo>
                    <a:lnTo>
                      <a:pt x="45185" y="33529"/>
                    </a:lnTo>
                    <a:lnTo>
                      <a:pt x="42402" y="38878"/>
                    </a:lnTo>
                    <a:lnTo>
                      <a:pt x="47783" y="53259"/>
                    </a:lnTo>
                    <a:lnTo>
                      <a:pt x="57783" y="64481"/>
                    </a:lnTo>
                    <a:lnTo>
                      <a:pt x="51601" y="69869"/>
                    </a:lnTo>
                    <a:lnTo>
                      <a:pt x="62611" y="80876"/>
                    </a:lnTo>
                    <a:lnTo>
                      <a:pt x="72141" y="87765"/>
                    </a:lnTo>
                    <a:lnTo>
                      <a:pt x="73756" y="101422"/>
                    </a:lnTo>
                    <a:lnTo>
                      <a:pt x="56570" y="95238"/>
                    </a:lnTo>
                    <a:lnTo>
                      <a:pt x="63024" y="107498"/>
                    </a:lnTo>
                    <a:lnTo>
                      <a:pt x="51858" y="110185"/>
                    </a:lnTo>
                    <a:lnTo>
                      <a:pt x="60632" y="131432"/>
                    </a:lnTo>
                    <a:lnTo>
                      <a:pt x="48672" y="131885"/>
                    </a:lnTo>
                    <a:lnTo>
                      <a:pt x="32973" y="121552"/>
                    </a:lnTo>
                    <a:lnTo>
                      <a:pt x="24566" y="102298"/>
                    </a:lnTo>
                    <a:lnTo>
                      <a:pt x="20035" y="86258"/>
                    </a:lnTo>
                    <a:lnTo>
                      <a:pt x="12106" y="75235"/>
                    </a:lnTo>
                    <a:lnTo>
                      <a:pt x="1797" y="61566"/>
                    </a:lnTo>
                    <a:lnTo>
                      <a:pt x="0" y="54700"/>
                    </a:lnTo>
                    <a:lnTo>
                      <a:pt x="7198" y="42882"/>
                    </a:lnTo>
                    <a:lnTo>
                      <a:pt x="7546" y="35017"/>
                    </a:lnTo>
                    <a:lnTo>
                      <a:pt x="12956" y="31441"/>
                    </a:lnTo>
                    <a:lnTo>
                      <a:pt x="12717" y="25089"/>
                    </a:lnTo>
                    <a:lnTo>
                      <a:pt x="24022" y="22800"/>
                    </a:lnTo>
                    <a:lnTo>
                      <a:pt x="30205" y="17428"/>
                    </a:lnTo>
                    <a:lnTo>
                      <a:pt x="39771" y="17765"/>
                    </a:lnTo>
                    <a:lnTo>
                      <a:pt x="42228" y="13513"/>
                    </a:lnTo>
                    <a:lnTo>
                      <a:pt x="45489" y="12663"/>
                    </a:lnTo>
                    <a:lnTo>
                      <a:pt x="58539" y="13175"/>
                    </a:lnTo>
                    <a:lnTo>
                      <a:pt x="71844" y="6323"/>
                    </a:lnTo>
                    <a:lnTo>
                      <a:pt x="85145" y="14580"/>
                    </a:lnTo>
                    <a:lnTo>
                      <a:pt x="100824" y="12044"/>
                    </a:lnTo>
                    <a:lnTo>
                      <a:pt x="99583" y="0"/>
                    </a:lnTo>
                    <a:lnTo>
                      <a:pt x="108876" y="6262"/>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54" name="Polygon form 219"/>
              <p:cNvSpPr/>
              <p:nvPr/>
            </p:nvSpPr>
            <p:spPr>
              <a:xfrm>
                <a:off x="4387497" y="3267734"/>
                <a:ext cx="50318" cy="18743"/>
              </a:xfrm>
              <a:custGeom>
                <a:avLst/>
                <a:gdLst/>
                <a:ahLst/>
                <a:cxnLst/>
                <a:rect l="0" t="0" r="0" b="0"/>
                <a:pathLst>
                  <a:path w="50318" h="18743">
                    <a:moveTo>
                      <a:pt x="2431" y="0"/>
                    </a:moveTo>
                    <a:lnTo>
                      <a:pt x="13086" y="8021"/>
                    </a:lnTo>
                    <a:lnTo>
                      <a:pt x="27076" y="6456"/>
                    </a:lnTo>
                    <a:lnTo>
                      <a:pt x="40740" y="7988"/>
                    </a:lnTo>
                    <a:lnTo>
                      <a:pt x="40712" y="12204"/>
                    </a:lnTo>
                    <a:lnTo>
                      <a:pt x="50318" y="9163"/>
                    </a:lnTo>
                    <a:lnTo>
                      <a:pt x="48754" y="16332"/>
                    </a:lnTo>
                    <a:lnTo>
                      <a:pt x="22773" y="18743"/>
                    </a:lnTo>
                    <a:lnTo>
                      <a:pt x="22585" y="14750"/>
                    </a:lnTo>
                    <a:lnTo>
                      <a:pt x="0" y="10320"/>
                    </a:lnTo>
                    <a:lnTo>
                      <a:pt x="2431" y="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55" name="Polygon form 220"/>
              <p:cNvSpPr/>
              <p:nvPr/>
            </p:nvSpPr>
            <p:spPr>
              <a:xfrm>
                <a:off x="3154095" y="2110952"/>
                <a:ext cx="680457" cy="560405"/>
              </a:xfrm>
              <a:custGeom>
                <a:avLst/>
                <a:gdLst/>
                <a:ahLst/>
                <a:cxnLst/>
                <a:rect l="0" t="0" r="0" b="0"/>
                <a:pathLst>
                  <a:path w="680457" h="560405">
                    <a:moveTo>
                      <a:pt x="344098" y="21530"/>
                    </a:moveTo>
                    <a:lnTo>
                      <a:pt x="384219" y="8296"/>
                    </a:lnTo>
                    <a:lnTo>
                      <a:pt x="417578" y="10107"/>
                    </a:lnTo>
                    <a:lnTo>
                      <a:pt x="433945" y="1639"/>
                    </a:lnTo>
                    <a:lnTo>
                      <a:pt x="468781" y="0"/>
                    </a:lnTo>
                    <a:lnTo>
                      <a:pt x="544341" y="4209"/>
                    </a:lnTo>
                    <a:lnTo>
                      <a:pt x="599958" y="23977"/>
                    </a:lnTo>
                    <a:lnTo>
                      <a:pt x="579288" y="32987"/>
                    </a:lnTo>
                    <a:lnTo>
                      <a:pt x="540828" y="33503"/>
                    </a:lnTo>
                    <a:lnTo>
                      <a:pt x="486338" y="34933"/>
                    </a:lnTo>
                    <a:lnTo>
                      <a:pt x="489814" y="39278"/>
                    </a:lnTo>
                    <a:lnTo>
                      <a:pt x="526193" y="37259"/>
                    </a:lnTo>
                    <a:lnTo>
                      <a:pt x="554009" y="45977"/>
                    </a:lnTo>
                    <a:lnTo>
                      <a:pt x="575597" y="38915"/>
                    </a:lnTo>
                    <a:lnTo>
                      <a:pt x="581762" y="47627"/>
                    </a:lnTo>
                    <a:lnTo>
                      <a:pt x="566943" y="61425"/>
                    </a:lnTo>
                    <a:lnTo>
                      <a:pt x="595266" y="52852"/>
                    </a:lnTo>
                    <a:lnTo>
                      <a:pt x="646535" y="44068"/>
                    </a:lnTo>
                    <a:lnTo>
                      <a:pt x="676176" y="48984"/>
                    </a:lnTo>
                    <a:lnTo>
                      <a:pt x="680457" y="59318"/>
                    </a:lnTo>
                    <a:lnTo>
                      <a:pt x="635388" y="76065"/>
                    </a:lnTo>
                    <a:lnTo>
                      <a:pt x="628435" y="81535"/>
                    </a:lnTo>
                    <a:lnTo>
                      <a:pt x="593859" y="85287"/>
                    </a:lnTo>
                    <a:lnTo>
                      <a:pt x="618118" y="86742"/>
                    </a:lnTo>
                    <a:lnTo>
                      <a:pt x="602095" y="104117"/>
                    </a:lnTo>
                    <a:lnTo>
                      <a:pt x="590094" y="119594"/>
                    </a:lnTo>
                    <a:lnTo>
                      <a:pt x="584847" y="146344"/>
                    </a:lnTo>
                    <a:lnTo>
                      <a:pt x="595305" y="162233"/>
                    </a:lnTo>
                    <a:lnTo>
                      <a:pt x="577304" y="162974"/>
                    </a:lnTo>
                    <a:lnTo>
                      <a:pt x="556866" y="170288"/>
                    </a:lnTo>
                    <a:lnTo>
                      <a:pt x="575458" y="183356"/>
                    </a:lnTo>
                    <a:lnTo>
                      <a:pt x="574155" y="203833"/>
                    </a:lnTo>
                    <a:lnTo>
                      <a:pt x="561068" y="205863"/>
                    </a:lnTo>
                    <a:lnTo>
                      <a:pt x="572442" y="226794"/>
                    </a:lnTo>
                    <a:lnTo>
                      <a:pt x="545342" y="228093"/>
                    </a:lnTo>
                    <a:lnTo>
                      <a:pt x="557374" y="238105"/>
                    </a:lnTo>
                    <a:lnTo>
                      <a:pt x="551694" y="246526"/>
                    </a:lnTo>
                    <a:lnTo>
                      <a:pt x="533667" y="249956"/>
                    </a:lnTo>
                    <a:lnTo>
                      <a:pt x="516572" y="249716"/>
                    </a:lnTo>
                    <a:lnTo>
                      <a:pt x="528471" y="266284"/>
                    </a:lnTo>
                    <a:lnTo>
                      <a:pt x="526397" y="276994"/>
                    </a:lnTo>
                    <a:lnTo>
                      <a:pt x="503915" y="266584"/>
                    </a:lnTo>
                    <a:lnTo>
                      <a:pt x="496029" y="272891"/>
                    </a:lnTo>
                    <a:lnTo>
                      <a:pt x="511546" y="279230"/>
                    </a:lnTo>
                    <a:lnTo>
                      <a:pt x="524952" y="294234"/>
                    </a:lnTo>
                    <a:lnTo>
                      <a:pt x="525913" y="313696"/>
                    </a:lnTo>
                    <a:lnTo>
                      <a:pt x="502030" y="317908"/>
                    </a:lnTo>
                    <a:lnTo>
                      <a:pt x="494137" y="308443"/>
                    </a:lnTo>
                    <a:lnTo>
                      <a:pt x="481545" y="294313"/>
                    </a:lnTo>
                    <a:lnTo>
                      <a:pt x="482121" y="310718"/>
                    </a:lnTo>
                    <a:lnTo>
                      <a:pt x="464237" y="323043"/>
                    </a:lnTo>
                    <a:lnTo>
                      <a:pt x="498093" y="324764"/>
                    </a:lnTo>
                    <a:lnTo>
                      <a:pt x="515678" y="326413"/>
                    </a:lnTo>
                    <a:lnTo>
                      <a:pt x="476305" y="346680"/>
                    </a:lnTo>
                    <a:lnTo>
                      <a:pt x="436040" y="364856"/>
                    </a:lnTo>
                    <a:lnTo>
                      <a:pt x="394994" y="372215"/>
                    </a:lnTo>
                    <a:lnTo>
                      <a:pt x="380258" y="371936"/>
                    </a:lnTo>
                    <a:lnTo>
                      <a:pt x="363874" y="380820"/>
                    </a:lnTo>
                    <a:lnTo>
                      <a:pt x="337935" y="405656"/>
                    </a:lnTo>
                    <a:lnTo>
                      <a:pt x="303624" y="421625"/>
                    </a:lnTo>
                    <a:lnTo>
                      <a:pt x="293837" y="422324"/>
                    </a:lnTo>
                    <a:lnTo>
                      <a:pt x="273708" y="427642"/>
                    </a:lnTo>
                    <a:lnTo>
                      <a:pt x="252105" y="432602"/>
                    </a:lnTo>
                    <a:lnTo>
                      <a:pt x="235409" y="447050"/>
                    </a:lnTo>
                    <a:lnTo>
                      <a:pt x="229772" y="463878"/>
                    </a:lnTo>
                    <a:lnTo>
                      <a:pt x="217575" y="479407"/>
                    </a:lnTo>
                    <a:lnTo>
                      <a:pt x="188125" y="497819"/>
                    </a:lnTo>
                    <a:lnTo>
                      <a:pt x="187851" y="516810"/>
                    </a:lnTo>
                    <a:lnTo>
                      <a:pt x="175007" y="536468"/>
                    </a:lnTo>
                    <a:lnTo>
                      <a:pt x="160094" y="559694"/>
                    </a:lnTo>
                    <a:lnTo>
                      <a:pt x="138815" y="560405"/>
                    </a:lnTo>
                    <a:lnTo>
                      <a:pt x="123641" y="539942"/>
                    </a:lnTo>
                    <a:lnTo>
                      <a:pt x="94493" y="538669"/>
                    </a:lnTo>
                    <a:lnTo>
                      <a:pt x="85146" y="524914"/>
                    </a:lnTo>
                    <a:lnTo>
                      <a:pt x="84298" y="501061"/>
                    </a:lnTo>
                    <a:lnTo>
                      <a:pt x="71436" y="470180"/>
                    </a:lnTo>
                    <a:lnTo>
                      <a:pt x="70738" y="454259"/>
                    </a:lnTo>
                    <a:lnTo>
                      <a:pt x="77862" y="432674"/>
                    </a:lnTo>
                    <a:lnTo>
                      <a:pt x="68538" y="409760"/>
                    </a:lnTo>
                    <a:lnTo>
                      <a:pt x="81241" y="392385"/>
                    </a:lnTo>
                    <a:lnTo>
                      <a:pt x="76132" y="383566"/>
                    </a:lnTo>
                    <a:lnTo>
                      <a:pt x="101980" y="356300"/>
                    </a:lnTo>
                    <a:lnTo>
                      <a:pt x="125681" y="348304"/>
                    </a:lnTo>
                    <a:lnTo>
                      <a:pt x="135307" y="338559"/>
                    </a:lnTo>
                    <a:lnTo>
                      <a:pt x="146451" y="320065"/>
                    </a:lnTo>
                    <a:lnTo>
                      <a:pt x="127924" y="327863"/>
                    </a:lnTo>
                    <a:lnTo>
                      <a:pt x="119274" y="331096"/>
                    </a:lnTo>
                    <a:lnTo>
                      <a:pt x="106101" y="333971"/>
                    </a:lnTo>
                    <a:lnTo>
                      <a:pt x="94066" y="325488"/>
                    </a:lnTo>
                    <a:lnTo>
                      <a:pt x="101168" y="309311"/>
                    </a:lnTo>
                    <a:lnTo>
                      <a:pt x="112387" y="296908"/>
                    </a:lnTo>
                    <a:lnTo>
                      <a:pt x="124207" y="297090"/>
                    </a:lnTo>
                    <a:lnTo>
                      <a:pt x="146906" y="304537"/>
                    </a:lnTo>
                    <a:lnTo>
                      <a:pt x="132539" y="288506"/>
                    </a:lnTo>
                    <a:lnTo>
                      <a:pt x="125440" y="279888"/>
                    </a:lnTo>
                    <a:lnTo>
                      <a:pt x="111388" y="282662"/>
                    </a:lnTo>
                    <a:lnTo>
                      <a:pt x="104080" y="276313"/>
                    </a:lnTo>
                    <a:lnTo>
                      <a:pt x="129282" y="254880"/>
                    </a:lnTo>
                    <a:lnTo>
                      <a:pt x="126550" y="245740"/>
                    </a:lnTo>
                    <a:lnTo>
                      <a:pt x="125844" y="228985"/>
                    </a:lnTo>
                    <a:lnTo>
                      <a:pt x="125665" y="203350"/>
                    </a:lnTo>
                    <a:lnTo>
                      <a:pt x="116206" y="193544"/>
                    </a:lnTo>
                    <a:lnTo>
                      <a:pt x="122174" y="183722"/>
                    </a:lnTo>
                    <a:lnTo>
                      <a:pt x="100083" y="168600"/>
                    </a:lnTo>
                    <a:lnTo>
                      <a:pt x="77265" y="165751"/>
                    </a:lnTo>
                    <a:lnTo>
                      <a:pt x="46620" y="165190"/>
                    </a:lnTo>
                    <a:lnTo>
                      <a:pt x="18074" y="165468"/>
                    </a:lnTo>
                    <a:lnTo>
                      <a:pt x="10421" y="157404"/>
                    </a:lnTo>
                    <a:lnTo>
                      <a:pt x="2024" y="141858"/>
                    </a:lnTo>
                    <a:lnTo>
                      <a:pt x="36117" y="136118"/>
                    </a:lnTo>
                    <a:lnTo>
                      <a:pt x="58963" y="136009"/>
                    </a:lnTo>
                    <a:lnTo>
                      <a:pt x="16909" y="127628"/>
                    </a:lnTo>
                    <a:lnTo>
                      <a:pt x="0" y="116974"/>
                    </a:lnTo>
                    <a:lnTo>
                      <a:pt x="8560" y="108163"/>
                    </a:lnTo>
                    <a:lnTo>
                      <a:pt x="57156" y="99168"/>
                    </a:lnTo>
                    <a:lnTo>
                      <a:pt x="103827" y="89920"/>
                    </a:lnTo>
                    <a:lnTo>
                      <a:pt x="113984" y="81716"/>
                    </a:lnTo>
                    <a:lnTo>
                      <a:pt x="92370" y="72223"/>
                    </a:lnTo>
                    <a:lnTo>
                      <a:pt x="108279" y="63480"/>
                    </a:lnTo>
                    <a:lnTo>
                      <a:pt x="155245" y="48903"/>
                    </a:lnTo>
                    <a:lnTo>
                      <a:pt x="171605" y="47004"/>
                    </a:lnTo>
                    <a:lnTo>
                      <a:pt x="174974" y="36503"/>
                    </a:lnTo>
                    <a:lnTo>
                      <a:pt x="202704" y="31291"/>
                    </a:lnTo>
                    <a:lnTo>
                      <a:pt x="235446" y="28695"/>
                    </a:lnTo>
                    <a:lnTo>
                      <a:pt x="265807" y="29462"/>
                    </a:lnTo>
                    <a:lnTo>
                      <a:pt x="272056" y="37051"/>
                    </a:lnTo>
                    <a:lnTo>
                      <a:pt x="306030" y="24987"/>
                    </a:lnTo>
                    <a:lnTo>
                      <a:pt x="324533" y="34411"/>
                    </a:lnTo>
                    <a:lnTo>
                      <a:pt x="337469" y="36649"/>
                    </a:lnTo>
                    <a:lnTo>
                      <a:pt x="354208" y="44864"/>
                    </a:lnTo>
                    <a:lnTo>
                      <a:pt x="337222" y="31545"/>
                    </a:lnTo>
                    <a:lnTo>
                      <a:pt x="344098" y="21530"/>
                    </a:lnTo>
                    <a:close/>
                  </a:path>
                </a:pathLst>
              </a:custGeom>
              <a:solidFill>
                <a:srgbClr val="74C476">
                  <a:alpha val="100000"/>
                </a:srgbClr>
              </a:solidFill>
              <a:ln w="5400">
                <a:solidFill>
                  <a:srgbClr val="7F7F7F">
                    <a:alpha val="100000"/>
                  </a:srgbClr>
                </a:solidFill>
                <a:prstDash val="solid"/>
                <a:round/>
              </a:ln>
            </p:spPr>
            <p:txBody>
              <a:bodyPr/>
              <a:lstStyle/>
              <a:p/>
            </p:txBody>
          </p:sp>
          <p:sp>
            <p:nvSpPr>
              <p:cNvPr id="256" name="Polygon form 221"/>
              <p:cNvSpPr/>
              <p:nvPr/>
            </p:nvSpPr>
            <p:spPr>
              <a:xfrm>
                <a:off x="2165800" y="3678349"/>
                <a:ext cx="81932" cy="104066"/>
              </a:xfrm>
              <a:custGeom>
                <a:avLst/>
                <a:gdLst/>
                <a:ahLst/>
                <a:cxnLst/>
                <a:rect l="0" t="0" r="0" b="0"/>
                <a:pathLst>
                  <a:path w="81932" h="104066">
                    <a:moveTo>
                      <a:pt x="38629" y="104066"/>
                    </a:moveTo>
                    <a:lnTo>
                      <a:pt x="29240" y="99412"/>
                    </a:lnTo>
                    <a:lnTo>
                      <a:pt x="17179" y="98678"/>
                    </a:lnTo>
                    <a:lnTo>
                      <a:pt x="8979" y="93428"/>
                    </a:lnTo>
                    <a:lnTo>
                      <a:pt x="0" y="82682"/>
                    </a:lnTo>
                    <a:lnTo>
                      <a:pt x="1539" y="75282"/>
                    </a:lnTo>
                    <a:lnTo>
                      <a:pt x="4659" y="69372"/>
                    </a:lnTo>
                    <a:lnTo>
                      <a:pt x="2612" y="64549"/>
                    </a:lnTo>
                    <a:lnTo>
                      <a:pt x="15092" y="44064"/>
                    </a:lnTo>
                    <a:lnTo>
                      <a:pt x="39916" y="44639"/>
                    </a:lnTo>
                    <a:lnTo>
                      <a:pt x="41757" y="36011"/>
                    </a:lnTo>
                    <a:lnTo>
                      <a:pt x="38871" y="34388"/>
                    </a:lnTo>
                    <a:lnTo>
                      <a:pt x="37606" y="28831"/>
                    </a:lnTo>
                    <a:lnTo>
                      <a:pt x="31421" y="22773"/>
                    </a:lnTo>
                    <a:lnTo>
                      <a:pt x="25648" y="14101"/>
                    </a:lnTo>
                    <a:lnTo>
                      <a:pt x="34362" y="14283"/>
                    </a:lnTo>
                    <a:lnTo>
                      <a:pt x="36799" y="0"/>
                    </a:lnTo>
                    <a:lnTo>
                      <a:pt x="54768" y="474"/>
                    </a:lnTo>
                    <a:lnTo>
                      <a:pt x="72516" y="1259"/>
                    </a:lnTo>
                    <a:lnTo>
                      <a:pt x="69061" y="21329"/>
                    </a:lnTo>
                    <a:lnTo>
                      <a:pt x="63102" y="49883"/>
                    </a:lnTo>
                    <a:lnTo>
                      <a:pt x="68878" y="50020"/>
                    </a:lnTo>
                    <a:lnTo>
                      <a:pt x="74506" y="54760"/>
                    </a:lnTo>
                    <a:lnTo>
                      <a:pt x="76733" y="51028"/>
                    </a:lnTo>
                    <a:lnTo>
                      <a:pt x="81932" y="54401"/>
                    </a:lnTo>
                    <a:lnTo>
                      <a:pt x="71704" y="63846"/>
                    </a:lnTo>
                    <a:lnTo>
                      <a:pt x="61502" y="70716"/>
                    </a:lnTo>
                    <a:lnTo>
                      <a:pt x="59449" y="75555"/>
                    </a:lnTo>
                    <a:lnTo>
                      <a:pt x="60301" y="80567"/>
                    </a:lnTo>
                    <a:lnTo>
                      <a:pt x="55384" y="86912"/>
                    </a:lnTo>
                    <a:lnTo>
                      <a:pt x="50628" y="88369"/>
                    </a:lnTo>
                    <a:lnTo>
                      <a:pt x="51255" y="91380"/>
                    </a:lnTo>
                    <a:lnTo>
                      <a:pt x="47231" y="94103"/>
                    </a:lnTo>
                    <a:lnTo>
                      <a:pt x="39719" y="100356"/>
                    </a:lnTo>
                    <a:lnTo>
                      <a:pt x="38629" y="104066"/>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257" name="Polygon form 222"/>
              <p:cNvSpPr/>
              <p:nvPr/>
            </p:nvSpPr>
            <p:spPr>
              <a:xfrm>
                <a:off x="2750732" y="3925291"/>
                <a:ext cx="93636" cy="175266"/>
              </a:xfrm>
              <a:custGeom>
                <a:avLst/>
                <a:gdLst/>
                <a:ahLst/>
                <a:cxnLst/>
                <a:rect l="0" t="0" r="0" b="0"/>
                <a:pathLst>
                  <a:path w="93636" h="175266">
                    <a:moveTo>
                      <a:pt x="35157" y="0"/>
                    </a:moveTo>
                    <a:lnTo>
                      <a:pt x="47603" y="9179"/>
                    </a:lnTo>
                    <a:lnTo>
                      <a:pt x="59020" y="25337"/>
                    </a:lnTo>
                    <a:lnTo>
                      <a:pt x="59030" y="38037"/>
                    </a:lnTo>
                    <a:lnTo>
                      <a:pt x="66420" y="38669"/>
                    </a:lnTo>
                    <a:lnTo>
                      <a:pt x="76497" y="50758"/>
                    </a:lnTo>
                    <a:lnTo>
                      <a:pt x="83959" y="59380"/>
                    </a:lnTo>
                    <a:lnTo>
                      <a:pt x="80090" y="81526"/>
                    </a:lnTo>
                    <a:lnTo>
                      <a:pt x="67938" y="87901"/>
                    </a:lnTo>
                    <a:lnTo>
                      <a:pt x="68841" y="93719"/>
                    </a:lnTo>
                    <a:lnTo>
                      <a:pt x="64876" y="106422"/>
                    </a:lnTo>
                    <a:lnTo>
                      <a:pt x="73221" y="124354"/>
                    </a:lnTo>
                    <a:lnTo>
                      <a:pt x="79536" y="124403"/>
                    </a:lnTo>
                    <a:lnTo>
                      <a:pt x="81877" y="138321"/>
                    </a:lnTo>
                    <a:lnTo>
                      <a:pt x="93636" y="159763"/>
                    </a:lnTo>
                    <a:lnTo>
                      <a:pt x="88824" y="160636"/>
                    </a:lnTo>
                    <a:lnTo>
                      <a:pt x="77931" y="158527"/>
                    </a:lnTo>
                    <a:lnTo>
                      <a:pt x="71444" y="165070"/>
                    </a:lnTo>
                    <a:lnTo>
                      <a:pt x="62472" y="169381"/>
                    </a:lnTo>
                    <a:lnTo>
                      <a:pt x="56224" y="170438"/>
                    </a:lnTo>
                    <a:lnTo>
                      <a:pt x="54003" y="175266"/>
                    </a:lnTo>
                    <a:lnTo>
                      <a:pt x="44324" y="174030"/>
                    </a:lnTo>
                    <a:lnTo>
                      <a:pt x="32291" y="162432"/>
                    </a:lnTo>
                    <a:lnTo>
                      <a:pt x="31002" y="151005"/>
                    </a:lnTo>
                    <a:lnTo>
                      <a:pt x="26144" y="138510"/>
                    </a:lnTo>
                    <a:lnTo>
                      <a:pt x="29695" y="117502"/>
                    </a:lnTo>
                    <a:lnTo>
                      <a:pt x="35367" y="108826"/>
                    </a:lnTo>
                    <a:lnTo>
                      <a:pt x="31140" y="97336"/>
                    </a:lnTo>
                    <a:lnTo>
                      <a:pt x="24471" y="93566"/>
                    </a:lnTo>
                    <a:lnTo>
                      <a:pt x="27356" y="82737"/>
                    </a:lnTo>
                    <a:lnTo>
                      <a:pt x="22951" y="77024"/>
                    </a:lnTo>
                    <a:lnTo>
                      <a:pt x="12671" y="78062"/>
                    </a:lnTo>
                    <a:lnTo>
                      <a:pt x="0" y="59237"/>
                    </a:lnTo>
                    <a:lnTo>
                      <a:pt x="5596" y="52468"/>
                    </a:lnTo>
                    <a:lnTo>
                      <a:pt x="5669" y="41055"/>
                    </a:lnTo>
                    <a:lnTo>
                      <a:pt x="17947" y="37173"/>
                    </a:lnTo>
                    <a:lnTo>
                      <a:pt x="23033" y="32581"/>
                    </a:lnTo>
                    <a:lnTo>
                      <a:pt x="16714" y="23368"/>
                    </a:lnTo>
                    <a:lnTo>
                      <a:pt x="18860" y="14377"/>
                    </a:lnTo>
                    <a:lnTo>
                      <a:pt x="35157" y="0"/>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258" name="Polygon form 223"/>
              <p:cNvSpPr/>
              <p:nvPr/>
            </p:nvSpPr>
            <p:spPr>
              <a:xfrm>
                <a:off x="2221184" y="3726782"/>
                <a:ext cx="122375" cy="75809"/>
              </a:xfrm>
              <a:custGeom>
                <a:avLst/>
                <a:gdLst/>
                <a:ahLst/>
                <a:cxnLst/>
                <a:rect l="0" t="0" r="0" b="0"/>
                <a:pathLst>
                  <a:path w="122375" h="75809">
                    <a:moveTo>
                      <a:pt x="34946" y="75809"/>
                    </a:moveTo>
                    <a:lnTo>
                      <a:pt x="32541" y="67819"/>
                    </a:lnTo>
                    <a:lnTo>
                      <a:pt x="26901" y="65495"/>
                    </a:lnTo>
                    <a:lnTo>
                      <a:pt x="29531" y="55379"/>
                    </a:lnTo>
                    <a:lnTo>
                      <a:pt x="27238" y="52580"/>
                    </a:lnTo>
                    <a:lnTo>
                      <a:pt x="23471" y="50687"/>
                    </a:lnTo>
                    <a:lnTo>
                      <a:pt x="14552" y="53519"/>
                    </a:lnTo>
                    <a:lnTo>
                      <a:pt x="14272" y="50091"/>
                    </a:lnTo>
                    <a:lnTo>
                      <a:pt x="8942" y="45896"/>
                    </a:lnTo>
                    <a:lnTo>
                      <a:pt x="5435" y="40743"/>
                    </a:lnTo>
                    <a:lnTo>
                      <a:pt x="0" y="38479"/>
                    </a:lnTo>
                    <a:lnTo>
                      <a:pt x="4917" y="32134"/>
                    </a:lnTo>
                    <a:lnTo>
                      <a:pt x="4065" y="27121"/>
                    </a:lnTo>
                    <a:lnTo>
                      <a:pt x="6118" y="22283"/>
                    </a:lnTo>
                    <a:lnTo>
                      <a:pt x="16320" y="15413"/>
                    </a:lnTo>
                    <a:lnTo>
                      <a:pt x="26548" y="5968"/>
                    </a:lnTo>
                    <a:lnTo>
                      <a:pt x="28414" y="7006"/>
                    </a:lnTo>
                    <a:lnTo>
                      <a:pt x="33312" y="2662"/>
                    </a:lnTo>
                    <a:lnTo>
                      <a:pt x="38902" y="2436"/>
                    </a:lnTo>
                    <a:lnTo>
                      <a:pt x="40395" y="4542"/>
                    </a:lnTo>
                    <a:lnTo>
                      <a:pt x="43581" y="3359"/>
                    </a:lnTo>
                    <a:lnTo>
                      <a:pt x="52240" y="5860"/>
                    </a:lnTo>
                    <a:lnTo>
                      <a:pt x="61283" y="5416"/>
                    </a:lnTo>
                    <a:lnTo>
                      <a:pt x="67912" y="2772"/>
                    </a:lnTo>
                    <a:lnTo>
                      <a:pt x="70592" y="0"/>
                    </a:lnTo>
                    <a:lnTo>
                      <a:pt x="76567" y="1456"/>
                    </a:lnTo>
                    <a:lnTo>
                      <a:pt x="80952" y="3281"/>
                    </a:lnTo>
                    <a:lnTo>
                      <a:pt x="86098" y="2811"/>
                    </a:lnTo>
                    <a:lnTo>
                      <a:pt x="90257" y="714"/>
                    </a:lnTo>
                    <a:lnTo>
                      <a:pt x="98598" y="4421"/>
                    </a:lnTo>
                    <a:lnTo>
                      <a:pt x="101592" y="5049"/>
                    </a:lnTo>
                    <a:lnTo>
                      <a:pt x="106842" y="9898"/>
                    </a:lnTo>
                    <a:lnTo>
                      <a:pt x="111666" y="15674"/>
                    </a:lnTo>
                    <a:lnTo>
                      <a:pt x="118191" y="19691"/>
                    </a:lnTo>
                    <a:lnTo>
                      <a:pt x="122375" y="26731"/>
                    </a:lnTo>
                    <a:lnTo>
                      <a:pt x="115794" y="26071"/>
                    </a:lnTo>
                    <a:lnTo>
                      <a:pt x="112653" y="29443"/>
                    </a:lnTo>
                    <a:lnTo>
                      <a:pt x="105486" y="32589"/>
                    </a:lnTo>
                    <a:lnTo>
                      <a:pt x="100581" y="32499"/>
                    </a:lnTo>
                    <a:lnTo>
                      <a:pt x="95872" y="35612"/>
                    </a:lnTo>
                    <a:lnTo>
                      <a:pt x="92134" y="34388"/>
                    </a:lnTo>
                    <a:lnTo>
                      <a:pt x="89333" y="30461"/>
                    </a:lnTo>
                    <a:lnTo>
                      <a:pt x="87209" y="31150"/>
                    </a:lnTo>
                    <a:lnTo>
                      <a:pt x="83926" y="37125"/>
                    </a:lnTo>
                    <a:lnTo>
                      <a:pt x="82091" y="36866"/>
                    </a:lnTo>
                    <a:lnTo>
                      <a:pt x="81094" y="42055"/>
                    </a:lnTo>
                    <a:lnTo>
                      <a:pt x="73423" y="48862"/>
                    </a:lnTo>
                    <a:lnTo>
                      <a:pt x="69462" y="51791"/>
                    </a:lnTo>
                    <a:lnTo>
                      <a:pt x="67073" y="54882"/>
                    </a:lnTo>
                    <a:lnTo>
                      <a:pt x="61983" y="49653"/>
                    </a:lnTo>
                    <a:lnTo>
                      <a:pt x="56933" y="56309"/>
                    </a:lnTo>
                    <a:lnTo>
                      <a:pt x="52900" y="56043"/>
                    </a:lnTo>
                    <a:lnTo>
                      <a:pt x="48267" y="56545"/>
                    </a:lnTo>
                    <a:lnTo>
                      <a:pt x="47144" y="68993"/>
                    </a:lnTo>
                    <a:lnTo>
                      <a:pt x="44260" y="69159"/>
                    </a:lnTo>
                    <a:lnTo>
                      <a:pt x="41126" y="74890"/>
                    </a:lnTo>
                    <a:lnTo>
                      <a:pt x="34946" y="75809"/>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259" name="Polygon form 224"/>
              <p:cNvSpPr/>
              <p:nvPr/>
            </p:nvSpPr>
            <p:spPr>
              <a:xfrm>
                <a:off x="4194038" y="3008390"/>
                <a:ext cx="98104" cy="96782"/>
              </a:xfrm>
              <a:custGeom>
                <a:avLst/>
                <a:gdLst/>
                <a:ahLst/>
                <a:cxnLst/>
                <a:rect l="0" t="0" r="0" b="0"/>
                <a:pathLst>
                  <a:path w="98104" h="96782">
                    <a:moveTo>
                      <a:pt x="86969" y="13901"/>
                    </a:moveTo>
                    <a:lnTo>
                      <a:pt x="92010" y="23202"/>
                    </a:lnTo>
                    <a:lnTo>
                      <a:pt x="98104" y="30015"/>
                    </a:lnTo>
                    <a:lnTo>
                      <a:pt x="92383" y="39185"/>
                    </a:lnTo>
                    <a:lnTo>
                      <a:pt x="84134" y="33936"/>
                    </a:lnTo>
                    <a:lnTo>
                      <a:pt x="72326" y="34414"/>
                    </a:lnTo>
                    <a:lnTo>
                      <a:pt x="57264" y="30575"/>
                    </a:lnTo>
                    <a:lnTo>
                      <a:pt x="49317" y="31199"/>
                    </a:lnTo>
                    <a:lnTo>
                      <a:pt x="46016" y="36249"/>
                    </a:lnTo>
                    <a:lnTo>
                      <a:pt x="39426" y="30770"/>
                    </a:lnTo>
                    <a:lnTo>
                      <a:pt x="36632" y="40828"/>
                    </a:lnTo>
                    <a:lnTo>
                      <a:pt x="45937" y="52027"/>
                    </a:lnTo>
                    <a:lnTo>
                      <a:pt x="50269" y="59469"/>
                    </a:lnTo>
                    <a:lnTo>
                      <a:pt x="58937" y="68402"/>
                    </a:lnTo>
                    <a:lnTo>
                      <a:pt x="65973" y="73674"/>
                    </a:lnTo>
                    <a:lnTo>
                      <a:pt x="73359" y="83689"/>
                    </a:lnTo>
                    <a:lnTo>
                      <a:pt x="89526" y="92654"/>
                    </a:lnTo>
                    <a:lnTo>
                      <a:pt x="87965" y="96782"/>
                    </a:lnTo>
                    <a:lnTo>
                      <a:pt x="70851" y="88033"/>
                    </a:lnTo>
                    <a:lnTo>
                      <a:pt x="60072" y="79451"/>
                    </a:lnTo>
                    <a:lnTo>
                      <a:pt x="43658" y="72442"/>
                    </a:lnTo>
                    <a:lnTo>
                      <a:pt x="27794" y="54821"/>
                    </a:lnTo>
                    <a:lnTo>
                      <a:pt x="31135" y="52983"/>
                    </a:lnTo>
                    <a:lnTo>
                      <a:pt x="22538" y="42908"/>
                    </a:lnTo>
                    <a:lnTo>
                      <a:pt x="21613" y="34763"/>
                    </a:lnTo>
                    <a:lnTo>
                      <a:pt x="10329" y="31062"/>
                    </a:lnTo>
                    <a:lnTo>
                      <a:pt x="5810" y="41530"/>
                    </a:lnTo>
                    <a:lnTo>
                      <a:pt x="192" y="33495"/>
                    </a:lnTo>
                    <a:lnTo>
                      <a:pt x="0" y="25111"/>
                    </a:lnTo>
                    <a:lnTo>
                      <a:pt x="582" y="24715"/>
                    </a:lnTo>
                    <a:lnTo>
                      <a:pt x="12544" y="25428"/>
                    </a:lnTo>
                    <a:lnTo>
                      <a:pt x="15372" y="21324"/>
                    </a:lnTo>
                    <a:lnTo>
                      <a:pt x="21473" y="25207"/>
                    </a:lnTo>
                    <a:lnTo>
                      <a:pt x="28212" y="25607"/>
                    </a:lnTo>
                    <a:lnTo>
                      <a:pt x="27625" y="18862"/>
                    </a:lnTo>
                    <a:lnTo>
                      <a:pt x="33353" y="16329"/>
                    </a:lnTo>
                    <a:lnTo>
                      <a:pt x="34221" y="6561"/>
                    </a:lnTo>
                    <a:lnTo>
                      <a:pt x="47193" y="0"/>
                    </a:lnTo>
                    <a:lnTo>
                      <a:pt x="52837" y="2911"/>
                    </a:lnTo>
                    <a:lnTo>
                      <a:pt x="66457" y="13116"/>
                    </a:lnTo>
                    <a:lnTo>
                      <a:pt x="80948" y="17588"/>
                    </a:lnTo>
                    <a:lnTo>
                      <a:pt x="86969" y="13901"/>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260" name="Polygon form 225"/>
              <p:cNvSpPr/>
              <p:nvPr/>
            </p:nvSpPr>
            <p:spPr>
              <a:xfrm>
                <a:off x="2523066" y="3634847"/>
                <a:ext cx="57760" cy="47214"/>
              </a:xfrm>
              <a:custGeom>
                <a:avLst/>
                <a:gdLst/>
                <a:ahLst/>
                <a:cxnLst/>
                <a:rect l="0" t="0" r="0" b="0"/>
                <a:pathLst>
                  <a:path w="57760" h="47214">
                    <a:moveTo>
                      <a:pt x="30189" y="0"/>
                    </a:moveTo>
                    <a:lnTo>
                      <a:pt x="41716" y="1386"/>
                    </a:lnTo>
                    <a:lnTo>
                      <a:pt x="57760" y="5693"/>
                    </a:lnTo>
                    <a:lnTo>
                      <a:pt x="57455" y="19274"/>
                    </a:lnTo>
                    <a:lnTo>
                      <a:pt x="54618" y="28800"/>
                    </a:lnTo>
                    <a:lnTo>
                      <a:pt x="49336" y="32886"/>
                    </a:lnTo>
                    <a:lnTo>
                      <a:pt x="53250" y="40465"/>
                    </a:lnTo>
                    <a:lnTo>
                      <a:pt x="51929" y="47214"/>
                    </a:lnTo>
                    <a:lnTo>
                      <a:pt x="39712" y="42702"/>
                    </a:lnTo>
                    <a:lnTo>
                      <a:pt x="30382" y="44226"/>
                    </a:lnTo>
                    <a:lnTo>
                      <a:pt x="18881" y="42160"/>
                    </a:lnTo>
                    <a:lnTo>
                      <a:pt x="9213" y="46614"/>
                    </a:lnTo>
                    <a:lnTo>
                      <a:pt x="0" y="38609"/>
                    </a:lnTo>
                    <a:lnTo>
                      <a:pt x="2860" y="30612"/>
                    </a:lnTo>
                    <a:lnTo>
                      <a:pt x="20066" y="34485"/>
                    </a:lnTo>
                    <a:lnTo>
                      <a:pt x="34306" y="36817"/>
                    </a:lnTo>
                    <a:lnTo>
                      <a:pt x="42018" y="31433"/>
                    </a:lnTo>
                    <a:lnTo>
                      <a:pt x="34791" y="20448"/>
                    </a:lnTo>
                    <a:lnTo>
                      <a:pt x="36341" y="10944"/>
                    </a:lnTo>
                    <a:lnTo>
                      <a:pt x="24821" y="6769"/>
                    </a:lnTo>
                    <a:lnTo>
                      <a:pt x="30189" y="0"/>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261" name="Polygon form 226"/>
              <p:cNvSpPr/>
              <p:nvPr/>
            </p:nvSpPr>
            <p:spPr>
              <a:xfrm>
                <a:off x="4234376" y="2956284"/>
                <a:ext cx="106978" cy="69695"/>
              </a:xfrm>
              <a:custGeom>
                <a:avLst/>
                <a:gdLst/>
                <a:ahLst/>
                <a:cxnLst/>
                <a:rect l="0" t="0" r="0" b="0"/>
                <a:pathLst>
                  <a:path w="106978" h="69695">
                    <a:moveTo>
                      <a:pt x="0" y="43759"/>
                    </a:moveTo>
                    <a:lnTo>
                      <a:pt x="4257" y="28156"/>
                    </a:lnTo>
                    <a:lnTo>
                      <a:pt x="543" y="22962"/>
                    </a:lnTo>
                    <a:lnTo>
                      <a:pt x="9997" y="22805"/>
                    </a:lnTo>
                    <a:lnTo>
                      <a:pt x="10371" y="12926"/>
                    </a:lnTo>
                    <a:lnTo>
                      <a:pt x="19471" y="19004"/>
                    </a:lnTo>
                    <a:lnTo>
                      <a:pt x="25906" y="21560"/>
                    </a:lnTo>
                    <a:lnTo>
                      <a:pt x="39699" y="18423"/>
                    </a:lnTo>
                    <a:lnTo>
                      <a:pt x="40558" y="13558"/>
                    </a:lnTo>
                    <a:lnTo>
                      <a:pt x="47136" y="12755"/>
                    </a:lnTo>
                    <a:lnTo>
                      <a:pt x="54888" y="8896"/>
                    </a:lnTo>
                    <a:lnTo>
                      <a:pt x="56860" y="10414"/>
                    </a:lnTo>
                    <a:lnTo>
                      <a:pt x="64381" y="7289"/>
                    </a:lnTo>
                    <a:lnTo>
                      <a:pt x="67665" y="1552"/>
                    </a:lnTo>
                    <a:lnTo>
                      <a:pt x="72962" y="0"/>
                    </a:lnTo>
                    <a:lnTo>
                      <a:pt x="91681" y="7069"/>
                    </a:lnTo>
                    <a:lnTo>
                      <a:pt x="94948" y="4544"/>
                    </a:lnTo>
                    <a:lnTo>
                      <a:pt x="105020" y="10967"/>
                    </a:lnTo>
                    <a:lnTo>
                      <a:pt x="106978" y="17422"/>
                    </a:lnTo>
                    <a:lnTo>
                      <a:pt x="97344" y="22648"/>
                    </a:lnTo>
                    <a:lnTo>
                      <a:pt x="91277" y="39146"/>
                    </a:lnTo>
                    <a:lnTo>
                      <a:pt x="82869" y="55673"/>
                    </a:lnTo>
                    <a:lnTo>
                      <a:pt x="69743" y="60418"/>
                    </a:lnTo>
                    <a:lnTo>
                      <a:pt x="59032" y="59492"/>
                    </a:lnTo>
                    <a:lnTo>
                      <a:pt x="46631" y="66008"/>
                    </a:lnTo>
                    <a:lnTo>
                      <a:pt x="40610" y="69695"/>
                    </a:lnTo>
                    <a:lnTo>
                      <a:pt x="26118" y="65223"/>
                    </a:lnTo>
                    <a:lnTo>
                      <a:pt x="12499" y="55018"/>
                    </a:lnTo>
                    <a:lnTo>
                      <a:pt x="6855" y="52107"/>
                    </a:lnTo>
                    <a:lnTo>
                      <a:pt x="2867" y="43995"/>
                    </a:lnTo>
                    <a:lnTo>
                      <a:pt x="0" y="43759"/>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262" name="Polygon form 227"/>
              <p:cNvSpPr/>
              <p:nvPr/>
            </p:nvSpPr>
            <p:spPr>
              <a:xfrm>
                <a:off x="6111078" y="4017713"/>
                <a:ext cx="198169" cy="222568"/>
              </a:xfrm>
              <a:custGeom>
                <a:avLst/>
                <a:gdLst/>
                <a:ahLst/>
                <a:cxnLst/>
                <a:rect l="0" t="0" r="0" b="0"/>
                <a:pathLst>
                  <a:path w="198169" h="222568">
                    <a:moveTo>
                      <a:pt x="175613" y="65605"/>
                    </a:moveTo>
                    <a:lnTo>
                      <a:pt x="198169" y="90124"/>
                    </a:lnTo>
                    <a:lnTo>
                      <a:pt x="174813" y="93305"/>
                    </a:lnTo>
                    <a:lnTo>
                      <a:pt x="168331" y="111404"/>
                    </a:lnTo>
                    <a:lnTo>
                      <a:pt x="169079" y="135445"/>
                    </a:lnTo>
                    <a:lnTo>
                      <a:pt x="149837" y="153524"/>
                    </a:lnTo>
                    <a:lnTo>
                      <a:pt x="148664" y="179894"/>
                    </a:lnTo>
                    <a:lnTo>
                      <a:pt x="139414" y="220312"/>
                    </a:lnTo>
                    <a:lnTo>
                      <a:pt x="136962" y="210877"/>
                    </a:lnTo>
                    <a:lnTo>
                      <a:pt x="113995" y="222568"/>
                    </a:lnTo>
                    <a:lnTo>
                      <a:pt x="106939" y="206368"/>
                    </a:lnTo>
                    <a:lnTo>
                      <a:pt x="92943" y="204768"/>
                    </a:lnTo>
                    <a:lnTo>
                      <a:pt x="83445" y="196256"/>
                    </a:lnTo>
                    <a:lnTo>
                      <a:pt x="59623" y="205545"/>
                    </a:lnTo>
                    <a:lnTo>
                      <a:pt x="52920" y="192780"/>
                    </a:lnTo>
                    <a:lnTo>
                      <a:pt x="39948" y="194138"/>
                    </a:lnTo>
                    <a:lnTo>
                      <a:pt x="23794" y="191008"/>
                    </a:lnTo>
                    <a:lnTo>
                      <a:pt x="21712" y="155855"/>
                    </a:lnTo>
                    <a:lnTo>
                      <a:pt x="11987" y="148545"/>
                    </a:lnTo>
                    <a:lnTo>
                      <a:pt x="2742" y="126143"/>
                    </a:lnTo>
                    <a:lnTo>
                      <a:pt x="0" y="103259"/>
                    </a:lnTo>
                    <a:lnTo>
                      <a:pt x="2052" y="79020"/>
                    </a:lnTo>
                    <a:lnTo>
                      <a:pt x="13438" y="61588"/>
                    </a:lnTo>
                    <a:lnTo>
                      <a:pt x="17076" y="79077"/>
                    </a:lnTo>
                    <a:lnTo>
                      <a:pt x="30758" y="93852"/>
                    </a:lnTo>
                    <a:lnTo>
                      <a:pt x="43436" y="88493"/>
                    </a:lnTo>
                    <a:lnTo>
                      <a:pt x="56059" y="90359"/>
                    </a:lnTo>
                    <a:lnTo>
                      <a:pt x="67376" y="77038"/>
                    </a:lnTo>
                    <a:lnTo>
                      <a:pt x="76801" y="74701"/>
                    </a:lnTo>
                    <a:lnTo>
                      <a:pt x="95595" y="82026"/>
                    </a:lnTo>
                    <a:lnTo>
                      <a:pt x="111601" y="76356"/>
                    </a:lnTo>
                    <a:lnTo>
                      <a:pt x="120755" y="39581"/>
                    </a:lnTo>
                    <a:lnTo>
                      <a:pt x="128008" y="30340"/>
                    </a:lnTo>
                    <a:lnTo>
                      <a:pt x="133442" y="214"/>
                    </a:lnTo>
                    <a:lnTo>
                      <a:pt x="156099" y="0"/>
                    </a:lnTo>
                    <a:lnTo>
                      <a:pt x="173420" y="4299"/>
                    </a:lnTo>
                    <a:lnTo>
                      <a:pt x="163323" y="28351"/>
                    </a:lnTo>
                    <a:lnTo>
                      <a:pt x="178702" y="53376"/>
                    </a:lnTo>
                    <a:lnTo>
                      <a:pt x="175613" y="65605"/>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63" name="Polygon form 228"/>
              <p:cNvSpPr/>
              <p:nvPr/>
            </p:nvSpPr>
            <p:spPr>
              <a:xfrm>
                <a:off x="5837584" y="3991381"/>
                <a:ext cx="215999" cy="293018"/>
              </a:xfrm>
              <a:custGeom>
                <a:avLst/>
                <a:gdLst/>
                <a:ahLst/>
                <a:cxnLst/>
                <a:rect l="0" t="0" r="0" b="0"/>
                <a:pathLst>
                  <a:path w="215999" h="293018">
                    <a:moveTo>
                      <a:pt x="206618" y="292730"/>
                    </a:moveTo>
                    <a:lnTo>
                      <a:pt x="184789" y="293018"/>
                    </a:lnTo>
                    <a:lnTo>
                      <a:pt x="169519" y="271146"/>
                    </a:lnTo>
                    <a:lnTo>
                      <a:pt x="145293" y="249746"/>
                    </a:lnTo>
                    <a:lnTo>
                      <a:pt x="137521" y="233994"/>
                    </a:lnTo>
                    <a:lnTo>
                      <a:pt x="123317" y="212839"/>
                    </a:lnTo>
                    <a:lnTo>
                      <a:pt x="114022" y="193425"/>
                    </a:lnTo>
                    <a:lnTo>
                      <a:pt x="99530" y="157239"/>
                    </a:lnTo>
                    <a:lnTo>
                      <a:pt x="82246" y="135734"/>
                    </a:lnTo>
                    <a:lnTo>
                      <a:pt x="76306" y="113584"/>
                    </a:lnTo>
                    <a:lnTo>
                      <a:pt x="68728" y="93496"/>
                    </a:lnTo>
                    <a:lnTo>
                      <a:pt x="50575" y="77361"/>
                    </a:lnTo>
                    <a:lnTo>
                      <a:pt x="39613" y="55420"/>
                    </a:lnTo>
                    <a:lnTo>
                      <a:pt x="24238" y="41131"/>
                    </a:lnTo>
                    <a:lnTo>
                      <a:pt x="2416" y="13029"/>
                    </a:lnTo>
                    <a:lnTo>
                      <a:pt x="0" y="0"/>
                    </a:lnTo>
                    <a:lnTo>
                      <a:pt x="12736" y="912"/>
                    </a:lnTo>
                    <a:lnTo>
                      <a:pt x="43493" y="5582"/>
                    </a:lnTo>
                    <a:lnTo>
                      <a:pt x="62154" y="30582"/>
                    </a:lnTo>
                    <a:lnTo>
                      <a:pt x="78118" y="47932"/>
                    </a:lnTo>
                    <a:lnTo>
                      <a:pt x="89375" y="58588"/>
                    </a:lnTo>
                    <a:lnTo>
                      <a:pt x="108842" y="86236"/>
                    </a:lnTo>
                    <a:lnTo>
                      <a:pt x="128912" y="86562"/>
                    </a:lnTo>
                    <a:lnTo>
                      <a:pt x="145829" y="104233"/>
                    </a:lnTo>
                    <a:lnTo>
                      <a:pt x="157481" y="125905"/>
                    </a:lnTo>
                    <a:lnTo>
                      <a:pt x="172558" y="137742"/>
                    </a:lnTo>
                    <a:lnTo>
                      <a:pt x="164576" y="158917"/>
                    </a:lnTo>
                    <a:lnTo>
                      <a:pt x="175802" y="167946"/>
                    </a:lnTo>
                    <a:lnTo>
                      <a:pt x="182884" y="168626"/>
                    </a:lnTo>
                    <a:lnTo>
                      <a:pt x="185942" y="186751"/>
                    </a:lnTo>
                    <a:lnTo>
                      <a:pt x="192485" y="201278"/>
                    </a:lnTo>
                    <a:lnTo>
                      <a:pt x="206910" y="203646"/>
                    </a:lnTo>
                    <a:lnTo>
                      <a:pt x="215999" y="220170"/>
                    </a:lnTo>
                    <a:lnTo>
                      <a:pt x="209703" y="252502"/>
                    </a:lnTo>
                    <a:lnTo>
                      <a:pt x="206618" y="29273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64" name="Polygon form 229"/>
              <p:cNvSpPr/>
              <p:nvPr/>
            </p:nvSpPr>
            <p:spPr>
              <a:xfrm>
                <a:off x="6536688" y="4141921"/>
                <a:ext cx="205603" cy="243165"/>
              </a:xfrm>
              <a:custGeom>
                <a:avLst/>
                <a:gdLst/>
                <a:ahLst/>
                <a:cxnLst/>
                <a:rect l="0" t="0" r="0" b="0"/>
                <a:pathLst>
                  <a:path w="205603" h="243165">
                    <a:moveTo>
                      <a:pt x="71441" y="21467"/>
                    </a:moveTo>
                    <a:lnTo>
                      <a:pt x="75671" y="65809"/>
                    </a:lnTo>
                    <a:lnTo>
                      <a:pt x="95335" y="82413"/>
                    </a:lnTo>
                    <a:lnTo>
                      <a:pt x="113053" y="53398"/>
                    </a:lnTo>
                    <a:lnTo>
                      <a:pt x="136196" y="36909"/>
                    </a:lnTo>
                    <a:lnTo>
                      <a:pt x="153740" y="36978"/>
                    </a:lnTo>
                    <a:lnTo>
                      <a:pt x="170339" y="46720"/>
                    </a:lnTo>
                    <a:lnTo>
                      <a:pt x="184633" y="56736"/>
                    </a:lnTo>
                    <a:lnTo>
                      <a:pt x="205603" y="62210"/>
                    </a:lnTo>
                    <a:lnTo>
                      <a:pt x="199953" y="152761"/>
                    </a:lnTo>
                    <a:lnTo>
                      <a:pt x="189692" y="243165"/>
                    </a:lnTo>
                    <a:lnTo>
                      <a:pt x="175357" y="219959"/>
                    </a:lnTo>
                    <a:lnTo>
                      <a:pt x="156169" y="213889"/>
                    </a:lnTo>
                    <a:lnTo>
                      <a:pt x="150348" y="221630"/>
                    </a:lnTo>
                    <a:lnTo>
                      <a:pt x="125430" y="221836"/>
                    </a:lnTo>
                    <a:lnTo>
                      <a:pt x="136482" y="199630"/>
                    </a:lnTo>
                    <a:lnTo>
                      <a:pt x="149704" y="192256"/>
                    </a:lnTo>
                    <a:lnTo>
                      <a:pt x="147698" y="162137"/>
                    </a:lnTo>
                    <a:lnTo>
                      <a:pt x="140312" y="138804"/>
                    </a:lnTo>
                    <a:lnTo>
                      <a:pt x="103899" y="114916"/>
                    </a:lnTo>
                    <a:lnTo>
                      <a:pt x="87811" y="112403"/>
                    </a:lnTo>
                    <a:lnTo>
                      <a:pt x="59713" y="86743"/>
                    </a:lnTo>
                    <a:lnTo>
                      <a:pt x="53159" y="99967"/>
                    </a:lnTo>
                    <a:lnTo>
                      <a:pt x="45454" y="102286"/>
                    </a:lnTo>
                    <a:lnTo>
                      <a:pt x="41553" y="92223"/>
                    </a:lnTo>
                    <a:lnTo>
                      <a:pt x="42100" y="80360"/>
                    </a:lnTo>
                    <a:lnTo>
                      <a:pt x="27629" y="66826"/>
                    </a:lnTo>
                    <a:lnTo>
                      <a:pt x="49251" y="57157"/>
                    </a:lnTo>
                    <a:lnTo>
                      <a:pt x="63301" y="57789"/>
                    </a:lnTo>
                    <a:lnTo>
                      <a:pt x="61898" y="50518"/>
                    </a:lnTo>
                    <a:lnTo>
                      <a:pt x="33017" y="50279"/>
                    </a:lnTo>
                    <a:lnTo>
                      <a:pt x="25649" y="34001"/>
                    </a:lnTo>
                    <a:lnTo>
                      <a:pt x="8127" y="28896"/>
                    </a:lnTo>
                    <a:lnTo>
                      <a:pt x="0" y="15410"/>
                    </a:lnTo>
                    <a:lnTo>
                      <a:pt x="26686" y="8875"/>
                    </a:lnTo>
                    <a:lnTo>
                      <a:pt x="36873" y="0"/>
                    </a:lnTo>
                    <a:lnTo>
                      <a:pt x="68470" y="11280"/>
                    </a:lnTo>
                    <a:lnTo>
                      <a:pt x="71441" y="21467"/>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65" name="Polygon form 230"/>
              <p:cNvSpPr/>
              <p:nvPr/>
            </p:nvSpPr>
            <p:spPr>
              <a:xfrm>
                <a:off x="6303530" y="4087634"/>
                <a:ext cx="128745" cy="195282"/>
              </a:xfrm>
              <a:custGeom>
                <a:avLst/>
                <a:gdLst/>
                <a:ahLst/>
                <a:cxnLst/>
                <a:rect l="0" t="0" r="0" b="0"/>
                <a:pathLst>
                  <a:path w="128745" h="195282">
                    <a:moveTo>
                      <a:pt x="128745" y="5997"/>
                    </a:moveTo>
                    <a:lnTo>
                      <a:pt x="113219" y="32705"/>
                    </a:lnTo>
                    <a:lnTo>
                      <a:pt x="98406" y="37880"/>
                    </a:lnTo>
                    <a:lnTo>
                      <a:pt x="79384" y="32655"/>
                    </a:lnTo>
                    <a:lnTo>
                      <a:pt x="46496" y="34023"/>
                    </a:lnTo>
                    <a:lnTo>
                      <a:pt x="29265" y="37877"/>
                    </a:lnTo>
                    <a:lnTo>
                      <a:pt x="26421" y="58050"/>
                    </a:lnTo>
                    <a:lnTo>
                      <a:pt x="43791" y="81808"/>
                    </a:lnTo>
                    <a:lnTo>
                      <a:pt x="54635" y="69744"/>
                    </a:lnTo>
                    <a:lnTo>
                      <a:pt x="91539" y="60708"/>
                    </a:lnTo>
                    <a:lnTo>
                      <a:pt x="89778" y="73052"/>
                    </a:lnTo>
                    <a:lnTo>
                      <a:pt x="81230" y="69137"/>
                    </a:lnTo>
                    <a:lnTo>
                      <a:pt x="72405" y="84798"/>
                    </a:lnTo>
                    <a:lnTo>
                      <a:pt x="54800" y="95089"/>
                    </a:lnTo>
                    <a:lnTo>
                      <a:pt x="72318" y="129475"/>
                    </a:lnTo>
                    <a:lnTo>
                      <a:pt x="68307" y="138633"/>
                    </a:lnTo>
                    <a:lnTo>
                      <a:pt x="84340" y="169711"/>
                    </a:lnTo>
                    <a:lnTo>
                      <a:pt x="82994" y="187302"/>
                    </a:lnTo>
                    <a:lnTo>
                      <a:pt x="71913" y="195025"/>
                    </a:lnTo>
                    <a:lnTo>
                      <a:pt x="64875" y="185515"/>
                    </a:lnTo>
                    <a:lnTo>
                      <a:pt x="75806" y="163730"/>
                    </a:lnTo>
                    <a:lnTo>
                      <a:pt x="55837" y="173857"/>
                    </a:lnTo>
                    <a:lnTo>
                      <a:pt x="51395" y="166407"/>
                    </a:lnTo>
                    <a:lnTo>
                      <a:pt x="54545" y="156124"/>
                    </a:lnTo>
                    <a:lnTo>
                      <a:pt x="41132" y="140333"/>
                    </a:lnTo>
                    <a:lnTo>
                      <a:pt x="43653" y="114340"/>
                    </a:lnTo>
                    <a:lnTo>
                      <a:pt x="30204" y="122358"/>
                    </a:lnTo>
                    <a:lnTo>
                      <a:pt x="30453" y="153451"/>
                    </a:lnTo>
                    <a:lnTo>
                      <a:pt x="28868" y="191587"/>
                    </a:lnTo>
                    <a:lnTo>
                      <a:pt x="16107" y="195282"/>
                    </a:lnTo>
                    <a:lnTo>
                      <a:pt x="8207" y="187360"/>
                    </a:lnTo>
                    <a:lnTo>
                      <a:pt x="15407" y="162937"/>
                    </a:lnTo>
                    <a:lnTo>
                      <a:pt x="13674" y="137224"/>
                    </a:lnTo>
                    <a:lnTo>
                      <a:pt x="5391" y="136958"/>
                    </a:lnTo>
                    <a:lnTo>
                      <a:pt x="0" y="118698"/>
                    </a:lnTo>
                    <a:lnTo>
                      <a:pt x="8705" y="101330"/>
                    </a:lnTo>
                    <a:lnTo>
                      <a:pt x="11990" y="80215"/>
                    </a:lnTo>
                    <a:lnTo>
                      <a:pt x="22221" y="40092"/>
                    </a:lnTo>
                    <a:lnTo>
                      <a:pt x="26310" y="29105"/>
                    </a:lnTo>
                    <a:lnTo>
                      <a:pt x="42848" y="9258"/>
                    </a:lnTo>
                    <a:lnTo>
                      <a:pt x="58385" y="17100"/>
                    </a:lnTo>
                    <a:lnTo>
                      <a:pt x="83317" y="20754"/>
                    </a:lnTo>
                    <a:lnTo>
                      <a:pt x="106004" y="19578"/>
                    </a:lnTo>
                    <a:lnTo>
                      <a:pt x="125176" y="0"/>
                    </a:lnTo>
                    <a:lnTo>
                      <a:pt x="128745" y="5997"/>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66" name="Polygon form 231"/>
              <p:cNvSpPr/>
              <p:nvPr/>
            </p:nvSpPr>
            <p:spPr>
              <a:xfrm>
                <a:off x="6033453" y="4285299"/>
                <a:ext cx="199448" cy="77393"/>
              </a:xfrm>
              <a:custGeom>
                <a:avLst/>
                <a:gdLst/>
                <a:ahLst/>
                <a:cxnLst/>
                <a:rect l="0" t="0" r="0" b="0"/>
                <a:pathLst>
                  <a:path w="199448" h="77393">
                    <a:moveTo>
                      <a:pt x="64200" y="23642"/>
                    </a:moveTo>
                    <a:lnTo>
                      <a:pt x="101651" y="26794"/>
                    </a:lnTo>
                    <a:lnTo>
                      <a:pt x="106836" y="16058"/>
                    </a:lnTo>
                    <a:lnTo>
                      <a:pt x="142296" y="29209"/>
                    </a:lnTo>
                    <a:lnTo>
                      <a:pt x="147948" y="46360"/>
                    </a:lnTo>
                    <a:lnTo>
                      <a:pt x="176949" y="51666"/>
                    </a:lnTo>
                    <a:lnTo>
                      <a:pt x="199448" y="67782"/>
                    </a:lnTo>
                    <a:lnTo>
                      <a:pt x="176013" y="77393"/>
                    </a:lnTo>
                    <a:lnTo>
                      <a:pt x="155562" y="66374"/>
                    </a:lnTo>
                    <a:lnTo>
                      <a:pt x="137738" y="66761"/>
                    </a:lnTo>
                    <a:lnTo>
                      <a:pt x="117581" y="64446"/>
                    </a:lnTo>
                    <a:lnTo>
                      <a:pt x="99678" y="59417"/>
                    </a:lnTo>
                    <a:lnTo>
                      <a:pt x="77872" y="49041"/>
                    </a:lnTo>
                    <a:lnTo>
                      <a:pt x="63691" y="46220"/>
                    </a:lnTo>
                    <a:lnTo>
                      <a:pt x="55234" y="49353"/>
                    </a:lnTo>
                    <a:lnTo>
                      <a:pt x="20346" y="38067"/>
                    </a:lnTo>
                    <a:lnTo>
                      <a:pt x="17842" y="26829"/>
                    </a:lnTo>
                    <a:lnTo>
                      <a:pt x="0" y="24669"/>
                    </a:lnTo>
                    <a:lnTo>
                      <a:pt x="15279" y="0"/>
                    </a:lnTo>
                    <a:lnTo>
                      <a:pt x="39053" y="1827"/>
                    </a:lnTo>
                    <a:lnTo>
                      <a:pt x="54213" y="12219"/>
                    </a:lnTo>
                    <a:lnTo>
                      <a:pt x="62224" y="14317"/>
                    </a:lnTo>
                    <a:lnTo>
                      <a:pt x="64200" y="23642"/>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67" name="Polygon form 232"/>
              <p:cNvSpPr/>
              <p:nvPr/>
            </p:nvSpPr>
            <p:spPr>
              <a:xfrm>
                <a:off x="6475073" y="4073017"/>
                <a:ext cx="25390" cy="83170"/>
              </a:xfrm>
              <a:custGeom>
                <a:avLst/>
                <a:gdLst/>
                <a:ahLst/>
                <a:cxnLst/>
                <a:rect l="0" t="0" r="0" b="0"/>
                <a:pathLst>
                  <a:path w="25390" h="83170">
                    <a:moveTo>
                      <a:pt x="25390" y="28142"/>
                    </a:moveTo>
                    <a:lnTo>
                      <a:pt x="24588" y="51816"/>
                    </a:lnTo>
                    <a:lnTo>
                      <a:pt x="14395" y="49174"/>
                    </a:lnTo>
                    <a:lnTo>
                      <a:pt x="11403" y="65637"/>
                    </a:lnTo>
                    <a:lnTo>
                      <a:pt x="19433" y="79935"/>
                    </a:lnTo>
                    <a:lnTo>
                      <a:pt x="13868" y="83170"/>
                    </a:lnTo>
                    <a:lnTo>
                      <a:pt x="6041" y="66026"/>
                    </a:lnTo>
                    <a:lnTo>
                      <a:pt x="0" y="31481"/>
                    </a:lnTo>
                    <a:lnTo>
                      <a:pt x="3545" y="9874"/>
                    </a:lnTo>
                    <a:lnTo>
                      <a:pt x="9821" y="0"/>
                    </a:lnTo>
                    <a:lnTo>
                      <a:pt x="11629" y="14763"/>
                    </a:lnTo>
                    <a:lnTo>
                      <a:pt x="23333" y="17087"/>
                    </a:lnTo>
                    <a:lnTo>
                      <a:pt x="25390" y="28142"/>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68" name="Polygon form 233"/>
              <p:cNvSpPr/>
              <p:nvPr/>
            </p:nvSpPr>
            <p:spPr>
              <a:xfrm>
                <a:off x="6482956" y="4207841"/>
                <a:ext cx="57232" cy="28952"/>
              </a:xfrm>
              <a:custGeom>
                <a:avLst/>
                <a:gdLst/>
                <a:ahLst/>
                <a:cxnLst/>
                <a:rect l="0" t="0" r="0" b="0"/>
                <a:pathLst>
                  <a:path w="57232" h="28952">
                    <a:moveTo>
                      <a:pt x="51097" y="8094"/>
                    </a:moveTo>
                    <a:lnTo>
                      <a:pt x="57232" y="28952"/>
                    </a:lnTo>
                    <a:lnTo>
                      <a:pt x="41172" y="17584"/>
                    </a:lnTo>
                    <a:lnTo>
                      <a:pt x="24812" y="15160"/>
                    </a:lnTo>
                    <a:lnTo>
                      <a:pt x="13595" y="16845"/>
                    </a:lnTo>
                    <a:lnTo>
                      <a:pt x="0" y="15766"/>
                    </a:lnTo>
                    <a:lnTo>
                      <a:pt x="5320" y="936"/>
                    </a:lnTo>
                    <a:lnTo>
                      <a:pt x="29726" y="0"/>
                    </a:lnTo>
                    <a:lnTo>
                      <a:pt x="51097" y="8094"/>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69" name="Polygon form 234"/>
              <p:cNvSpPr/>
              <p:nvPr/>
            </p:nvSpPr>
            <p:spPr>
              <a:xfrm>
                <a:off x="6314321" y="4348533"/>
                <a:ext cx="60517" cy="21718"/>
              </a:xfrm>
              <a:custGeom>
                <a:avLst/>
                <a:gdLst/>
                <a:ahLst/>
                <a:cxnLst/>
                <a:rect l="0" t="0" r="0" b="0"/>
                <a:pathLst>
                  <a:path w="60517" h="21718">
                    <a:moveTo>
                      <a:pt x="60517" y="0"/>
                    </a:moveTo>
                    <a:lnTo>
                      <a:pt x="55988" y="14789"/>
                    </a:lnTo>
                    <a:lnTo>
                      <a:pt x="25674" y="21718"/>
                    </a:lnTo>
                    <a:lnTo>
                      <a:pt x="0" y="17872"/>
                    </a:lnTo>
                    <a:lnTo>
                      <a:pt x="1020" y="8151"/>
                    </a:lnTo>
                    <a:lnTo>
                      <a:pt x="17191" y="2936"/>
                    </a:lnTo>
                    <a:lnTo>
                      <a:pt x="28596" y="11177"/>
                    </a:lnTo>
                    <a:lnTo>
                      <a:pt x="41871" y="9422"/>
                    </a:lnTo>
                    <a:lnTo>
                      <a:pt x="60517" y="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70" name="Polygon form 235"/>
              <p:cNvSpPr/>
              <p:nvPr/>
            </p:nvSpPr>
            <p:spPr>
              <a:xfrm>
                <a:off x="6378695" y="4370798"/>
                <a:ext cx="35505" cy="38621"/>
              </a:xfrm>
              <a:custGeom>
                <a:avLst/>
                <a:gdLst/>
                <a:ahLst/>
                <a:cxnLst/>
                <a:rect l="0" t="0" r="0" b="0"/>
                <a:pathLst>
                  <a:path w="35505" h="38621">
                    <a:moveTo>
                      <a:pt x="19432" y="33173"/>
                    </a:moveTo>
                    <a:lnTo>
                      <a:pt x="1900" y="38621"/>
                    </a:lnTo>
                    <a:lnTo>
                      <a:pt x="0" y="35352"/>
                    </a:lnTo>
                    <a:lnTo>
                      <a:pt x="2988" y="26307"/>
                    </a:lnTo>
                    <a:lnTo>
                      <a:pt x="13504" y="10192"/>
                    </a:lnTo>
                    <a:lnTo>
                      <a:pt x="34168" y="0"/>
                    </a:lnTo>
                    <a:lnTo>
                      <a:pt x="35505" y="5336"/>
                    </a:lnTo>
                    <a:lnTo>
                      <a:pt x="34843" y="13478"/>
                    </a:lnTo>
                    <a:lnTo>
                      <a:pt x="19432" y="33173"/>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71" name="Polygon form 236"/>
              <p:cNvSpPr/>
              <p:nvPr/>
            </p:nvSpPr>
            <p:spPr>
              <a:xfrm>
                <a:off x="6251272" y="4346630"/>
                <a:ext cx="47731" cy="24783"/>
              </a:xfrm>
              <a:custGeom>
                <a:avLst/>
                <a:gdLst/>
                <a:ahLst/>
                <a:cxnLst/>
                <a:rect l="0" t="0" r="0" b="0"/>
                <a:pathLst>
                  <a:path w="47731" h="24783">
                    <a:moveTo>
                      <a:pt x="25424" y="0"/>
                    </a:moveTo>
                    <a:lnTo>
                      <a:pt x="31754" y="7207"/>
                    </a:lnTo>
                    <a:lnTo>
                      <a:pt x="44100" y="5280"/>
                    </a:lnTo>
                    <a:lnTo>
                      <a:pt x="47731" y="16665"/>
                    </a:lnTo>
                    <a:lnTo>
                      <a:pt x="24479" y="21515"/>
                    </a:lnTo>
                    <a:lnTo>
                      <a:pt x="10506" y="24783"/>
                    </a:lnTo>
                    <a:lnTo>
                      <a:pt x="0" y="24350"/>
                    </a:lnTo>
                    <a:lnTo>
                      <a:pt x="8412" y="9260"/>
                    </a:lnTo>
                    <a:lnTo>
                      <a:pt x="19183" y="9265"/>
                    </a:lnTo>
                    <a:lnTo>
                      <a:pt x="25424" y="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72" name="Polygon form 237"/>
              <p:cNvSpPr/>
              <p:nvPr/>
            </p:nvSpPr>
            <p:spPr>
              <a:xfrm>
                <a:off x="6293238" y="4381037"/>
                <a:ext cx="33967" cy="24033"/>
              </a:xfrm>
              <a:custGeom>
                <a:avLst/>
                <a:gdLst/>
                <a:ahLst/>
                <a:cxnLst/>
                <a:rect l="0" t="0" r="0" b="0"/>
                <a:pathLst>
                  <a:path w="33967" h="24033">
                    <a:moveTo>
                      <a:pt x="31847" y="23731"/>
                    </a:moveTo>
                    <a:lnTo>
                      <a:pt x="23562" y="24033"/>
                    </a:lnTo>
                    <a:lnTo>
                      <a:pt x="0" y="4805"/>
                    </a:lnTo>
                    <a:lnTo>
                      <a:pt x="18886" y="0"/>
                    </a:lnTo>
                    <a:lnTo>
                      <a:pt x="28165" y="8335"/>
                    </a:lnTo>
                    <a:lnTo>
                      <a:pt x="33967" y="16580"/>
                    </a:lnTo>
                    <a:lnTo>
                      <a:pt x="31847" y="23731"/>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73" name="Polygon form 238"/>
              <p:cNvSpPr/>
              <p:nvPr/>
            </p:nvSpPr>
            <p:spPr>
              <a:xfrm>
                <a:off x="6445560" y="4216317"/>
                <a:ext cx="24502" cy="17833"/>
              </a:xfrm>
              <a:custGeom>
                <a:avLst/>
                <a:gdLst/>
                <a:ahLst/>
                <a:cxnLst/>
                <a:rect l="0" t="0" r="0" b="0"/>
                <a:pathLst>
                  <a:path w="24502" h="17833">
                    <a:moveTo>
                      <a:pt x="24502" y="8945"/>
                    </a:moveTo>
                    <a:lnTo>
                      <a:pt x="16674" y="17833"/>
                    </a:lnTo>
                    <a:lnTo>
                      <a:pt x="3302" y="12749"/>
                    </a:lnTo>
                    <a:lnTo>
                      <a:pt x="0" y="1127"/>
                    </a:lnTo>
                    <a:lnTo>
                      <a:pt x="20006" y="0"/>
                    </a:lnTo>
                    <a:lnTo>
                      <a:pt x="24502" y="8945"/>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74" name="Polygon form 239"/>
              <p:cNvSpPr/>
              <p:nvPr/>
            </p:nvSpPr>
            <p:spPr>
              <a:xfrm>
                <a:off x="6600127" y="4281049"/>
                <a:ext cx="13115" cy="39582"/>
              </a:xfrm>
              <a:custGeom>
                <a:avLst/>
                <a:gdLst/>
                <a:ahLst/>
                <a:cxnLst/>
                <a:rect l="0" t="0" r="0" b="0"/>
                <a:pathLst>
                  <a:path w="13115" h="39582">
                    <a:moveTo>
                      <a:pt x="11913" y="21144"/>
                    </a:moveTo>
                    <a:lnTo>
                      <a:pt x="0" y="39582"/>
                    </a:lnTo>
                    <a:lnTo>
                      <a:pt x="65" y="18958"/>
                    </a:lnTo>
                    <a:lnTo>
                      <a:pt x="4421" y="9185"/>
                    </a:lnTo>
                    <a:lnTo>
                      <a:pt x="9305" y="0"/>
                    </a:lnTo>
                    <a:lnTo>
                      <a:pt x="13115" y="8085"/>
                    </a:lnTo>
                    <a:lnTo>
                      <a:pt x="11913" y="21144"/>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75" name="Polyline form 240"/>
              <p:cNvSpPr/>
              <p:nvPr/>
            </p:nvSpPr>
            <p:spPr>
              <a:xfrm>
                <a:off x="5256485" y="3244867"/>
                <a:ext cx="523904" cy="687106"/>
              </a:xfrm>
              <a:custGeom>
                <a:avLst/>
                <a:gdLst/>
                <a:ahLst/>
                <a:cxnLst/>
                <a:rect l="0" t="0" r="0" b="0"/>
                <a:pathLst>
                  <a:path w="523904" h="687106">
                    <a:moveTo>
                      <a:pt x="109883" y="0"/>
                    </a:moveTo>
                    <a:lnTo>
                      <a:pt x="137845" y="28149"/>
                    </a:lnTo>
                    <a:lnTo>
                      <a:pt x="141929" y="48461"/>
                    </a:lnTo>
                    <a:lnTo>
                      <a:pt x="152761" y="60843"/>
                    </a:lnTo>
                    <a:lnTo>
                      <a:pt x="155745" y="73547"/>
                    </a:lnTo>
                    <a:lnTo>
                      <a:pt x="141780" y="70775"/>
                    </a:lnTo>
                    <a:lnTo>
                      <a:pt x="154378" y="97929"/>
                    </a:lnTo>
                    <a:lnTo>
                      <a:pt x="176562" y="112918"/>
                    </a:lnTo>
                    <a:lnTo>
                      <a:pt x="206682" y="129262"/>
                    </a:lnTo>
                    <a:lnTo>
                      <a:pt x="197970" y="141045"/>
                    </a:lnTo>
                    <a:lnTo>
                      <a:pt x="196713" y="164639"/>
                    </a:lnTo>
                    <a:lnTo>
                      <a:pt x="216990" y="173368"/>
                    </a:lnTo>
                    <a:lnTo>
                      <a:pt x="237503" y="184927"/>
                    </a:lnTo>
                    <a:lnTo>
                      <a:pt x="265188" y="197997"/>
                    </a:lnTo>
                    <a:lnTo>
                      <a:pt x="291489" y="200230"/>
                    </a:lnTo>
                    <a:lnTo>
                      <a:pt x="305378" y="212551"/>
                    </a:lnTo>
                    <a:lnTo>
                      <a:pt x="320371" y="214367"/>
                    </a:lnTo>
                    <a:lnTo>
                      <a:pt x="344259" y="219319"/>
                    </a:lnTo>
                    <a:lnTo>
                      <a:pt x="359691" y="218269"/>
                    </a:lnTo>
                    <a:lnTo>
                      <a:pt x="359309" y="208230"/>
                    </a:lnTo>
                    <a:lnTo>
                      <a:pt x="352740" y="192363"/>
                    </a:lnTo>
                    <a:lnTo>
                      <a:pt x="351324" y="181482"/>
                    </a:lnTo>
                    <a:lnTo>
                      <a:pt x="361204" y="175709"/>
                    </a:lnTo>
                    <a:lnTo>
                      <a:pt x="368023" y="195438"/>
                    </a:lnTo>
                    <a:lnTo>
                      <a:pt x="369736" y="200459"/>
                    </a:lnTo>
                    <a:lnTo>
                      <a:pt x="389124" y="209296"/>
                    </a:lnTo>
                    <a:lnTo>
                      <a:pt x="399798" y="204860"/>
                    </a:lnTo>
                    <a:lnTo>
                      <a:pt x="415947" y="205874"/>
                    </a:lnTo>
                    <a:lnTo>
                      <a:pt x="430923" y="204464"/>
                    </a:lnTo>
                    <a:lnTo>
                      <a:pt x="428033" y="188908"/>
                    </a:lnTo>
                    <a:lnTo>
                      <a:pt x="418278" y="181201"/>
                    </a:lnTo>
                    <a:lnTo>
                      <a:pt x="432325" y="177367"/>
                    </a:lnTo>
                    <a:lnTo>
                      <a:pt x="443773" y="157822"/>
                    </a:lnTo>
                    <a:lnTo>
                      <a:pt x="460208" y="140726"/>
                    </a:lnTo>
                    <a:lnTo>
                      <a:pt x="477487" y="146168"/>
                    </a:lnTo>
                    <a:lnTo>
                      <a:pt x="487316" y="134872"/>
                    </a:lnTo>
                    <a:lnTo>
                      <a:pt x="500744" y="150161"/>
                    </a:lnTo>
                    <a:lnTo>
                      <a:pt x="497726" y="161095"/>
                    </a:lnTo>
                    <a:lnTo>
                      <a:pt x="518727" y="163897"/>
                    </a:lnTo>
                    <a:lnTo>
                      <a:pt x="522981" y="173434"/>
                    </a:lnTo>
                    <a:lnTo>
                      <a:pt x="517872" y="178401"/>
                    </a:lnTo>
                    <a:lnTo>
                      <a:pt x="523904" y="193927"/>
                    </a:lnTo>
                    <a:lnTo>
                      <a:pt x="509349" y="189972"/>
                    </a:lnTo>
                    <a:lnTo>
                      <a:pt x="490218" y="208590"/>
                    </a:lnTo>
                    <a:lnTo>
                      <a:pt x="494711" y="223059"/>
                    </a:lnTo>
                    <a:lnTo>
                      <a:pt x="489981" y="244762"/>
                    </a:lnTo>
                    <a:lnTo>
                      <a:pt x="492176" y="257152"/>
                    </a:lnTo>
                    <a:lnTo>
                      <a:pt x="488955" y="278399"/>
                    </a:lnTo>
                    <a:lnTo>
                      <a:pt x="472852" y="273219"/>
                    </a:lnTo>
                    <a:lnTo>
                      <a:pt x="478321" y="299470"/>
                    </a:lnTo>
                    <a:lnTo>
                      <a:pt x="476025" y="308265"/>
                    </a:lnTo>
                    <a:lnTo>
                      <a:pt x="480448" y="318957"/>
                    </a:lnTo>
                    <a:lnTo>
                      <a:pt x="472424" y="325317"/>
                    </a:lnTo>
                    <a:lnTo>
                      <a:pt x="453365" y="285516"/>
                    </a:lnTo>
                    <a:lnTo>
                      <a:pt x="448179" y="285798"/>
                    </a:lnTo>
                    <a:lnTo>
                      <a:pt x="448808" y="302086"/>
                    </a:lnTo>
                    <a:lnTo>
                      <a:pt x="435479" y="289369"/>
                    </a:lnTo>
                    <a:lnTo>
                      <a:pt x="437938" y="274757"/>
                    </a:lnTo>
                    <a:lnTo>
                      <a:pt x="446009" y="272965"/>
                    </a:lnTo>
                    <a:lnTo>
                      <a:pt x="449455" y="251216"/>
                    </a:lnTo>
                    <a:lnTo>
                      <a:pt x="437575" y="247345"/>
                    </a:lnTo>
                    <a:lnTo>
                      <a:pt x="420291" y="248428"/>
                    </a:lnTo>
                    <a:lnTo>
                      <a:pt x="401612" y="245688"/>
                    </a:lnTo>
                    <a:lnTo>
                      <a:pt x="395614" y="228228"/>
                    </a:lnTo>
                    <a:lnTo>
                      <a:pt x="386385" y="227352"/>
                    </a:lnTo>
                    <a:lnTo>
                      <a:pt x="368866" y="217082"/>
                    </a:lnTo>
                    <a:lnTo>
                      <a:pt x="366513" y="234419"/>
                    </a:lnTo>
                    <a:lnTo>
                      <a:pt x="383267" y="247209"/>
                    </a:lnTo>
                    <a:lnTo>
                      <a:pt x="373779" y="257052"/>
                    </a:lnTo>
                    <a:lnTo>
                      <a:pt x="371754" y="266389"/>
                    </a:lnTo>
                    <a:lnTo>
                      <a:pt x="384894" y="272700"/>
                    </a:lnTo>
                    <a:lnTo>
                      <a:pt x="385143" y="288008"/>
                    </a:lnTo>
                    <a:lnTo>
                      <a:pt x="395882" y="306736"/>
                    </a:lnTo>
                    <a:lnTo>
                      <a:pt x="403276" y="327415"/>
                    </a:lnTo>
                    <a:lnTo>
                      <a:pt x="402474" y="336729"/>
                    </a:lnTo>
                    <a:lnTo>
                      <a:pt x="389480" y="336850"/>
                    </a:lnTo>
                    <a:lnTo>
                      <a:pt x="367095" y="342868"/>
                    </a:lnTo>
                    <a:lnTo>
                      <a:pt x="371904" y="361798"/>
                    </a:lnTo>
                    <a:lnTo>
                      <a:pt x="364529" y="377035"/>
                    </a:lnTo>
                    <a:lnTo>
                      <a:pt x="340053" y="394816"/>
                    </a:lnTo>
                    <a:lnTo>
                      <a:pt x="323582" y="425038"/>
                    </a:lnTo>
                    <a:lnTo>
                      <a:pt x="311635" y="441289"/>
                    </a:lnTo>
                    <a:lnTo>
                      <a:pt x="294912" y="458230"/>
                    </a:lnTo>
                    <a:lnTo>
                      <a:pt x="296565" y="469794"/>
                    </a:lnTo>
                    <a:lnTo>
                      <a:pt x="287807" y="476215"/>
                    </a:lnTo>
                    <a:lnTo>
                      <a:pt x="271621" y="485612"/>
                    </a:lnTo>
                    <a:lnTo>
                      <a:pt x="262756" y="487138"/>
                    </a:lnTo>
                    <a:lnTo>
                      <a:pt x="259451" y="506408"/>
                    </a:lnTo>
                    <a:lnTo>
                      <a:pt x="267477" y="538982"/>
                    </a:lnTo>
                    <a:lnTo>
                      <a:pt x="270865" y="559799"/>
                    </a:lnTo>
                    <a:lnTo>
                      <a:pt x="265109" y="583809"/>
                    </a:lnTo>
                    <a:lnTo>
                      <a:pt x="269019" y="626494"/>
                    </a:lnTo>
                    <a:lnTo>
                      <a:pt x="258990" y="627855"/>
                    </a:lnTo>
                    <a:lnTo>
                      <a:pt x="251644" y="647129"/>
                    </a:lnTo>
                    <a:lnTo>
                      <a:pt x="258253" y="655330"/>
                    </a:lnTo>
                    <a:lnTo>
                      <a:pt x="240896" y="662668"/>
                    </a:lnTo>
                    <a:lnTo>
                      <a:pt x="235480" y="679810"/>
                    </a:lnTo>
                    <a:lnTo>
                      <a:pt x="228071" y="687106"/>
                    </a:lnTo>
                    <a:lnTo>
                      <a:pt x="207892" y="663909"/>
                    </a:lnTo>
                    <a:lnTo>
                      <a:pt x="196136" y="628956"/>
                    </a:lnTo>
                    <a:lnTo>
                      <a:pt x="186467" y="603820"/>
                    </a:lnTo>
                    <a:lnTo>
                      <a:pt x="178541" y="592092"/>
                    </a:lnTo>
                    <a:lnTo>
                      <a:pt x="165859" y="568241"/>
                    </a:lnTo>
                    <a:lnTo>
                      <a:pt x="157763" y="537081"/>
                    </a:lnTo>
                    <a:lnTo>
                      <a:pt x="152661" y="521546"/>
                    </a:lnTo>
                    <a:lnTo>
                      <a:pt x="130950" y="487619"/>
                    </a:lnTo>
                    <a:lnTo>
                      <a:pt x="116642" y="439492"/>
                    </a:lnTo>
                    <a:lnTo>
                      <a:pt x="106349" y="407761"/>
                    </a:lnTo>
                    <a:lnTo>
                      <a:pt x="101835" y="377616"/>
                    </a:lnTo>
                    <a:lnTo>
                      <a:pt x="94394" y="354417"/>
                    </a:lnTo>
                    <a:lnTo>
                      <a:pt x="68973" y="370003"/>
                    </a:lnTo>
                    <a:lnTo>
                      <a:pt x="55034" y="367360"/>
                    </a:lnTo>
                    <a:lnTo>
                      <a:pt x="25352" y="337921"/>
                    </a:lnTo>
                    <a:lnTo>
                      <a:pt x="33040" y="328723"/>
                    </a:lnTo>
                    <a:lnTo>
                      <a:pt x="25808" y="319143"/>
                    </a:lnTo>
                    <a:lnTo>
                      <a:pt x="0" y="298713"/>
                    </a:lnTo>
                    <a:lnTo>
                      <a:pt x="9720" y="281851"/>
                    </a:lnTo>
                    <a:lnTo>
                      <a:pt x="51306" y="280733"/>
                    </a:lnTo>
                    <a:lnTo>
                      <a:pt x="43586" y="259554"/>
                    </a:lnTo>
                    <a:lnTo>
                      <a:pt x="30617" y="247305"/>
                    </a:lnTo>
                    <a:lnTo>
                      <a:pt x="24758" y="228309"/>
                    </a:lnTo>
                    <a:lnTo>
                      <a:pt x="10295" y="217573"/>
                    </a:lnTo>
                    <a:lnTo>
                      <a:pt x="25529" y="190975"/>
                    </a:lnTo>
                    <a:lnTo>
                      <a:pt x="47545" y="192140"/>
                    </a:lnTo>
                    <a:lnTo>
                      <a:pt x="61247" y="165498"/>
                    </a:lnTo>
                    <a:lnTo>
                      <a:pt x="67006" y="139938"/>
                    </a:lnTo>
                    <a:lnTo>
                      <a:pt x="78814" y="114407"/>
                    </a:lnTo>
                    <a:lnTo>
                      <a:pt x="74081" y="96762"/>
                    </a:lnTo>
                    <a:lnTo>
                      <a:pt x="85923" y="81814"/>
                    </a:lnTo>
                    <a:lnTo>
                      <a:pt x="68013" y="70186"/>
                    </a:lnTo>
                    <a:lnTo>
                      <a:pt x="57245" y="53707"/>
                    </a:lnTo>
                    <a:lnTo>
                      <a:pt x="44940" y="32316"/>
                    </a:lnTo>
                    <a:lnTo>
                      <a:pt x="50796" y="21290"/>
                    </a:lnTo>
                    <a:lnTo>
                      <a:pt x="79780" y="26144"/>
                    </a:lnTo>
                    <a:lnTo>
                      <a:pt x="98758" y="21585"/>
                    </a:lnTo>
                    <a:lnTo>
                      <a:pt x="109883" y="0"/>
                    </a:lnTo>
                    <a:lnTo>
                      <a:pt x="109883" y="0"/>
                    </a:lnTo>
                  </a:path>
                </a:pathLst>
              </a:custGeom>
              <a:ln w="5400">
                <a:solidFill>
                  <a:srgbClr val="7F7F7F">
                    <a:alpha val="100000"/>
                  </a:srgbClr>
                </a:solidFill>
                <a:prstDash val="solid"/>
                <a:round/>
              </a:ln>
            </p:spPr>
            <p:txBody>
              <a:bodyPr/>
              <a:lstStyle/>
              <a:p/>
            </p:txBody>
          </p:sp>
          <p:sp>
            <p:nvSpPr>
              <p:cNvPr id="276" name="Polygon form 241"/>
              <p:cNvSpPr/>
              <p:nvPr/>
            </p:nvSpPr>
            <p:spPr>
              <a:xfrm>
                <a:off x="3798083" y="2801480"/>
                <a:ext cx="65266" cy="83434"/>
              </a:xfrm>
              <a:custGeom>
                <a:avLst/>
                <a:gdLst/>
                <a:ahLst/>
                <a:cxnLst/>
                <a:rect l="0" t="0" r="0" b="0"/>
                <a:pathLst>
                  <a:path w="65266" h="83434">
                    <a:moveTo>
                      <a:pt x="63275" y="30609"/>
                    </a:moveTo>
                    <a:lnTo>
                      <a:pt x="65266" y="47857"/>
                    </a:lnTo>
                    <a:lnTo>
                      <a:pt x="52242" y="69343"/>
                    </a:lnTo>
                    <a:lnTo>
                      <a:pt x="22818" y="83434"/>
                    </a:lnTo>
                    <a:lnTo>
                      <a:pt x="0" y="79631"/>
                    </a:lnTo>
                    <a:lnTo>
                      <a:pt x="14558" y="54531"/>
                    </a:lnTo>
                    <a:lnTo>
                      <a:pt x="7609" y="29942"/>
                    </a:lnTo>
                    <a:lnTo>
                      <a:pt x="30295" y="11196"/>
                    </a:lnTo>
                    <a:lnTo>
                      <a:pt x="42804" y="0"/>
                    </a:lnTo>
                    <a:lnTo>
                      <a:pt x="45448" y="12944"/>
                    </a:lnTo>
                    <a:lnTo>
                      <a:pt x="41568" y="25854"/>
                    </a:lnTo>
                    <a:lnTo>
                      <a:pt x="51431" y="25576"/>
                    </a:lnTo>
                    <a:lnTo>
                      <a:pt x="63275" y="30609"/>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77" name="Polygon form 242"/>
              <p:cNvSpPr/>
              <p:nvPr/>
            </p:nvSpPr>
            <p:spPr>
              <a:xfrm>
                <a:off x="4742747" y="3163121"/>
                <a:ext cx="408859" cy="349529"/>
              </a:xfrm>
              <a:custGeom>
                <a:avLst/>
                <a:gdLst/>
                <a:ahLst/>
                <a:cxnLst/>
                <a:rect l="0" t="0" r="0" b="0"/>
                <a:pathLst>
                  <a:path w="408859" h="349529">
                    <a:moveTo>
                      <a:pt x="185400" y="56433"/>
                    </a:moveTo>
                    <a:lnTo>
                      <a:pt x="200034" y="51210"/>
                    </a:lnTo>
                    <a:lnTo>
                      <a:pt x="209530" y="36839"/>
                    </a:lnTo>
                    <a:lnTo>
                      <a:pt x="221574" y="37150"/>
                    </a:lnTo>
                    <a:lnTo>
                      <a:pt x="228301" y="32337"/>
                    </a:lnTo>
                    <a:lnTo>
                      <a:pt x="241452" y="34156"/>
                    </a:lnTo>
                    <a:lnTo>
                      <a:pt x="264060" y="45865"/>
                    </a:lnTo>
                    <a:lnTo>
                      <a:pt x="278916" y="48041"/>
                    </a:lnTo>
                    <a:lnTo>
                      <a:pt x="304533" y="68995"/>
                    </a:lnTo>
                    <a:lnTo>
                      <a:pt x="318076" y="69399"/>
                    </a:lnTo>
                    <a:lnTo>
                      <a:pt x="324598" y="89961"/>
                    </a:lnTo>
                    <a:lnTo>
                      <a:pt x="324325" y="120753"/>
                    </a:lnTo>
                    <a:lnTo>
                      <a:pt x="323326" y="138760"/>
                    </a:lnTo>
                    <a:lnTo>
                      <a:pt x="332034" y="142120"/>
                    </a:lnTo>
                    <a:lnTo>
                      <a:pt x="327176" y="155805"/>
                    </a:lnTo>
                    <a:lnTo>
                      <a:pt x="337330" y="175203"/>
                    </a:lnTo>
                    <a:lnTo>
                      <a:pt x="342015" y="190741"/>
                    </a:lnTo>
                    <a:lnTo>
                      <a:pt x="356782" y="194447"/>
                    </a:lnTo>
                    <a:lnTo>
                      <a:pt x="361541" y="210213"/>
                    </a:lnTo>
                    <a:lnTo>
                      <a:pt x="349220" y="232994"/>
                    </a:lnTo>
                    <a:lnTo>
                      <a:pt x="360888" y="245650"/>
                    </a:lnTo>
                    <a:lnTo>
                      <a:pt x="371193" y="260282"/>
                    </a:lnTo>
                    <a:lnTo>
                      <a:pt x="391030" y="270585"/>
                    </a:lnTo>
                    <a:lnTo>
                      <a:pt x="395574" y="292252"/>
                    </a:lnTo>
                    <a:lnTo>
                      <a:pt x="405251" y="295986"/>
                    </a:lnTo>
                    <a:lnTo>
                      <a:pt x="408859" y="307287"/>
                    </a:lnTo>
                    <a:lnTo>
                      <a:pt x="384033" y="320744"/>
                    </a:lnTo>
                    <a:lnTo>
                      <a:pt x="381732" y="349529"/>
                    </a:lnTo>
                    <a:lnTo>
                      <a:pt x="345048" y="342985"/>
                    </a:lnTo>
                    <a:lnTo>
                      <a:pt x="323598" y="337840"/>
                    </a:lnTo>
                    <a:lnTo>
                      <a:pt x="301836" y="335162"/>
                    </a:lnTo>
                    <a:lnTo>
                      <a:pt x="289022" y="305261"/>
                    </a:lnTo>
                    <a:lnTo>
                      <a:pt x="279344" y="301137"/>
                    </a:lnTo>
                    <a:lnTo>
                      <a:pt x="265645" y="305871"/>
                    </a:lnTo>
                    <a:lnTo>
                      <a:pt x="248564" y="318184"/>
                    </a:lnTo>
                    <a:lnTo>
                      <a:pt x="224375" y="310590"/>
                    </a:lnTo>
                    <a:lnTo>
                      <a:pt x="202585" y="292216"/>
                    </a:lnTo>
                    <a:lnTo>
                      <a:pt x="183509" y="285664"/>
                    </a:lnTo>
                    <a:lnTo>
                      <a:pt x="167477" y="262757"/>
                    </a:lnTo>
                    <a:lnTo>
                      <a:pt x="148617" y="230509"/>
                    </a:lnTo>
                    <a:lnTo>
                      <a:pt x="139276" y="234703"/>
                    </a:lnTo>
                    <a:lnTo>
                      <a:pt x="126224" y="226891"/>
                    </a:lnTo>
                    <a:lnTo>
                      <a:pt x="120794" y="236578"/>
                    </a:lnTo>
                    <a:lnTo>
                      <a:pt x="108552" y="223988"/>
                    </a:lnTo>
                    <a:lnTo>
                      <a:pt x="106328" y="210999"/>
                    </a:lnTo>
                    <a:lnTo>
                      <a:pt x="100432" y="211143"/>
                    </a:lnTo>
                    <a:lnTo>
                      <a:pt x="100631" y="193409"/>
                    </a:lnTo>
                    <a:lnTo>
                      <a:pt x="88155" y="175108"/>
                    </a:lnTo>
                    <a:lnTo>
                      <a:pt x="63527" y="162291"/>
                    </a:lnTo>
                    <a:lnTo>
                      <a:pt x="47080" y="139448"/>
                    </a:lnTo>
                    <a:lnTo>
                      <a:pt x="48097" y="120349"/>
                    </a:lnTo>
                    <a:lnTo>
                      <a:pt x="55765" y="111720"/>
                    </a:lnTo>
                    <a:lnTo>
                      <a:pt x="51899" y="97536"/>
                    </a:lnTo>
                    <a:lnTo>
                      <a:pt x="38782" y="90533"/>
                    </a:lnTo>
                    <a:lnTo>
                      <a:pt x="21965" y="61815"/>
                    </a:lnTo>
                    <a:lnTo>
                      <a:pt x="8660" y="42590"/>
                    </a:lnTo>
                    <a:lnTo>
                      <a:pt x="10760" y="34971"/>
                    </a:lnTo>
                    <a:lnTo>
                      <a:pt x="0" y="7249"/>
                    </a:lnTo>
                    <a:lnTo>
                      <a:pt x="10757" y="0"/>
                    </a:lnTo>
                    <a:lnTo>
                      <a:pt x="15336" y="9091"/>
                    </a:lnTo>
                    <a:lnTo>
                      <a:pt x="26440" y="20067"/>
                    </a:lnTo>
                    <a:lnTo>
                      <a:pt x="39226" y="22965"/>
                    </a:lnTo>
                    <a:lnTo>
                      <a:pt x="45506" y="22072"/>
                    </a:lnTo>
                    <a:lnTo>
                      <a:pt x="62751" y="3534"/>
                    </a:lnTo>
                    <a:lnTo>
                      <a:pt x="68993" y="1543"/>
                    </a:lnTo>
                    <a:lnTo>
                      <a:pt x="75692" y="8529"/>
                    </a:lnTo>
                    <a:lnTo>
                      <a:pt x="72066" y="20745"/>
                    </a:lnTo>
                    <a:lnTo>
                      <a:pt x="85720" y="33169"/>
                    </a:lnTo>
                    <a:lnTo>
                      <a:pt x="89895" y="31827"/>
                    </a:lnTo>
                    <a:lnTo>
                      <a:pt x="99165" y="49618"/>
                    </a:lnTo>
                    <a:lnTo>
                      <a:pt x="117114" y="54200"/>
                    </a:lnTo>
                    <a:lnTo>
                      <a:pt x="132024" y="66064"/>
                    </a:lnTo>
                    <a:lnTo>
                      <a:pt x="158349" y="69510"/>
                    </a:lnTo>
                    <a:lnTo>
                      <a:pt x="184928" y="62195"/>
                    </a:lnTo>
                    <a:lnTo>
                      <a:pt x="185400" y="56433"/>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78" name="Polygon form 243"/>
              <p:cNvSpPr/>
              <p:nvPr/>
            </p:nvSpPr>
            <p:spPr>
              <a:xfrm>
                <a:off x="4671127" y="3220615"/>
                <a:ext cx="192413" cy="200103"/>
              </a:xfrm>
              <a:custGeom>
                <a:avLst/>
                <a:gdLst/>
                <a:ahLst/>
                <a:cxnLst/>
                <a:rect l="0" t="0" r="0" b="0"/>
                <a:pathLst>
                  <a:path w="192413" h="200103">
                    <a:moveTo>
                      <a:pt x="110402" y="33039"/>
                    </a:moveTo>
                    <a:lnTo>
                      <a:pt x="123518" y="40042"/>
                    </a:lnTo>
                    <a:lnTo>
                      <a:pt x="127385" y="54226"/>
                    </a:lnTo>
                    <a:lnTo>
                      <a:pt x="119716" y="62856"/>
                    </a:lnTo>
                    <a:lnTo>
                      <a:pt x="118700" y="81955"/>
                    </a:lnTo>
                    <a:lnTo>
                      <a:pt x="135147" y="104798"/>
                    </a:lnTo>
                    <a:lnTo>
                      <a:pt x="159774" y="117614"/>
                    </a:lnTo>
                    <a:lnTo>
                      <a:pt x="172251" y="135915"/>
                    </a:lnTo>
                    <a:lnTo>
                      <a:pt x="172052" y="153650"/>
                    </a:lnTo>
                    <a:lnTo>
                      <a:pt x="177947" y="153505"/>
                    </a:lnTo>
                    <a:lnTo>
                      <a:pt x="180171" y="166494"/>
                    </a:lnTo>
                    <a:lnTo>
                      <a:pt x="192413" y="179084"/>
                    </a:lnTo>
                    <a:lnTo>
                      <a:pt x="181224" y="178139"/>
                    </a:lnTo>
                    <a:lnTo>
                      <a:pt x="168456" y="176390"/>
                    </a:lnTo>
                    <a:lnTo>
                      <a:pt x="158273" y="200103"/>
                    </a:lnTo>
                    <a:lnTo>
                      <a:pt x="123383" y="198882"/>
                    </a:lnTo>
                    <a:lnTo>
                      <a:pt x="64311" y="150993"/>
                    </a:lnTo>
                    <a:lnTo>
                      <a:pt x="34487" y="134527"/>
                    </a:lnTo>
                    <a:lnTo>
                      <a:pt x="11429" y="128381"/>
                    </a:lnTo>
                    <a:lnTo>
                      <a:pt x="0" y="98947"/>
                    </a:lnTo>
                    <a:lnTo>
                      <a:pt x="36702" y="72818"/>
                    </a:lnTo>
                    <a:lnTo>
                      <a:pt x="38991" y="43287"/>
                    </a:lnTo>
                    <a:lnTo>
                      <a:pt x="34442" y="25579"/>
                    </a:lnTo>
                    <a:lnTo>
                      <a:pt x="43302" y="19346"/>
                    </a:lnTo>
                    <a:lnTo>
                      <a:pt x="49946" y="3964"/>
                    </a:lnTo>
                    <a:lnTo>
                      <a:pt x="56984" y="0"/>
                    </a:lnTo>
                    <a:lnTo>
                      <a:pt x="78347" y="2615"/>
                    </a:lnTo>
                    <a:lnTo>
                      <a:pt x="85736" y="8648"/>
                    </a:lnTo>
                    <a:lnTo>
                      <a:pt x="93585" y="4321"/>
                    </a:lnTo>
                    <a:lnTo>
                      <a:pt x="110402" y="33039"/>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279" name="Polygon form 244"/>
              <p:cNvSpPr/>
              <p:nvPr/>
            </p:nvSpPr>
            <p:spPr>
              <a:xfrm>
                <a:off x="3621609" y="2525445"/>
                <a:ext cx="147716" cy="72543"/>
              </a:xfrm>
              <a:custGeom>
                <a:avLst/>
                <a:gdLst/>
                <a:ahLst/>
                <a:cxnLst/>
                <a:rect l="0" t="0" r="0" b="0"/>
                <a:pathLst>
                  <a:path w="147716" h="72543">
                    <a:moveTo>
                      <a:pt x="138897" y="1998"/>
                    </a:moveTo>
                    <a:lnTo>
                      <a:pt x="133837" y="17560"/>
                    </a:lnTo>
                    <a:lnTo>
                      <a:pt x="147716" y="34189"/>
                    </a:lnTo>
                    <a:lnTo>
                      <a:pt x="127317" y="52361"/>
                    </a:lnTo>
                    <a:lnTo>
                      <a:pt x="84188" y="68331"/>
                    </a:lnTo>
                    <a:lnTo>
                      <a:pt x="71248" y="72543"/>
                    </a:lnTo>
                    <a:lnTo>
                      <a:pt x="52961" y="68694"/>
                    </a:lnTo>
                    <a:lnTo>
                      <a:pt x="14495" y="60366"/>
                    </a:lnTo>
                    <a:lnTo>
                      <a:pt x="30304" y="49975"/>
                    </a:lnTo>
                    <a:lnTo>
                      <a:pt x="1809" y="37615"/>
                    </a:lnTo>
                    <a:lnTo>
                      <a:pt x="27474" y="33420"/>
                    </a:lnTo>
                    <a:lnTo>
                      <a:pt x="28136" y="26335"/>
                    </a:lnTo>
                    <a:lnTo>
                      <a:pt x="0" y="20170"/>
                    </a:lnTo>
                    <a:lnTo>
                      <a:pt x="12410" y="4672"/>
                    </a:lnTo>
                    <a:lnTo>
                      <a:pt x="33913" y="1504"/>
                    </a:lnTo>
                    <a:lnTo>
                      <a:pt x="52571" y="18225"/>
                    </a:lnTo>
                    <a:lnTo>
                      <a:pt x="75700" y="5451"/>
                    </a:lnTo>
                    <a:lnTo>
                      <a:pt x="92039" y="12529"/>
                    </a:lnTo>
                    <a:lnTo>
                      <a:pt x="116311" y="0"/>
                    </a:lnTo>
                    <a:lnTo>
                      <a:pt x="138897" y="1998"/>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280" name="Polygon form 245"/>
              <p:cNvSpPr/>
              <p:nvPr/>
            </p:nvSpPr>
            <p:spPr>
              <a:xfrm>
                <a:off x="4594497" y="3323066"/>
                <a:ext cx="24139" cy="91920"/>
              </a:xfrm>
              <a:custGeom>
                <a:avLst/>
                <a:gdLst/>
                <a:ahLst/>
                <a:cxnLst/>
                <a:rect l="0" t="0" r="0" b="0"/>
                <a:pathLst>
                  <a:path w="24139" h="91920">
                    <a:moveTo>
                      <a:pt x="22484" y="13822"/>
                    </a:moveTo>
                    <a:lnTo>
                      <a:pt x="20230" y="21527"/>
                    </a:lnTo>
                    <a:lnTo>
                      <a:pt x="13172" y="18285"/>
                    </a:lnTo>
                    <a:lnTo>
                      <a:pt x="11265" y="34508"/>
                    </a:lnTo>
                    <a:lnTo>
                      <a:pt x="16219" y="37152"/>
                    </a:lnTo>
                    <a:lnTo>
                      <a:pt x="11905" y="40571"/>
                    </a:lnTo>
                    <a:lnTo>
                      <a:pt x="11857" y="46974"/>
                    </a:lnTo>
                    <a:lnTo>
                      <a:pt x="20151" y="43534"/>
                    </a:lnTo>
                    <a:lnTo>
                      <a:pt x="21694" y="52967"/>
                    </a:lnTo>
                    <a:lnTo>
                      <a:pt x="16831" y="91920"/>
                    </a:lnTo>
                    <a:lnTo>
                      <a:pt x="0" y="50432"/>
                    </a:lnTo>
                    <a:lnTo>
                      <a:pt x="4456" y="42349"/>
                    </a:lnTo>
                    <a:lnTo>
                      <a:pt x="3037" y="40995"/>
                    </a:lnTo>
                    <a:lnTo>
                      <a:pt x="6581" y="29573"/>
                    </a:lnTo>
                    <a:lnTo>
                      <a:pt x="8103" y="11205"/>
                    </a:lnTo>
                    <a:lnTo>
                      <a:pt x="9968" y="5017"/>
                    </a:lnTo>
                    <a:lnTo>
                      <a:pt x="10443" y="4757"/>
                    </a:lnTo>
                    <a:lnTo>
                      <a:pt x="16580" y="4691"/>
                    </a:lnTo>
                    <a:lnTo>
                      <a:pt x="17731" y="409"/>
                    </a:lnTo>
                    <a:lnTo>
                      <a:pt x="22602" y="0"/>
                    </a:lnTo>
                    <a:lnTo>
                      <a:pt x="24139" y="9926"/>
                    </a:lnTo>
                    <a:lnTo>
                      <a:pt x="22113" y="13663"/>
                    </a:lnTo>
                    <a:lnTo>
                      <a:pt x="22484" y="13822"/>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81" name="Polygon form 246"/>
              <p:cNvSpPr/>
              <p:nvPr/>
            </p:nvSpPr>
            <p:spPr>
              <a:xfrm>
                <a:off x="4076008" y="2994359"/>
                <a:ext cx="211181" cy="221702"/>
              </a:xfrm>
              <a:custGeom>
                <a:avLst/>
                <a:gdLst/>
                <a:ahLst/>
                <a:cxnLst/>
                <a:rect l="0" t="0" r="0" b="0"/>
                <a:pathLst>
                  <a:path w="211181" h="221702">
                    <a:moveTo>
                      <a:pt x="93805" y="8363"/>
                    </a:moveTo>
                    <a:lnTo>
                      <a:pt x="118453" y="14380"/>
                    </a:lnTo>
                    <a:lnTo>
                      <a:pt x="117454" y="26284"/>
                    </a:lnTo>
                    <a:lnTo>
                      <a:pt x="122259" y="36522"/>
                    </a:lnTo>
                    <a:lnTo>
                      <a:pt x="108438" y="33129"/>
                    </a:lnTo>
                    <a:lnTo>
                      <a:pt x="95108" y="41813"/>
                    </a:lnTo>
                    <a:lnTo>
                      <a:pt x="96795" y="53785"/>
                    </a:lnTo>
                    <a:lnTo>
                      <a:pt x="95112" y="60678"/>
                    </a:lnTo>
                    <a:lnTo>
                      <a:pt x="101505" y="72920"/>
                    </a:lnTo>
                    <a:lnTo>
                      <a:pt x="118474" y="84939"/>
                    </a:lnTo>
                    <a:lnTo>
                      <a:pt x="128508" y="104818"/>
                    </a:lnTo>
                    <a:lnTo>
                      <a:pt x="149239" y="124094"/>
                    </a:lnTo>
                    <a:lnTo>
                      <a:pt x="162934" y="123812"/>
                    </a:lnTo>
                    <a:lnTo>
                      <a:pt x="167591" y="129106"/>
                    </a:lnTo>
                    <a:lnTo>
                      <a:pt x="163026" y="133965"/>
                    </a:lnTo>
                    <a:lnTo>
                      <a:pt x="179393" y="142535"/>
                    </a:lnTo>
                    <a:lnTo>
                      <a:pt x="192867" y="149703"/>
                    </a:lnTo>
                    <a:lnTo>
                      <a:pt x="208987" y="162134"/>
                    </a:lnTo>
                    <a:lnTo>
                      <a:pt x="211181" y="166625"/>
                    </a:lnTo>
                    <a:lnTo>
                      <a:pt x="208566" y="175310"/>
                    </a:lnTo>
                    <a:lnTo>
                      <a:pt x="197861" y="164140"/>
                    </a:lnTo>
                    <a:lnTo>
                      <a:pt x="182216" y="160325"/>
                    </a:lnTo>
                    <a:lnTo>
                      <a:pt x="175908" y="176019"/>
                    </a:lnTo>
                    <a:lnTo>
                      <a:pt x="189377" y="184844"/>
                    </a:lnTo>
                    <a:lnTo>
                      <a:pt x="188183" y="197467"/>
                    </a:lnTo>
                    <a:lnTo>
                      <a:pt x="180841" y="198972"/>
                    </a:lnTo>
                    <a:lnTo>
                      <a:pt x="172709" y="219774"/>
                    </a:lnTo>
                    <a:lnTo>
                      <a:pt x="165363" y="221702"/>
                    </a:lnTo>
                    <a:lnTo>
                      <a:pt x="164956" y="214319"/>
                    </a:lnTo>
                    <a:lnTo>
                      <a:pt x="167748" y="201334"/>
                    </a:lnTo>
                    <a:lnTo>
                      <a:pt x="171274" y="196140"/>
                    </a:lnTo>
                    <a:lnTo>
                      <a:pt x="163383" y="182212"/>
                    </a:lnTo>
                    <a:lnTo>
                      <a:pt x="157154" y="170086"/>
                    </a:lnTo>
                    <a:lnTo>
                      <a:pt x="149611" y="167144"/>
                    </a:lnTo>
                    <a:lnTo>
                      <a:pt x="143717" y="156771"/>
                    </a:lnTo>
                    <a:lnTo>
                      <a:pt x="132108" y="152481"/>
                    </a:lnTo>
                    <a:lnTo>
                      <a:pt x="123892" y="142842"/>
                    </a:lnTo>
                    <a:lnTo>
                      <a:pt x="110796" y="141384"/>
                    </a:lnTo>
                    <a:lnTo>
                      <a:pt x="96467" y="130593"/>
                    </a:lnTo>
                    <a:lnTo>
                      <a:pt x="79627" y="115000"/>
                    </a:lnTo>
                    <a:lnTo>
                      <a:pt x="67077" y="101179"/>
                    </a:lnTo>
                    <a:lnTo>
                      <a:pt x="60490" y="77360"/>
                    </a:lnTo>
                    <a:lnTo>
                      <a:pt x="51764" y="74609"/>
                    </a:lnTo>
                    <a:lnTo>
                      <a:pt x="37375" y="66729"/>
                    </a:lnTo>
                    <a:lnTo>
                      <a:pt x="29580" y="70034"/>
                    </a:lnTo>
                    <a:lnTo>
                      <a:pt x="20046" y="81284"/>
                    </a:lnTo>
                    <a:lnTo>
                      <a:pt x="12922" y="83088"/>
                    </a:lnTo>
                    <a:lnTo>
                      <a:pt x="14519" y="72606"/>
                    </a:lnTo>
                    <a:lnTo>
                      <a:pt x="5063" y="69589"/>
                    </a:lnTo>
                    <a:lnTo>
                      <a:pt x="0" y="50940"/>
                    </a:lnTo>
                    <a:lnTo>
                      <a:pt x="5683" y="43565"/>
                    </a:lnTo>
                    <a:lnTo>
                      <a:pt x="337" y="34528"/>
                    </a:lnTo>
                    <a:lnTo>
                      <a:pt x="803" y="27708"/>
                    </a:lnTo>
                    <a:lnTo>
                      <a:pt x="8321" y="32841"/>
                    </a:lnTo>
                    <a:lnTo>
                      <a:pt x="16499" y="31653"/>
                    </a:lnTo>
                    <a:lnTo>
                      <a:pt x="25709" y="23418"/>
                    </a:lnTo>
                    <a:lnTo>
                      <a:pt x="28822" y="27226"/>
                    </a:lnTo>
                    <a:lnTo>
                      <a:pt x="36897" y="26411"/>
                    </a:lnTo>
                    <a:lnTo>
                      <a:pt x="40124" y="16658"/>
                    </a:lnTo>
                    <a:lnTo>
                      <a:pt x="52836" y="19601"/>
                    </a:lnTo>
                    <a:lnTo>
                      <a:pt x="60100" y="15479"/>
                    </a:lnTo>
                    <a:lnTo>
                      <a:pt x="60908" y="5577"/>
                    </a:lnTo>
                    <a:lnTo>
                      <a:pt x="71352" y="8933"/>
                    </a:lnTo>
                    <a:lnTo>
                      <a:pt x="73052" y="4328"/>
                    </a:lnTo>
                    <a:lnTo>
                      <a:pt x="89490" y="0"/>
                    </a:lnTo>
                    <a:lnTo>
                      <a:pt x="93805" y="8363"/>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82" name="Polygon form 247"/>
              <p:cNvSpPr/>
              <p:nvPr/>
            </p:nvSpPr>
            <p:spPr>
              <a:xfrm>
                <a:off x="4183445" y="3208305"/>
                <a:ext cx="54496" cy="38969"/>
              </a:xfrm>
              <a:custGeom>
                <a:avLst/>
                <a:gdLst/>
                <a:ahLst/>
                <a:cxnLst/>
                <a:rect l="0" t="0" r="0" b="0"/>
                <a:pathLst>
                  <a:path w="54496" h="38969">
                    <a:moveTo>
                      <a:pt x="54496" y="0"/>
                    </a:moveTo>
                    <a:lnTo>
                      <a:pt x="49233" y="19062"/>
                    </a:lnTo>
                    <a:lnTo>
                      <a:pt x="52381" y="26520"/>
                    </a:lnTo>
                    <a:lnTo>
                      <a:pt x="49348" y="38969"/>
                    </a:lnTo>
                    <a:lnTo>
                      <a:pt x="35034" y="29987"/>
                    </a:lnTo>
                    <a:lnTo>
                      <a:pt x="25734" y="27454"/>
                    </a:lnTo>
                    <a:lnTo>
                      <a:pt x="0" y="15365"/>
                    </a:lnTo>
                    <a:lnTo>
                      <a:pt x="1875" y="2954"/>
                    </a:lnTo>
                    <a:lnTo>
                      <a:pt x="22944" y="5003"/>
                    </a:lnTo>
                    <a:lnTo>
                      <a:pt x="41049" y="2225"/>
                    </a:lnTo>
                    <a:lnTo>
                      <a:pt x="54496" y="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83" name="Polygon form 248"/>
              <p:cNvSpPr/>
              <p:nvPr/>
            </p:nvSpPr>
            <p:spPr>
              <a:xfrm>
                <a:off x="4103977" y="3137220"/>
                <a:ext cx="29527" cy="55621"/>
              </a:xfrm>
              <a:custGeom>
                <a:avLst/>
                <a:gdLst/>
                <a:ahLst/>
                <a:cxnLst/>
                <a:rect l="0" t="0" r="0" b="0"/>
                <a:pathLst>
                  <a:path w="29527" h="55621">
                    <a:moveTo>
                      <a:pt x="18231" y="0"/>
                    </a:moveTo>
                    <a:lnTo>
                      <a:pt x="29527" y="17072"/>
                    </a:lnTo>
                    <a:lnTo>
                      <a:pt x="28383" y="49005"/>
                    </a:lnTo>
                    <a:lnTo>
                      <a:pt x="20232" y="47527"/>
                    </a:lnTo>
                    <a:lnTo>
                      <a:pt x="13276" y="55621"/>
                    </a:lnTo>
                    <a:lnTo>
                      <a:pt x="6299" y="49255"/>
                    </a:lnTo>
                    <a:lnTo>
                      <a:pt x="4532" y="20146"/>
                    </a:lnTo>
                    <a:lnTo>
                      <a:pt x="0" y="6371"/>
                    </a:lnTo>
                    <a:lnTo>
                      <a:pt x="9732" y="7529"/>
                    </a:lnTo>
                    <a:lnTo>
                      <a:pt x="18231" y="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84" name="Polyline form 249"/>
              <p:cNvSpPr/>
              <p:nvPr/>
            </p:nvSpPr>
            <p:spPr>
              <a:xfrm>
                <a:off x="6038852" y="4429000"/>
                <a:ext cx="782394" cy="774000"/>
              </a:xfrm>
              <a:custGeom>
                <a:avLst/>
                <a:gdLst/>
                <a:ahLst/>
                <a:cxnLst/>
                <a:rect l="0" t="0" r="0" b="0"/>
                <a:pathLst>
                  <a:path w="782394" h="774000">
                    <a:moveTo>
                      <a:pt x="713248" y="86688"/>
                    </a:moveTo>
                    <a:lnTo>
                      <a:pt x="715230" y="108762"/>
                    </a:lnTo>
                    <a:lnTo>
                      <a:pt x="730011" y="98887"/>
                    </a:lnTo>
                    <a:lnTo>
                      <a:pt x="733639" y="110947"/>
                    </a:lnTo>
                    <a:lnTo>
                      <a:pt x="740242" y="122251"/>
                    </a:lnTo>
                    <a:lnTo>
                      <a:pt x="735213" y="134461"/>
                    </a:lnTo>
                    <a:lnTo>
                      <a:pt x="733121" y="158472"/>
                    </a:lnTo>
                    <a:lnTo>
                      <a:pt x="732263" y="172477"/>
                    </a:lnTo>
                    <a:lnTo>
                      <a:pt x="736126" y="176132"/>
                    </a:lnTo>
                    <a:lnTo>
                      <a:pt x="734517" y="200126"/>
                    </a:lnTo>
                    <a:lnTo>
                      <a:pt x="728414" y="214370"/>
                    </a:lnTo>
                    <a:lnTo>
                      <a:pt x="728756" y="233519"/>
                    </a:lnTo>
                    <a:lnTo>
                      <a:pt x="744546" y="249316"/>
                    </a:lnTo>
                    <a:lnTo>
                      <a:pt x="753461" y="263381"/>
                    </a:lnTo>
                    <a:lnTo>
                      <a:pt x="761918" y="276325"/>
                    </a:lnTo>
                    <a:lnTo>
                      <a:pt x="757136" y="282861"/>
                    </a:lnTo>
                    <a:lnTo>
                      <a:pt x="761626" y="301006"/>
                    </a:lnTo>
                    <a:lnTo>
                      <a:pt x="757695" y="331491"/>
                    </a:lnTo>
                    <a:lnTo>
                      <a:pt x="767399" y="325993"/>
                    </a:lnTo>
                    <a:lnTo>
                      <a:pt x="770288" y="338579"/>
                    </a:lnTo>
                    <a:lnTo>
                      <a:pt x="776454" y="334685"/>
                    </a:lnTo>
                    <a:lnTo>
                      <a:pt x="767990" y="364259"/>
                    </a:lnTo>
                    <a:lnTo>
                      <a:pt x="773976" y="382327"/>
                    </a:lnTo>
                    <a:lnTo>
                      <a:pt x="777976" y="393609"/>
                    </a:lnTo>
                    <a:lnTo>
                      <a:pt x="782394" y="417240"/>
                    </a:lnTo>
                    <a:lnTo>
                      <a:pt x="777391" y="439868"/>
                    </a:lnTo>
                    <a:lnTo>
                      <a:pt x="770507" y="455600"/>
                    </a:lnTo>
                    <a:lnTo>
                      <a:pt x="761120" y="472476"/>
                    </a:lnTo>
                    <a:lnTo>
                      <a:pt x="758090" y="496622"/>
                    </a:lnTo>
                    <a:lnTo>
                      <a:pt x="744696" y="520708"/>
                    </a:lnTo>
                    <a:lnTo>
                      <a:pt x="735034" y="533011"/>
                    </a:lnTo>
                    <a:lnTo>
                      <a:pt x="717305" y="556753"/>
                    </a:lnTo>
                    <a:lnTo>
                      <a:pt x="709108" y="572339"/>
                    </a:lnTo>
                    <a:lnTo>
                      <a:pt x="694786" y="591337"/>
                    </a:lnTo>
                    <a:lnTo>
                      <a:pt x="673065" y="614973"/>
                    </a:lnTo>
                    <a:lnTo>
                      <a:pt x="652650" y="626689"/>
                    </a:lnTo>
                    <a:lnTo>
                      <a:pt x="634055" y="646691"/>
                    </a:lnTo>
                    <a:lnTo>
                      <a:pt x="620393" y="659209"/>
                    </a:lnTo>
                    <a:lnTo>
                      <a:pt x="601178" y="681564"/>
                    </a:lnTo>
                    <a:lnTo>
                      <a:pt x="586377" y="693988"/>
                    </a:lnTo>
                    <a:lnTo>
                      <a:pt x="569465" y="713248"/>
                    </a:lnTo>
                    <a:lnTo>
                      <a:pt x="555435" y="731129"/>
                    </a:lnTo>
                    <a:lnTo>
                      <a:pt x="550747" y="739548"/>
                    </a:lnTo>
                    <a:lnTo>
                      <a:pt x="535228" y="747465"/>
                    </a:lnTo>
                    <a:lnTo>
                      <a:pt x="516239" y="746092"/>
                    </a:lnTo>
                    <a:lnTo>
                      <a:pt x="493946" y="754913"/>
                    </a:lnTo>
                    <a:lnTo>
                      <a:pt x="479641" y="764071"/>
                    </a:lnTo>
                    <a:lnTo>
                      <a:pt x="462228" y="774000"/>
                    </a:lnTo>
                    <a:lnTo>
                      <a:pt x="456457" y="760819"/>
                    </a:lnTo>
                    <a:lnTo>
                      <a:pt x="449463" y="754997"/>
                    </a:lnTo>
                    <a:lnTo>
                      <a:pt x="460916" y="741726"/>
                    </a:lnTo>
                    <a:lnTo>
                      <a:pt x="448701" y="745568"/>
                    </a:lnTo>
                    <a:lnTo>
                      <a:pt x="421967" y="762657"/>
                    </a:lnTo>
                    <a:lnTo>
                      <a:pt x="412392" y="753912"/>
                    </a:lnTo>
                    <a:lnTo>
                      <a:pt x="405713" y="748697"/>
                    </a:lnTo>
                    <a:lnTo>
                      <a:pt x="397472" y="745733"/>
                    </a:lnTo>
                    <a:lnTo>
                      <a:pt x="386217" y="736372"/>
                    </a:lnTo>
                    <a:lnTo>
                      <a:pt x="385420" y="719137"/>
                    </a:lnTo>
                    <a:lnTo>
                      <a:pt x="394309" y="699020"/>
                    </a:lnTo>
                    <a:lnTo>
                      <a:pt x="398224" y="685410"/>
                    </a:lnTo>
                    <a:lnTo>
                      <a:pt x="396094" y="673921"/>
                    </a:lnTo>
                    <a:lnTo>
                      <a:pt x="381565" y="669047"/>
                    </a:lnTo>
                    <a:lnTo>
                      <a:pt x="394377" y="656952"/>
                    </a:lnTo>
                    <a:lnTo>
                      <a:pt x="401089" y="637073"/>
                    </a:lnTo>
                    <a:lnTo>
                      <a:pt x="382646" y="654341"/>
                    </a:lnTo>
                    <a:lnTo>
                      <a:pt x="364753" y="657581"/>
                    </a:lnTo>
                    <a:lnTo>
                      <a:pt x="381747" y="644032"/>
                    </a:lnTo>
                    <a:lnTo>
                      <a:pt x="392632" y="629177"/>
                    </a:lnTo>
                    <a:lnTo>
                      <a:pt x="406237" y="616985"/>
                    </a:lnTo>
                    <a:lnTo>
                      <a:pt x="415169" y="597371"/>
                    </a:lnTo>
                    <a:lnTo>
                      <a:pt x="389213" y="618405"/>
                    </a:lnTo>
                    <a:lnTo>
                      <a:pt x="373618" y="626306"/>
                    </a:lnTo>
                    <a:lnTo>
                      <a:pt x="355730" y="646452"/>
                    </a:lnTo>
                    <a:lnTo>
                      <a:pt x="348150" y="634373"/>
                    </a:lnTo>
                    <a:lnTo>
                      <a:pt x="356093" y="620548"/>
                    </a:lnTo>
                    <a:lnTo>
                      <a:pt x="355138" y="600521"/>
                    </a:lnTo>
                    <a:lnTo>
                      <a:pt x="350944" y="589840"/>
                    </a:lnTo>
                    <a:lnTo>
                      <a:pt x="357281" y="584090"/>
                    </a:lnTo>
                    <a:lnTo>
                      <a:pt x="342626" y="566146"/>
                    </a:lnTo>
                    <a:lnTo>
                      <a:pt x="330617" y="564298"/>
                    </a:lnTo>
                    <a:lnTo>
                      <a:pt x="319728" y="550053"/>
                    </a:lnTo>
                    <a:lnTo>
                      <a:pt x="286872" y="549830"/>
                    </a:lnTo>
                    <a:lnTo>
                      <a:pt x="259603" y="557256"/>
                    </a:lnTo>
                    <a:lnTo>
                      <a:pt x="235438" y="564272"/>
                    </a:lnTo>
                    <a:lnTo>
                      <a:pt x="219373" y="561151"/>
                    </a:lnTo>
                    <a:lnTo>
                      <a:pt x="194488" y="572928"/>
                    </a:lnTo>
                    <a:lnTo>
                      <a:pt x="176426" y="577654"/>
                    </a:lnTo>
                    <a:lnTo>
                      <a:pt x="166687" y="590945"/>
                    </a:lnTo>
                    <a:lnTo>
                      <a:pt x="155234" y="600908"/>
                    </a:lnTo>
                    <a:lnTo>
                      <a:pt x="140069" y="600301"/>
                    </a:lnTo>
                    <a:lnTo>
                      <a:pt x="127981" y="601689"/>
                    </a:lnTo>
                    <a:lnTo>
                      <a:pt x="114675" y="595727"/>
                    </a:lnTo>
                    <a:lnTo>
                      <a:pt x="100747" y="597521"/>
                    </a:lnTo>
                    <a:lnTo>
                      <a:pt x="88144" y="597738"/>
                    </a:lnTo>
                    <a:lnTo>
                      <a:pt x="71362" y="610606"/>
                    </a:lnTo>
                    <a:lnTo>
                      <a:pt x="66797" y="609037"/>
                    </a:lnTo>
                    <a:lnTo>
                      <a:pt x="54644" y="615587"/>
                    </a:lnTo>
                    <a:lnTo>
                      <a:pt x="42435" y="623061"/>
                    </a:lnTo>
                    <a:lnTo>
                      <a:pt x="30166" y="621042"/>
                    </a:lnTo>
                    <a:lnTo>
                      <a:pt x="18454" y="620110"/>
                    </a:lnTo>
                    <a:lnTo>
                      <a:pt x="7292" y="602339"/>
                    </a:lnTo>
                    <a:lnTo>
                      <a:pt x="0" y="596767"/>
                    </a:lnTo>
                    <a:lnTo>
                      <a:pt x="6823" y="582131"/>
                    </a:lnTo>
                    <a:lnTo>
                      <a:pt x="17120" y="579294"/>
                    </a:lnTo>
                    <a:lnTo>
                      <a:pt x="22653" y="573680"/>
                    </a:lnTo>
                    <a:lnTo>
                      <a:pt x="25989" y="564421"/>
                    </a:lnTo>
                    <a:lnTo>
                      <a:pt x="35712" y="546726"/>
                    </a:lnTo>
                    <a:lnTo>
                      <a:pt x="40011" y="531348"/>
                    </a:lnTo>
                    <a:lnTo>
                      <a:pt x="40949" y="504674"/>
                    </a:lnTo>
                    <a:lnTo>
                      <a:pt x="43709" y="489768"/>
                    </a:lnTo>
                    <a:lnTo>
                      <a:pt x="50080" y="475131"/>
                    </a:lnTo>
                    <a:lnTo>
                      <a:pt x="49084" y="457865"/>
                    </a:lnTo>
                    <a:lnTo>
                      <a:pt x="51385" y="450249"/>
                    </a:lnTo>
                    <a:lnTo>
                      <a:pt x="46983" y="439455"/>
                    </a:lnTo>
                    <a:lnTo>
                      <a:pt x="51781" y="419072"/>
                    </a:lnTo>
                    <a:lnTo>
                      <a:pt x="48183" y="397976"/>
                    </a:lnTo>
                    <a:lnTo>
                      <a:pt x="49255" y="386792"/>
                    </a:lnTo>
                    <a:lnTo>
                      <a:pt x="53686" y="398452"/>
                    </a:lnTo>
                    <a:lnTo>
                      <a:pt x="55284" y="374077"/>
                    </a:lnTo>
                    <a:lnTo>
                      <a:pt x="62052" y="382109"/>
                    </a:lnTo>
                    <a:lnTo>
                      <a:pt x="64233" y="392455"/>
                    </a:lnTo>
                    <a:lnTo>
                      <a:pt x="68275" y="379166"/>
                    </a:lnTo>
                    <a:lnTo>
                      <a:pt x="65588" y="358238"/>
                    </a:lnTo>
                    <a:lnTo>
                      <a:pt x="66337" y="349972"/>
                    </a:lnTo>
                    <a:lnTo>
                      <a:pt x="64388" y="341977"/>
                    </a:lnTo>
                    <a:lnTo>
                      <a:pt x="70916" y="327073"/>
                    </a:lnTo>
                    <a:lnTo>
                      <a:pt x="76637" y="320881"/>
                    </a:lnTo>
                    <a:lnTo>
                      <a:pt x="82971" y="308012"/>
                    </a:lnTo>
                    <a:lnTo>
                      <a:pt x="85273" y="292709"/>
                    </a:lnTo>
                    <a:lnTo>
                      <a:pt x="98220" y="274357"/>
                    </a:lnTo>
                    <a:lnTo>
                      <a:pt x="94161" y="294261"/>
                    </a:lnTo>
                    <a:lnTo>
                      <a:pt x="107093" y="276733"/>
                    </a:lnTo>
                    <a:lnTo>
                      <a:pt x="124803" y="268759"/>
                    </a:lnTo>
                    <a:lnTo>
                      <a:pt x="137011" y="258062"/>
                    </a:lnTo>
                    <a:lnTo>
                      <a:pt x="154026" y="249154"/>
                    </a:lnTo>
                    <a:lnTo>
                      <a:pt x="163179" y="247520"/>
                    </a:lnTo>
                    <a:lnTo>
                      <a:pt x="167533" y="251002"/>
                    </a:lnTo>
                    <a:lnTo>
                      <a:pt x="185053" y="241944"/>
                    </a:lnTo>
                    <a:lnTo>
                      <a:pt x="197319" y="239583"/>
                    </a:lnTo>
                    <a:lnTo>
                      <a:pt x="201708" y="233961"/>
                    </a:lnTo>
                    <a:lnTo>
                      <a:pt x="207357" y="231800"/>
                    </a:lnTo>
                    <a:lnTo>
                      <a:pt x="217685" y="232922"/>
                    </a:lnTo>
                    <a:lnTo>
                      <a:pt x="239656" y="226162"/>
                    </a:lnTo>
                    <a:lnTo>
                      <a:pt x="253018" y="214934"/>
                    </a:lnTo>
                    <a:lnTo>
                      <a:pt x="261449" y="201035"/>
                    </a:lnTo>
                    <a:lnTo>
                      <a:pt x="275950" y="188111"/>
                    </a:lnTo>
                    <a:lnTo>
                      <a:pt x="279358" y="177577"/>
                    </a:lnTo>
                    <a:lnTo>
                      <a:pt x="283240" y="163188"/>
                    </a:lnTo>
                    <a:lnTo>
                      <a:pt x="301759" y="141198"/>
                    </a:lnTo>
                    <a:lnTo>
                      <a:pt x="304628" y="164479"/>
                    </a:lnTo>
                    <a:lnTo>
                      <a:pt x="314014" y="159530"/>
                    </a:lnTo>
                    <a:lnTo>
                      <a:pt x="310050" y="146675"/>
                    </a:lnTo>
                    <a:lnTo>
                      <a:pt x="318936" y="134017"/>
                    </a:lnTo>
                    <a:lnTo>
                      <a:pt x="326145" y="140135"/>
                    </a:lnTo>
                    <a:lnTo>
                      <a:pt x="332881" y="119958"/>
                    </a:lnTo>
                    <a:lnTo>
                      <a:pt x="346154" y="107249"/>
                    </a:lnTo>
                    <a:lnTo>
                      <a:pt x="352953" y="96887"/>
                    </a:lnTo>
                    <a:lnTo>
                      <a:pt x="363575" y="92702"/>
                    </a:lnTo>
                    <a:lnTo>
                      <a:pt x="365356" y="85240"/>
                    </a:lnTo>
                    <a:lnTo>
                      <a:pt x="373233" y="88680"/>
                    </a:lnTo>
                    <a:lnTo>
                      <a:pt x="374896" y="81963"/>
                    </a:lnTo>
                    <a:lnTo>
                      <a:pt x="384147" y="78440"/>
                    </a:lnTo>
                    <a:lnTo>
                      <a:pt x="394194" y="75168"/>
                    </a:lnTo>
                    <a:lnTo>
                      <a:pt x="406062" y="88022"/>
                    </a:lnTo>
                    <a:lnTo>
                      <a:pt x="413517" y="104350"/>
                    </a:lnTo>
                    <a:lnTo>
                      <a:pt x="425547" y="105020"/>
                    </a:lnTo>
                    <a:lnTo>
                      <a:pt x="437270" y="108043"/>
                    </a:lnTo>
                    <a:lnTo>
                      <a:pt x="436279" y="93093"/>
                    </a:lnTo>
                    <a:lnTo>
                      <a:pt x="449857" y="71834"/>
                    </a:lnTo>
                    <a:lnTo>
                      <a:pt x="459946" y="65106"/>
                    </a:lnTo>
                    <a:lnTo>
                      <a:pt x="458202" y="58248"/>
                    </a:lnTo>
                    <a:lnTo>
                      <a:pt x="469461" y="43115"/>
                    </a:lnTo>
                    <a:lnTo>
                      <a:pt x="482920" y="33975"/>
                    </a:lnTo>
                    <a:lnTo>
                      <a:pt x="492287" y="37536"/>
                    </a:lnTo>
                    <a:lnTo>
                      <a:pt x="509513" y="32990"/>
                    </a:lnTo>
                    <a:lnTo>
                      <a:pt x="511563" y="19099"/>
                    </a:lnTo>
                    <a:lnTo>
                      <a:pt x="498794" y="9698"/>
                    </a:lnTo>
                    <a:lnTo>
                      <a:pt x="509805" y="6083"/>
                    </a:lnTo>
                    <a:lnTo>
                      <a:pt x="521594" y="13236"/>
                    </a:lnTo>
                    <a:lnTo>
                      <a:pt x="530031" y="24738"/>
                    </a:lnTo>
                    <a:lnTo>
                      <a:pt x="545171" y="32272"/>
                    </a:lnTo>
                    <a:lnTo>
                      <a:pt x="551210" y="29708"/>
                    </a:lnTo>
                    <a:lnTo>
                      <a:pt x="561735" y="38525"/>
                    </a:lnTo>
                    <a:lnTo>
                      <a:pt x="574498" y="31110"/>
                    </a:lnTo>
                    <a:lnTo>
                      <a:pt x="581365" y="33753"/>
                    </a:lnTo>
                    <a:lnTo>
                      <a:pt x="586860" y="28658"/>
                    </a:lnTo>
                    <a:lnTo>
                      <a:pt x="593292" y="42529"/>
                    </a:lnTo>
                    <a:lnTo>
                      <a:pt x="585324" y="56983"/>
                    </a:lnTo>
                    <a:lnTo>
                      <a:pt x="575786" y="67740"/>
                    </a:lnTo>
                    <a:lnTo>
                      <a:pt x="568955" y="68385"/>
                    </a:lnTo>
                    <a:lnTo>
                      <a:pt x="568971" y="79389"/>
                    </a:lnTo>
                    <a:lnTo>
                      <a:pt x="560429" y="92786"/>
                    </a:lnTo>
                    <a:lnTo>
                      <a:pt x="550669" y="105884"/>
                    </a:lnTo>
                    <a:lnTo>
                      <a:pt x="550332" y="113631"/>
                    </a:lnTo>
                    <a:lnTo>
                      <a:pt x="562150" y="129375"/>
                    </a:lnTo>
                    <a:lnTo>
                      <a:pt x="574847" y="138810"/>
                    </a:lnTo>
                    <a:lnTo>
                      <a:pt x="582416" y="148684"/>
                    </a:lnTo>
                    <a:lnTo>
                      <a:pt x="592136" y="165557"/>
                    </a:lnTo>
                    <a:lnTo>
                      <a:pt x="597529" y="165808"/>
                    </a:lnTo>
                    <a:lnTo>
                      <a:pt x="605684" y="173328"/>
                    </a:lnTo>
                    <a:lnTo>
                      <a:pt x="606322" y="181929"/>
                    </a:lnTo>
                    <a:lnTo>
                      <a:pt x="621954" y="192202"/>
                    </a:lnTo>
                    <a:lnTo>
                      <a:pt x="637107" y="183532"/>
                    </a:lnTo>
                    <a:lnTo>
                      <a:pt x="644817" y="168996"/>
                    </a:lnTo>
                    <a:lnTo>
                      <a:pt x="651892" y="157024"/>
                    </a:lnTo>
                    <a:lnTo>
                      <a:pt x="658112" y="142064"/>
                    </a:lnTo>
                    <a:lnTo>
                      <a:pt x="669303" y="120438"/>
                    </a:lnTo>
                    <a:lnTo>
                      <a:pt x="669758" y="106978"/>
                    </a:lnTo>
                    <a:lnTo>
                      <a:pt x="672978" y="99016"/>
                    </a:lnTo>
                    <a:lnTo>
                      <a:pt x="674239" y="83121"/>
                    </a:lnTo>
                    <a:lnTo>
                      <a:pt x="681151" y="62419"/>
                    </a:lnTo>
                    <a:lnTo>
                      <a:pt x="686004" y="56956"/>
                    </a:lnTo>
                    <a:lnTo>
                      <a:pt x="684824" y="47598"/>
                    </a:lnTo>
                    <a:lnTo>
                      <a:pt x="692327" y="33110"/>
                    </a:lnTo>
                    <a:lnTo>
                      <a:pt x="698810" y="18028"/>
                    </a:lnTo>
                    <a:lnTo>
                      <a:pt x="700701" y="10137"/>
                    </a:lnTo>
                    <a:lnTo>
                      <a:pt x="709722" y="0"/>
                    </a:lnTo>
                    <a:lnTo>
                      <a:pt x="712854" y="13774"/>
                    </a:lnTo>
                    <a:lnTo>
                      <a:pt x="711021" y="31237"/>
                    </a:lnTo>
                    <a:lnTo>
                      <a:pt x="715223" y="34780"/>
                    </a:lnTo>
                    <a:lnTo>
                      <a:pt x="713793" y="46470"/>
                    </a:lnTo>
                    <a:lnTo>
                      <a:pt x="717987" y="60877"/>
                    </a:lnTo>
                    <a:lnTo>
                      <a:pt x="716129" y="76646"/>
                    </a:lnTo>
                    <a:lnTo>
                      <a:pt x="713248" y="86688"/>
                    </a:lnTo>
                    <a:lnTo>
                      <a:pt x="713248" y="86688"/>
                    </a:lnTo>
                  </a:path>
                </a:pathLst>
              </a:custGeom>
              <a:ln w="5400">
                <a:solidFill>
                  <a:srgbClr val="7F7F7F">
                    <a:alpha val="100000"/>
                  </a:srgbClr>
                </a:solidFill>
                <a:prstDash val="solid"/>
                <a:round/>
              </a:ln>
            </p:spPr>
            <p:txBody>
              <a:bodyPr/>
              <a:lstStyle/>
              <a:p/>
            </p:txBody>
          </p:sp>
          <p:sp>
            <p:nvSpPr>
              <p:cNvPr id="285" name="Polyline form 250"/>
              <p:cNvSpPr/>
              <p:nvPr/>
            </p:nvSpPr>
            <p:spPr>
              <a:xfrm>
                <a:off x="6412657" y="5242940"/>
                <a:ext cx="86558" cy="79518"/>
              </a:xfrm>
              <a:custGeom>
                <a:avLst/>
                <a:gdLst/>
                <a:ahLst/>
                <a:cxnLst/>
                <a:rect l="0" t="0" r="0" b="0"/>
                <a:pathLst>
                  <a:path w="86558" h="79518">
                    <a:moveTo>
                      <a:pt x="41983" y="3630"/>
                    </a:moveTo>
                    <a:lnTo>
                      <a:pt x="51033" y="14533"/>
                    </a:lnTo>
                    <a:lnTo>
                      <a:pt x="62253" y="12144"/>
                    </a:lnTo>
                    <a:lnTo>
                      <a:pt x="78273" y="8835"/>
                    </a:lnTo>
                    <a:lnTo>
                      <a:pt x="86558" y="11846"/>
                    </a:lnTo>
                    <a:lnTo>
                      <a:pt x="65023" y="42553"/>
                    </a:lnTo>
                    <a:lnTo>
                      <a:pt x="52972" y="50649"/>
                    </a:lnTo>
                    <a:lnTo>
                      <a:pt x="35589" y="70992"/>
                    </a:lnTo>
                    <a:lnTo>
                      <a:pt x="35550" y="63247"/>
                    </a:lnTo>
                    <a:lnTo>
                      <a:pt x="11060" y="79518"/>
                    </a:lnTo>
                    <a:lnTo>
                      <a:pt x="8918" y="77706"/>
                    </a:lnTo>
                    <a:lnTo>
                      <a:pt x="0" y="75601"/>
                    </a:lnTo>
                    <a:lnTo>
                      <a:pt x="6956" y="52477"/>
                    </a:lnTo>
                    <a:lnTo>
                      <a:pt x="17323" y="35304"/>
                    </a:lnTo>
                    <a:lnTo>
                      <a:pt x="24340" y="11750"/>
                    </a:lnTo>
                    <a:lnTo>
                      <a:pt x="33116" y="0"/>
                    </a:lnTo>
                    <a:lnTo>
                      <a:pt x="41983" y="3630"/>
                    </a:lnTo>
                    <a:lnTo>
                      <a:pt x="41983" y="3630"/>
                    </a:lnTo>
                  </a:path>
                </a:pathLst>
              </a:custGeom>
              <a:ln w="5400">
                <a:solidFill>
                  <a:srgbClr val="7F7F7F">
                    <a:alpha val="100000"/>
                  </a:srgbClr>
                </a:solidFill>
                <a:prstDash val="solid"/>
                <a:round/>
              </a:ln>
            </p:spPr>
            <p:txBody>
              <a:bodyPr/>
              <a:lstStyle/>
              <a:p/>
            </p:txBody>
          </p:sp>
          <p:sp>
            <p:nvSpPr>
              <p:cNvPr id="286" name="Polygon form 251"/>
              <p:cNvSpPr/>
              <p:nvPr/>
            </p:nvSpPr>
            <p:spPr>
              <a:xfrm>
                <a:off x="2447956" y="3667378"/>
                <a:ext cx="39932" cy="20859"/>
              </a:xfrm>
              <a:custGeom>
                <a:avLst/>
                <a:gdLst/>
                <a:ahLst/>
                <a:cxnLst/>
                <a:rect l="0" t="0" r="0" b="0"/>
                <a:pathLst>
                  <a:path w="39932" h="20859">
                    <a:moveTo>
                      <a:pt x="15779" y="951"/>
                    </a:moveTo>
                    <a:lnTo>
                      <a:pt x="28390" y="3508"/>
                    </a:lnTo>
                    <a:lnTo>
                      <a:pt x="37730" y="9754"/>
                    </a:lnTo>
                    <a:lnTo>
                      <a:pt x="39932" y="16670"/>
                    </a:lnTo>
                    <a:lnTo>
                      <a:pt x="26320" y="16818"/>
                    </a:lnTo>
                    <a:lnTo>
                      <a:pt x="19861" y="20859"/>
                    </a:lnTo>
                    <a:lnTo>
                      <a:pt x="9657" y="16590"/>
                    </a:lnTo>
                    <a:lnTo>
                      <a:pt x="0" y="7206"/>
                    </a:lnTo>
                    <a:lnTo>
                      <a:pt x="3175" y="1543"/>
                    </a:lnTo>
                    <a:lnTo>
                      <a:pt x="11526" y="0"/>
                    </a:lnTo>
                    <a:lnTo>
                      <a:pt x="15779" y="951"/>
                    </a:lnTo>
                    <a:close/>
                  </a:path>
                </a:pathLst>
              </a:custGeom>
              <a:solidFill>
                <a:srgbClr val="C7E9C0">
                  <a:alpha val="100000"/>
                </a:srgbClr>
              </a:solidFill>
              <a:ln w="5400">
                <a:solidFill>
                  <a:srgbClr val="7F7F7F">
                    <a:alpha val="100000"/>
                  </a:srgbClr>
                </a:solidFill>
                <a:prstDash val="solid"/>
                <a:round/>
              </a:ln>
            </p:spPr>
            <p:txBody>
              <a:bodyPr/>
              <a:lstStyle/>
              <a:p/>
            </p:txBody>
          </p:sp>
          <p:sp>
            <p:nvSpPr>
              <p:cNvPr id="287" name="Polygon form 252"/>
              <p:cNvSpPr/>
              <p:nvPr/>
            </p:nvSpPr>
            <p:spPr>
              <a:xfrm>
                <a:off x="4611327" y="3319562"/>
                <a:ext cx="71230" cy="102453"/>
              </a:xfrm>
              <a:custGeom>
                <a:avLst/>
                <a:gdLst/>
                <a:ahLst/>
                <a:cxnLst/>
                <a:rect l="0" t="0" r="0" b="0"/>
                <a:pathLst>
                  <a:path w="71230" h="102453">
                    <a:moveTo>
                      <a:pt x="3399" y="25031"/>
                    </a:moveTo>
                    <a:lnTo>
                      <a:pt x="5654" y="17325"/>
                    </a:lnTo>
                    <a:lnTo>
                      <a:pt x="27328" y="26569"/>
                    </a:lnTo>
                    <a:lnTo>
                      <a:pt x="59800" y="0"/>
                    </a:lnTo>
                    <a:lnTo>
                      <a:pt x="71230" y="29433"/>
                    </a:lnTo>
                    <a:lnTo>
                      <a:pt x="68213" y="33165"/>
                    </a:lnTo>
                    <a:lnTo>
                      <a:pt x="32875" y="46045"/>
                    </a:lnTo>
                    <a:lnTo>
                      <a:pt x="54305" y="69996"/>
                    </a:lnTo>
                    <a:lnTo>
                      <a:pt x="48677" y="74232"/>
                    </a:lnTo>
                    <a:lnTo>
                      <a:pt x="46602" y="82420"/>
                    </a:lnTo>
                    <a:lnTo>
                      <a:pt x="32821" y="86029"/>
                    </a:lnTo>
                    <a:lnTo>
                      <a:pt x="29376" y="94847"/>
                    </a:lnTo>
                    <a:lnTo>
                      <a:pt x="22166" y="102453"/>
                    </a:lnTo>
                    <a:lnTo>
                      <a:pt x="1005" y="98927"/>
                    </a:lnTo>
                    <a:lnTo>
                      <a:pt x="0" y="95424"/>
                    </a:lnTo>
                    <a:lnTo>
                      <a:pt x="4863" y="56471"/>
                    </a:lnTo>
                    <a:lnTo>
                      <a:pt x="3320" y="47037"/>
                    </a:lnTo>
                    <a:lnTo>
                      <a:pt x="5194" y="39870"/>
                    </a:lnTo>
                    <a:lnTo>
                      <a:pt x="3399" y="25031"/>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288" name="Polyline form 253"/>
              <p:cNvSpPr/>
              <p:nvPr/>
            </p:nvSpPr>
            <p:spPr>
              <a:xfrm>
                <a:off x="6302181" y="3010219"/>
                <a:ext cx="161636" cy="287589"/>
              </a:xfrm>
              <a:custGeom>
                <a:avLst/>
                <a:gdLst/>
                <a:ahLst/>
                <a:cxnLst/>
                <a:rect l="0" t="0" r="0" b="0"/>
                <a:pathLst>
                  <a:path w="161636" h="287589">
                    <a:moveTo>
                      <a:pt x="142702" y="110254"/>
                    </a:moveTo>
                    <a:lnTo>
                      <a:pt x="149008" y="131780"/>
                    </a:lnTo>
                    <a:lnTo>
                      <a:pt x="159729" y="144560"/>
                    </a:lnTo>
                    <a:lnTo>
                      <a:pt x="161636" y="163977"/>
                    </a:lnTo>
                    <a:lnTo>
                      <a:pt x="146813" y="178607"/>
                    </a:lnTo>
                    <a:lnTo>
                      <a:pt x="117563" y="183297"/>
                    </a:lnTo>
                    <a:lnTo>
                      <a:pt x="109023" y="215632"/>
                    </a:lnTo>
                    <a:lnTo>
                      <a:pt x="92084" y="206688"/>
                    </a:lnTo>
                    <a:lnTo>
                      <a:pt x="80944" y="187217"/>
                    </a:lnTo>
                    <a:lnTo>
                      <a:pt x="54023" y="195883"/>
                    </a:lnTo>
                    <a:lnTo>
                      <a:pt x="39922" y="210099"/>
                    </a:lnTo>
                    <a:lnTo>
                      <a:pt x="19835" y="212476"/>
                    </a:lnTo>
                    <a:lnTo>
                      <a:pt x="47198" y="230055"/>
                    </a:lnTo>
                    <a:lnTo>
                      <a:pt x="57074" y="275579"/>
                    </a:lnTo>
                    <a:lnTo>
                      <a:pt x="50751" y="287589"/>
                    </a:lnTo>
                    <a:lnTo>
                      <a:pt x="37449" y="278128"/>
                    </a:lnTo>
                    <a:lnTo>
                      <a:pt x="30630" y="254180"/>
                    </a:lnTo>
                    <a:lnTo>
                      <a:pt x="15836" y="247556"/>
                    </a:lnTo>
                    <a:lnTo>
                      <a:pt x="0" y="230307"/>
                    </a:lnTo>
                    <a:lnTo>
                      <a:pt x="12530" y="220811"/>
                    </a:lnTo>
                    <a:lnTo>
                      <a:pt x="13345" y="203617"/>
                    </a:lnTo>
                    <a:lnTo>
                      <a:pt x="23745" y="188543"/>
                    </a:lnTo>
                    <a:lnTo>
                      <a:pt x="26858" y="169563"/>
                    </a:lnTo>
                    <a:lnTo>
                      <a:pt x="56647" y="158442"/>
                    </a:lnTo>
                    <a:lnTo>
                      <a:pt x="77866" y="161921"/>
                    </a:lnTo>
                    <a:lnTo>
                      <a:pt x="68915" y="113861"/>
                    </a:lnTo>
                    <a:lnTo>
                      <a:pt x="87478" y="125057"/>
                    </a:lnTo>
                    <a:lnTo>
                      <a:pt x="96389" y="96406"/>
                    </a:lnTo>
                    <a:lnTo>
                      <a:pt x="99586" y="85272"/>
                    </a:lnTo>
                    <a:lnTo>
                      <a:pt x="89721" y="52456"/>
                    </a:lnTo>
                    <a:lnTo>
                      <a:pt x="67741" y="23837"/>
                    </a:lnTo>
                    <a:lnTo>
                      <a:pt x="63534" y="6806"/>
                    </a:lnTo>
                    <a:lnTo>
                      <a:pt x="77346" y="0"/>
                    </a:lnTo>
                    <a:lnTo>
                      <a:pt x="110584" y="34571"/>
                    </a:lnTo>
                    <a:lnTo>
                      <a:pt x="124044" y="55571"/>
                    </a:lnTo>
                    <a:lnTo>
                      <a:pt x="125670" y="83452"/>
                    </a:lnTo>
                    <a:lnTo>
                      <a:pt x="142702" y="110254"/>
                    </a:lnTo>
                    <a:lnTo>
                      <a:pt x="142702" y="110254"/>
                    </a:lnTo>
                  </a:path>
                </a:pathLst>
              </a:custGeom>
              <a:ln w="5400">
                <a:solidFill>
                  <a:srgbClr val="7F7F7F">
                    <a:alpha val="100000"/>
                  </a:srgbClr>
                </a:solidFill>
                <a:prstDash val="solid"/>
                <a:round/>
              </a:ln>
            </p:spPr>
            <p:txBody>
              <a:bodyPr/>
              <a:lstStyle/>
              <a:p/>
            </p:txBody>
          </p:sp>
          <p:sp>
            <p:nvSpPr>
              <p:cNvPr id="289" name="Polyline form 254"/>
              <p:cNvSpPr/>
              <p:nvPr/>
            </p:nvSpPr>
            <p:spPr>
              <a:xfrm>
                <a:off x="6310443" y="2903060"/>
                <a:ext cx="99967" cy="105066"/>
              </a:xfrm>
              <a:custGeom>
                <a:avLst/>
                <a:gdLst/>
                <a:ahLst/>
                <a:cxnLst/>
                <a:rect l="0" t="0" r="0" b="0"/>
                <a:pathLst>
                  <a:path w="99967" h="105066">
                    <a:moveTo>
                      <a:pt x="56892" y="30729"/>
                    </a:moveTo>
                    <a:lnTo>
                      <a:pt x="71936" y="34660"/>
                    </a:lnTo>
                    <a:lnTo>
                      <a:pt x="74516" y="22422"/>
                    </a:lnTo>
                    <a:lnTo>
                      <a:pt x="99967" y="50464"/>
                    </a:lnTo>
                    <a:lnTo>
                      <a:pt x="82045" y="60546"/>
                    </a:lnTo>
                    <a:lnTo>
                      <a:pt x="86828" y="87710"/>
                    </a:lnTo>
                    <a:lnTo>
                      <a:pt x="49321" y="73448"/>
                    </a:lnTo>
                    <a:lnTo>
                      <a:pt x="60567" y="102483"/>
                    </a:lnTo>
                    <a:lnTo>
                      <a:pt x="43022" y="105066"/>
                    </a:lnTo>
                    <a:lnTo>
                      <a:pt x="23015" y="79963"/>
                    </a:lnTo>
                    <a:lnTo>
                      <a:pt x="16736" y="59412"/>
                    </a:lnTo>
                    <a:lnTo>
                      <a:pt x="32485" y="55852"/>
                    </a:lnTo>
                    <a:lnTo>
                      <a:pt x="10686" y="20239"/>
                    </a:lnTo>
                    <a:lnTo>
                      <a:pt x="0" y="0"/>
                    </a:lnTo>
                    <a:lnTo>
                      <a:pt x="38480" y="23817"/>
                    </a:lnTo>
                    <a:lnTo>
                      <a:pt x="56892" y="30729"/>
                    </a:lnTo>
                    <a:lnTo>
                      <a:pt x="56892" y="30729"/>
                    </a:lnTo>
                  </a:path>
                </a:pathLst>
              </a:custGeom>
              <a:ln w="5400">
                <a:solidFill>
                  <a:srgbClr val="7F7F7F">
                    <a:alpha val="100000"/>
                  </a:srgbClr>
                </a:solidFill>
                <a:prstDash val="solid"/>
                <a:round/>
              </a:ln>
            </p:spPr>
            <p:txBody>
              <a:bodyPr/>
              <a:lstStyle/>
              <a:p/>
            </p:txBody>
          </p:sp>
          <p:sp>
            <p:nvSpPr>
              <p:cNvPr id="290" name="Polyline form 255"/>
              <p:cNvSpPr/>
              <p:nvPr/>
            </p:nvSpPr>
            <p:spPr>
              <a:xfrm>
                <a:off x="6351719" y="3205455"/>
                <a:ext cx="36991" cy="44856"/>
              </a:xfrm>
              <a:custGeom>
                <a:avLst/>
                <a:gdLst/>
                <a:ahLst/>
                <a:cxnLst/>
                <a:rect l="0" t="0" r="0" b="0"/>
                <a:pathLst>
                  <a:path w="36991" h="44856">
                    <a:moveTo>
                      <a:pt x="30048" y="4409"/>
                    </a:moveTo>
                    <a:lnTo>
                      <a:pt x="36991" y="13162"/>
                    </a:lnTo>
                    <a:lnTo>
                      <a:pt x="35420" y="29931"/>
                    </a:lnTo>
                    <a:lnTo>
                      <a:pt x="23963" y="22205"/>
                    </a:lnTo>
                    <a:lnTo>
                      <a:pt x="18154" y="29118"/>
                    </a:lnTo>
                    <a:lnTo>
                      <a:pt x="21231" y="44856"/>
                    </a:lnTo>
                    <a:lnTo>
                      <a:pt x="6107" y="38440"/>
                    </a:lnTo>
                    <a:lnTo>
                      <a:pt x="0" y="26034"/>
                    </a:lnTo>
                    <a:lnTo>
                      <a:pt x="1602" y="9564"/>
                    </a:lnTo>
                    <a:lnTo>
                      <a:pt x="13030" y="11651"/>
                    </a:lnTo>
                    <a:lnTo>
                      <a:pt x="14375" y="0"/>
                    </a:lnTo>
                    <a:lnTo>
                      <a:pt x="30048" y="4409"/>
                    </a:lnTo>
                    <a:lnTo>
                      <a:pt x="30048" y="4409"/>
                    </a:lnTo>
                  </a:path>
                </a:pathLst>
              </a:custGeom>
              <a:ln w="5400">
                <a:solidFill>
                  <a:srgbClr val="7F7F7F">
                    <a:alpha val="100000"/>
                  </a:srgbClr>
                </a:solidFill>
                <a:prstDash val="solid"/>
                <a:round/>
              </a:ln>
            </p:spPr>
            <p:txBody>
              <a:bodyPr/>
              <a:lstStyle/>
              <a:p/>
            </p:txBody>
          </p:sp>
          <p:sp>
            <p:nvSpPr>
              <p:cNvPr id="291" name="Polygon form 256"/>
              <p:cNvSpPr/>
              <p:nvPr/>
            </p:nvSpPr>
            <p:spPr>
              <a:xfrm>
                <a:off x="4733670" y="2766235"/>
                <a:ext cx="660643" cy="359045"/>
              </a:xfrm>
              <a:custGeom>
                <a:avLst/>
                <a:gdLst/>
                <a:ahLst/>
                <a:cxnLst/>
                <a:rect l="0" t="0" r="0" b="0"/>
                <a:pathLst>
                  <a:path w="660643" h="359045">
                    <a:moveTo>
                      <a:pt x="458957" y="317573"/>
                    </a:moveTo>
                    <a:lnTo>
                      <a:pt x="450623" y="322574"/>
                    </a:lnTo>
                    <a:lnTo>
                      <a:pt x="433438" y="340717"/>
                    </a:lnTo>
                    <a:lnTo>
                      <a:pt x="431361" y="358599"/>
                    </a:lnTo>
                    <a:lnTo>
                      <a:pt x="424938" y="359045"/>
                    </a:lnTo>
                    <a:lnTo>
                      <a:pt x="416596" y="347650"/>
                    </a:lnTo>
                    <a:lnTo>
                      <a:pt x="394324" y="347832"/>
                    </a:lnTo>
                    <a:lnTo>
                      <a:pt x="384638" y="327937"/>
                    </a:lnTo>
                    <a:lnTo>
                      <a:pt x="376190" y="328138"/>
                    </a:lnTo>
                    <a:lnTo>
                      <a:pt x="369794" y="303555"/>
                    </a:lnTo>
                    <a:lnTo>
                      <a:pt x="343695" y="286629"/>
                    </a:lnTo>
                    <a:lnTo>
                      <a:pt x="315070" y="289820"/>
                    </a:lnTo>
                    <a:lnTo>
                      <a:pt x="296146" y="294229"/>
                    </a:lnTo>
                    <a:lnTo>
                      <a:pt x="273236" y="272939"/>
                    </a:lnTo>
                    <a:lnTo>
                      <a:pt x="256568" y="264307"/>
                    </a:lnTo>
                    <a:lnTo>
                      <a:pt x="225130" y="247965"/>
                    </a:lnTo>
                    <a:lnTo>
                      <a:pt x="221349" y="245982"/>
                    </a:lnTo>
                    <a:lnTo>
                      <a:pt x="182047" y="262097"/>
                    </a:lnTo>
                    <a:lnTo>
                      <a:pt x="206837" y="351858"/>
                    </a:lnTo>
                    <a:lnTo>
                      <a:pt x="198217" y="353367"/>
                    </a:lnTo>
                    <a:lnTo>
                      <a:pt x="181221" y="334697"/>
                    </a:lnTo>
                    <a:lnTo>
                      <a:pt x="167795" y="328292"/>
                    </a:lnTo>
                    <a:lnTo>
                      <a:pt x="149424" y="334045"/>
                    </a:lnTo>
                    <a:lnTo>
                      <a:pt x="143745" y="342406"/>
                    </a:lnTo>
                    <a:lnTo>
                      <a:pt x="141329" y="336504"/>
                    </a:lnTo>
                    <a:lnTo>
                      <a:pt x="143090" y="326217"/>
                    </a:lnTo>
                    <a:lnTo>
                      <a:pt x="137692" y="317853"/>
                    </a:lnTo>
                    <a:lnTo>
                      <a:pt x="115681" y="310254"/>
                    </a:lnTo>
                    <a:lnTo>
                      <a:pt x="102535" y="288688"/>
                    </a:lnTo>
                    <a:lnTo>
                      <a:pt x="91571" y="282863"/>
                    </a:lnTo>
                    <a:lnTo>
                      <a:pt x="89025" y="274968"/>
                    </a:lnTo>
                    <a:lnTo>
                      <a:pt x="106179" y="276702"/>
                    </a:lnTo>
                    <a:lnTo>
                      <a:pt x="102261" y="258916"/>
                    </a:lnTo>
                    <a:lnTo>
                      <a:pt x="115624" y="254456"/>
                    </a:lnTo>
                    <a:lnTo>
                      <a:pt x="131375" y="257545"/>
                    </a:lnTo>
                    <a:lnTo>
                      <a:pt x="127944" y="233731"/>
                    </a:lnTo>
                    <a:lnTo>
                      <a:pt x="120776" y="218827"/>
                    </a:lnTo>
                    <a:lnTo>
                      <a:pt x="104361" y="220627"/>
                    </a:lnTo>
                    <a:lnTo>
                      <a:pt x="88528" y="215226"/>
                    </a:lnTo>
                    <a:lnTo>
                      <a:pt x="71990" y="226591"/>
                    </a:lnTo>
                    <a:lnTo>
                      <a:pt x="57641" y="232225"/>
                    </a:lnTo>
                    <a:lnTo>
                      <a:pt x="48105" y="228595"/>
                    </a:lnTo>
                    <a:lnTo>
                      <a:pt x="46607" y="216055"/>
                    </a:lnTo>
                    <a:lnTo>
                      <a:pt x="31780" y="200223"/>
                    </a:lnTo>
                    <a:lnTo>
                      <a:pt x="19602" y="201321"/>
                    </a:lnTo>
                    <a:lnTo>
                      <a:pt x="1318" y="185360"/>
                    </a:lnTo>
                    <a:lnTo>
                      <a:pt x="6100" y="166677"/>
                    </a:lnTo>
                    <a:lnTo>
                      <a:pt x="0" y="161902"/>
                    </a:lnTo>
                    <a:lnTo>
                      <a:pt x="5907" y="134846"/>
                    </a:lnTo>
                    <a:lnTo>
                      <a:pt x="26542" y="148287"/>
                    </a:lnTo>
                    <a:lnTo>
                      <a:pt x="23633" y="130530"/>
                    </a:lnTo>
                    <a:lnTo>
                      <a:pt x="49282" y="102951"/>
                    </a:lnTo>
                    <a:lnTo>
                      <a:pt x="74166" y="101335"/>
                    </a:lnTo>
                    <a:lnTo>
                      <a:pt x="114918" y="116652"/>
                    </a:lnTo>
                    <a:lnTo>
                      <a:pt x="137195" y="125650"/>
                    </a:lnTo>
                    <a:lnTo>
                      <a:pt x="150959" y="114695"/>
                    </a:lnTo>
                    <a:lnTo>
                      <a:pt x="176307" y="113083"/>
                    </a:lnTo>
                    <a:lnTo>
                      <a:pt x="201252" y="124713"/>
                    </a:lnTo>
                    <a:lnTo>
                      <a:pt x="203427" y="117304"/>
                    </a:lnTo>
                    <a:lnTo>
                      <a:pt x="226408" y="117297"/>
                    </a:lnTo>
                    <a:lnTo>
                      <a:pt x="226277" y="105625"/>
                    </a:lnTo>
                    <a:lnTo>
                      <a:pt x="194343" y="90184"/>
                    </a:lnTo>
                    <a:lnTo>
                      <a:pt x="205279" y="77667"/>
                    </a:lnTo>
                    <a:lnTo>
                      <a:pt x="199864" y="71214"/>
                    </a:lnTo>
                    <a:lnTo>
                      <a:pt x="212647" y="64189"/>
                    </a:lnTo>
                    <a:lnTo>
                      <a:pt x="194985" y="48172"/>
                    </a:lnTo>
                    <a:lnTo>
                      <a:pt x="198973" y="39570"/>
                    </a:lnTo>
                    <a:lnTo>
                      <a:pt x="253784" y="28191"/>
                    </a:lnTo>
                    <a:lnTo>
                      <a:pt x="258841" y="21820"/>
                    </a:lnTo>
                    <a:lnTo>
                      <a:pt x="293548" y="10795"/>
                    </a:lnTo>
                    <a:lnTo>
                      <a:pt x="302842" y="0"/>
                    </a:lnTo>
                    <a:lnTo>
                      <a:pt x="332700" y="3613"/>
                    </a:lnTo>
                    <a:lnTo>
                      <a:pt x="349016" y="28372"/>
                    </a:lnTo>
                    <a:lnTo>
                      <a:pt x="362430" y="21540"/>
                    </a:lnTo>
                    <a:lnTo>
                      <a:pt x="386079" y="28599"/>
                    </a:lnTo>
                    <a:lnTo>
                      <a:pt x="390935" y="41881"/>
                    </a:lnTo>
                    <a:lnTo>
                      <a:pt x="405179" y="39600"/>
                    </a:lnTo>
                    <a:lnTo>
                      <a:pt x="432804" y="14363"/>
                    </a:lnTo>
                    <a:lnTo>
                      <a:pt x="430925" y="22300"/>
                    </a:lnTo>
                    <a:lnTo>
                      <a:pt x="459761" y="39738"/>
                    </a:lnTo>
                    <a:lnTo>
                      <a:pt x="524467" y="99113"/>
                    </a:lnTo>
                    <a:lnTo>
                      <a:pt x="526791" y="85840"/>
                    </a:lnTo>
                    <a:lnTo>
                      <a:pt x="555335" y="98418"/>
                    </a:lnTo>
                    <a:lnTo>
                      <a:pt x="574960" y="90648"/>
                    </a:lnTo>
                    <a:lnTo>
                      <a:pt x="585851" y="94433"/>
                    </a:lnTo>
                    <a:lnTo>
                      <a:pt x="600460" y="107982"/>
                    </a:lnTo>
                    <a:lnTo>
                      <a:pt x="613905" y="111952"/>
                    </a:lnTo>
                    <a:lnTo>
                      <a:pt x="625810" y="121836"/>
                    </a:lnTo>
                    <a:lnTo>
                      <a:pt x="644689" y="117150"/>
                    </a:lnTo>
                    <a:lnTo>
                      <a:pt x="660643" y="131486"/>
                    </a:lnTo>
                    <a:lnTo>
                      <a:pt x="656457" y="148600"/>
                    </a:lnTo>
                    <a:lnTo>
                      <a:pt x="644180" y="151795"/>
                    </a:lnTo>
                    <a:lnTo>
                      <a:pt x="655052" y="176380"/>
                    </a:lnTo>
                    <a:lnTo>
                      <a:pt x="651120" y="188049"/>
                    </a:lnTo>
                    <a:lnTo>
                      <a:pt x="615033" y="182089"/>
                    </a:lnTo>
                    <a:lnTo>
                      <a:pt x="622464" y="226699"/>
                    </a:lnTo>
                    <a:lnTo>
                      <a:pt x="616285" y="232679"/>
                    </a:lnTo>
                    <a:lnTo>
                      <a:pt x="587334" y="244446"/>
                    </a:lnTo>
                    <a:lnTo>
                      <a:pt x="619572" y="286231"/>
                    </a:lnTo>
                    <a:lnTo>
                      <a:pt x="610444" y="293294"/>
                    </a:lnTo>
                    <a:lnTo>
                      <a:pt x="617199" y="307241"/>
                    </a:lnTo>
                    <a:lnTo>
                      <a:pt x="605322" y="304218"/>
                    </a:lnTo>
                    <a:lnTo>
                      <a:pt x="593423" y="295855"/>
                    </a:lnTo>
                    <a:lnTo>
                      <a:pt x="567237" y="294671"/>
                    </a:lnTo>
                    <a:lnTo>
                      <a:pt x="538799" y="295514"/>
                    </a:lnTo>
                    <a:lnTo>
                      <a:pt x="533603" y="298544"/>
                    </a:lnTo>
                    <a:lnTo>
                      <a:pt x="505642" y="289497"/>
                    </a:lnTo>
                    <a:lnTo>
                      <a:pt x="497812" y="295070"/>
                    </a:lnTo>
                    <a:lnTo>
                      <a:pt x="500268" y="309682"/>
                    </a:lnTo>
                    <a:lnTo>
                      <a:pt x="469230" y="302641"/>
                    </a:lnTo>
                    <a:lnTo>
                      <a:pt x="459168" y="306651"/>
                    </a:lnTo>
                    <a:lnTo>
                      <a:pt x="458957" y="317573"/>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292" name="Polygon form 257"/>
              <p:cNvSpPr/>
              <p:nvPr/>
            </p:nvSpPr>
            <p:spPr>
              <a:xfrm>
                <a:off x="4629355" y="3997948"/>
                <a:ext cx="156368" cy="247824"/>
              </a:xfrm>
              <a:custGeom>
                <a:avLst/>
                <a:gdLst/>
                <a:ahLst/>
                <a:cxnLst/>
                <a:rect l="0" t="0" r="0" b="0"/>
                <a:pathLst>
                  <a:path w="156368" h="247824">
                    <a:moveTo>
                      <a:pt x="140113" y="154817"/>
                    </a:moveTo>
                    <a:lnTo>
                      <a:pt x="151693" y="174947"/>
                    </a:lnTo>
                    <a:lnTo>
                      <a:pt x="137794" y="184668"/>
                    </a:lnTo>
                    <a:lnTo>
                      <a:pt x="132824" y="194834"/>
                    </a:lnTo>
                    <a:lnTo>
                      <a:pt x="125409" y="196609"/>
                    </a:lnTo>
                    <a:lnTo>
                      <a:pt x="122404" y="213778"/>
                    </a:lnTo>
                    <a:lnTo>
                      <a:pt x="115930" y="223597"/>
                    </a:lnTo>
                    <a:lnTo>
                      <a:pt x="111817" y="239801"/>
                    </a:lnTo>
                    <a:lnTo>
                      <a:pt x="103732" y="247824"/>
                    </a:lnTo>
                    <a:lnTo>
                      <a:pt x="75830" y="223407"/>
                    </a:lnTo>
                    <a:lnTo>
                      <a:pt x="74668" y="209282"/>
                    </a:lnTo>
                    <a:lnTo>
                      <a:pt x="3488" y="159645"/>
                    </a:lnTo>
                    <a:lnTo>
                      <a:pt x="163" y="156974"/>
                    </a:lnTo>
                    <a:lnTo>
                      <a:pt x="0" y="131219"/>
                    </a:lnTo>
                    <a:lnTo>
                      <a:pt x="5644" y="121370"/>
                    </a:lnTo>
                    <a:lnTo>
                      <a:pt x="15310" y="105276"/>
                    </a:lnTo>
                    <a:lnTo>
                      <a:pt x="22395" y="87548"/>
                    </a:lnTo>
                    <a:lnTo>
                      <a:pt x="13469" y="59653"/>
                    </a:lnTo>
                    <a:lnTo>
                      <a:pt x="11020" y="47458"/>
                    </a:lnTo>
                    <a:lnTo>
                      <a:pt x="1439" y="30603"/>
                    </a:lnTo>
                    <a:lnTo>
                      <a:pt x="13336" y="16057"/>
                    </a:lnTo>
                    <a:lnTo>
                      <a:pt x="26397" y="0"/>
                    </a:lnTo>
                    <a:lnTo>
                      <a:pt x="36713" y="4049"/>
                    </a:lnTo>
                    <a:lnTo>
                      <a:pt x="36965" y="17700"/>
                    </a:lnTo>
                    <a:lnTo>
                      <a:pt x="43836" y="25687"/>
                    </a:lnTo>
                    <a:lnTo>
                      <a:pt x="57558" y="25651"/>
                    </a:lnTo>
                    <a:lnTo>
                      <a:pt x="82839" y="46264"/>
                    </a:lnTo>
                    <a:lnTo>
                      <a:pt x="89077" y="46496"/>
                    </a:lnTo>
                    <a:lnTo>
                      <a:pt x="93686" y="45814"/>
                    </a:lnTo>
                    <a:lnTo>
                      <a:pt x="98092" y="48614"/>
                    </a:lnTo>
                    <a:lnTo>
                      <a:pt x="111273" y="50502"/>
                    </a:lnTo>
                    <a:lnTo>
                      <a:pt x="116953" y="40334"/>
                    </a:lnTo>
                    <a:lnTo>
                      <a:pt x="134798" y="30092"/>
                    </a:lnTo>
                    <a:lnTo>
                      <a:pt x="142892" y="38311"/>
                    </a:lnTo>
                    <a:lnTo>
                      <a:pt x="156368" y="38280"/>
                    </a:lnTo>
                    <a:lnTo>
                      <a:pt x="139519" y="65987"/>
                    </a:lnTo>
                    <a:lnTo>
                      <a:pt x="140113" y="154817"/>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293" name="Polygon form 258"/>
              <p:cNvSpPr/>
              <p:nvPr/>
            </p:nvSpPr>
            <p:spPr>
              <a:xfrm>
                <a:off x="5185449" y="3055731"/>
                <a:ext cx="165421" cy="100710"/>
              </a:xfrm>
              <a:custGeom>
                <a:avLst/>
                <a:gdLst/>
                <a:ahLst/>
                <a:cxnLst/>
                <a:rect l="0" t="0" r="0" b="0"/>
                <a:pathLst>
                  <a:path w="165421" h="100710">
                    <a:moveTo>
                      <a:pt x="7179" y="28076"/>
                    </a:moveTo>
                    <a:lnTo>
                      <a:pt x="7389" y="17155"/>
                    </a:lnTo>
                    <a:lnTo>
                      <a:pt x="17452" y="13145"/>
                    </a:lnTo>
                    <a:lnTo>
                      <a:pt x="48490" y="20186"/>
                    </a:lnTo>
                    <a:lnTo>
                      <a:pt x="46033" y="5574"/>
                    </a:lnTo>
                    <a:lnTo>
                      <a:pt x="53864" y="0"/>
                    </a:lnTo>
                    <a:lnTo>
                      <a:pt x="81824" y="9047"/>
                    </a:lnTo>
                    <a:lnTo>
                      <a:pt x="87020" y="6018"/>
                    </a:lnTo>
                    <a:lnTo>
                      <a:pt x="115459" y="5174"/>
                    </a:lnTo>
                    <a:lnTo>
                      <a:pt x="141645" y="6358"/>
                    </a:lnTo>
                    <a:lnTo>
                      <a:pt x="153544" y="14721"/>
                    </a:lnTo>
                    <a:lnTo>
                      <a:pt x="165421" y="17744"/>
                    </a:lnTo>
                    <a:lnTo>
                      <a:pt x="165140" y="23442"/>
                    </a:lnTo>
                    <a:lnTo>
                      <a:pt x="143131" y="38247"/>
                    </a:lnTo>
                    <a:lnTo>
                      <a:pt x="140549" y="48343"/>
                    </a:lnTo>
                    <a:lnTo>
                      <a:pt x="119494" y="52424"/>
                    </a:lnTo>
                    <a:lnTo>
                      <a:pt x="118435" y="68473"/>
                    </a:lnTo>
                    <a:lnTo>
                      <a:pt x="98972" y="66097"/>
                    </a:lnTo>
                    <a:lnTo>
                      <a:pt x="88624" y="71504"/>
                    </a:lnTo>
                    <a:lnTo>
                      <a:pt x="75882" y="83931"/>
                    </a:lnTo>
                    <a:lnTo>
                      <a:pt x="80158" y="89570"/>
                    </a:lnTo>
                    <a:lnTo>
                      <a:pt x="77011" y="95435"/>
                    </a:lnTo>
                    <a:lnTo>
                      <a:pt x="45136" y="100710"/>
                    </a:lnTo>
                    <a:lnTo>
                      <a:pt x="21053" y="93716"/>
                    </a:lnTo>
                    <a:lnTo>
                      <a:pt x="2679" y="96469"/>
                    </a:lnTo>
                    <a:lnTo>
                      <a:pt x="0" y="82246"/>
                    </a:lnTo>
                    <a:lnTo>
                      <a:pt x="20248" y="85496"/>
                    </a:lnTo>
                    <a:lnTo>
                      <a:pt x="24241" y="77626"/>
                    </a:lnTo>
                    <a:lnTo>
                      <a:pt x="38245" y="79430"/>
                    </a:lnTo>
                    <a:lnTo>
                      <a:pt x="54700" y="60683"/>
                    </a:lnTo>
                    <a:lnTo>
                      <a:pt x="29930" y="48738"/>
                    </a:lnTo>
                    <a:lnTo>
                      <a:pt x="19641" y="55441"/>
                    </a:lnTo>
                    <a:lnTo>
                      <a:pt x="3893" y="46810"/>
                    </a:lnTo>
                    <a:lnTo>
                      <a:pt x="13082" y="30243"/>
                    </a:lnTo>
                    <a:lnTo>
                      <a:pt x="7179" y="28076"/>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294" name="Polygon form 259"/>
              <p:cNvSpPr/>
              <p:nvPr/>
            </p:nvSpPr>
            <p:spPr>
              <a:xfrm>
                <a:off x="5955489" y="3752807"/>
                <a:ext cx="104012" cy="106924"/>
              </a:xfrm>
              <a:custGeom>
                <a:avLst/>
                <a:gdLst/>
                <a:ahLst/>
                <a:cxnLst/>
                <a:rect l="0" t="0" r="0" b="0"/>
                <a:pathLst>
                  <a:path w="104012" h="106924">
                    <a:moveTo>
                      <a:pt x="31808" y="103483"/>
                    </a:moveTo>
                    <a:lnTo>
                      <a:pt x="22248" y="90172"/>
                    </a:lnTo>
                    <a:lnTo>
                      <a:pt x="8967" y="63704"/>
                    </a:lnTo>
                    <a:lnTo>
                      <a:pt x="0" y="32646"/>
                    </a:lnTo>
                    <a:lnTo>
                      <a:pt x="9183" y="10859"/>
                    </a:lnTo>
                    <a:lnTo>
                      <a:pt x="33470" y="5225"/>
                    </a:lnTo>
                    <a:lnTo>
                      <a:pt x="52239" y="8423"/>
                    </a:lnTo>
                    <a:lnTo>
                      <a:pt x="69863" y="18131"/>
                    </a:lnTo>
                    <a:lnTo>
                      <a:pt x="75737" y="0"/>
                    </a:lnTo>
                    <a:lnTo>
                      <a:pt x="94490" y="9051"/>
                    </a:lnTo>
                    <a:lnTo>
                      <a:pt x="101760" y="26251"/>
                    </a:lnTo>
                    <a:lnTo>
                      <a:pt x="104012" y="57469"/>
                    </a:lnTo>
                    <a:lnTo>
                      <a:pt x="73977" y="78259"/>
                    </a:lnTo>
                    <a:lnTo>
                      <a:pt x="84557" y="93793"/>
                    </a:lnTo>
                    <a:lnTo>
                      <a:pt x="64283" y="96125"/>
                    </a:lnTo>
                    <a:lnTo>
                      <a:pt x="48614" y="106924"/>
                    </a:lnTo>
                    <a:lnTo>
                      <a:pt x="31808" y="103483"/>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295" name="Polygon form 260"/>
              <p:cNvSpPr/>
              <p:nvPr/>
            </p:nvSpPr>
            <p:spPr>
              <a:xfrm>
                <a:off x="6186339" y="3104919"/>
                <a:ext cx="86860" cy="111702"/>
              </a:xfrm>
              <a:custGeom>
                <a:avLst/>
                <a:gdLst/>
                <a:ahLst/>
                <a:cxnLst/>
                <a:rect l="0" t="0" r="0" b="0"/>
                <a:pathLst>
                  <a:path w="86860" h="111702">
                    <a:moveTo>
                      <a:pt x="24479" y="0"/>
                    </a:moveTo>
                    <a:lnTo>
                      <a:pt x="56209" y="28854"/>
                    </a:lnTo>
                    <a:lnTo>
                      <a:pt x="69671" y="45140"/>
                    </a:lnTo>
                    <a:lnTo>
                      <a:pt x="85879" y="74882"/>
                    </a:lnTo>
                    <a:lnTo>
                      <a:pt x="86860" y="89715"/>
                    </a:lnTo>
                    <a:lnTo>
                      <a:pt x="73776" y="96122"/>
                    </a:lnTo>
                    <a:lnTo>
                      <a:pt x="65361" y="108104"/>
                    </a:lnTo>
                    <a:lnTo>
                      <a:pt x="50804" y="111702"/>
                    </a:lnTo>
                    <a:lnTo>
                      <a:pt x="41813" y="97795"/>
                    </a:lnTo>
                    <a:lnTo>
                      <a:pt x="35118" y="78150"/>
                    </a:lnTo>
                    <a:lnTo>
                      <a:pt x="13463" y="52044"/>
                    </a:lnTo>
                    <a:lnTo>
                      <a:pt x="23826" y="46532"/>
                    </a:lnTo>
                    <a:lnTo>
                      <a:pt x="219" y="25663"/>
                    </a:lnTo>
                    <a:lnTo>
                      <a:pt x="0" y="23238"/>
                    </a:lnTo>
                    <a:lnTo>
                      <a:pt x="8063" y="23431"/>
                    </a:lnTo>
                    <a:lnTo>
                      <a:pt x="8196" y="11230"/>
                    </a:lnTo>
                    <a:lnTo>
                      <a:pt x="19403" y="8829"/>
                    </a:lnTo>
                    <a:lnTo>
                      <a:pt x="25608" y="6436"/>
                    </a:lnTo>
                    <a:lnTo>
                      <a:pt x="24479" y="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96" name="Polygon form 261"/>
              <p:cNvSpPr/>
              <p:nvPr/>
            </p:nvSpPr>
            <p:spPr>
              <a:xfrm>
                <a:off x="4309995" y="3085528"/>
                <a:ext cx="29436" cy="34444"/>
              </a:xfrm>
              <a:custGeom>
                <a:avLst/>
                <a:gdLst/>
                <a:ahLst/>
                <a:cxnLst/>
                <a:rect l="0" t="0" r="0" b="0"/>
                <a:pathLst>
                  <a:path w="29436" h="34444">
                    <a:moveTo>
                      <a:pt x="13287" y="29488"/>
                    </a:moveTo>
                    <a:lnTo>
                      <a:pt x="12975" y="34444"/>
                    </a:lnTo>
                    <a:lnTo>
                      <a:pt x="10733" y="34272"/>
                    </a:lnTo>
                    <a:lnTo>
                      <a:pt x="8728" y="25531"/>
                    </a:lnTo>
                    <a:lnTo>
                      <a:pt x="4322" y="23112"/>
                    </a:lnTo>
                    <a:lnTo>
                      <a:pt x="0" y="16676"/>
                    </a:lnTo>
                    <a:lnTo>
                      <a:pt x="2739" y="11221"/>
                    </a:lnTo>
                    <a:lnTo>
                      <a:pt x="6729" y="9430"/>
                    </a:lnTo>
                    <a:lnTo>
                      <a:pt x="8348" y="1378"/>
                    </a:lnTo>
                    <a:lnTo>
                      <a:pt x="11325" y="0"/>
                    </a:lnTo>
                    <a:lnTo>
                      <a:pt x="14126" y="3376"/>
                    </a:lnTo>
                    <a:lnTo>
                      <a:pt x="17519" y="4836"/>
                    </a:lnTo>
                    <a:lnTo>
                      <a:pt x="20175" y="8649"/>
                    </a:lnTo>
                    <a:lnTo>
                      <a:pt x="23147" y="9746"/>
                    </a:lnTo>
                    <a:lnTo>
                      <a:pt x="26979" y="14178"/>
                    </a:lnTo>
                    <a:lnTo>
                      <a:pt x="29436" y="14011"/>
                    </a:lnTo>
                    <a:lnTo>
                      <a:pt x="28081" y="19920"/>
                    </a:lnTo>
                    <a:lnTo>
                      <a:pt x="26286" y="22823"/>
                    </a:lnTo>
                    <a:lnTo>
                      <a:pt x="27048" y="24627"/>
                    </a:lnTo>
                    <a:lnTo>
                      <a:pt x="23233" y="25608"/>
                    </a:lnTo>
                    <a:lnTo>
                      <a:pt x="13287" y="29488"/>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297" name="Polygon form 262"/>
              <p:cNvSpPr/>
              <p:nvPr/>
            </p:nvSpPr>
            <p:spPr>
              <a:xfrm>
                <a:off x="4829400" y="3397005"/>
                <a:ext cx="36366" cy="37233"/>
              </a:xfrm>
              <a:custGeom>
                <a:avLst/>
                <a:gdLst/>
                <a:ahLst/>
                <a:cxnLst/>
                <a:rect l="0" t="0" r="0" b="0"/>
                <a:pathLst>
                  <a:path w="36366" h="37233">
                    <a:moveTo>
                      <a:pt x="22951" y="1749"/>
                    </a:moveTo>
                    <a:lnTo>
                      <a:pt x="28461" y="12430"/>
                    </a:lnTo>
                    <a:lnTo>
                      <a:pt x="27640" y="18035"/>
                    </a:lnTo>
                    <a:lnTo>
                      <a:pt x="36366" y="36313"/>
                    </a:lnTo>
                    <a:lnTo>
                      <a:pt x="23263" y="37233"/>
                    </a:lnTo>
                    <a:lnTo>
                      <a:pt x="16934" y="25708"/>
                    </a:lnTo>
                    <a:lnTo>
                      <a:pt x="0" y="23712"/>
                    </a:lnTo>
                    <a:lnTo>
                      <a:pt x="10184" y="0"/>
                    </a:lnTo>
                    <a:lnTo>
                      <a:pt x="22951" y="1749"/>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298" name="Polygon form 263"/>
              <p:cNvSpPr/>
              <p:nvPr/>
            </p:nvSpPr>
            <p:spPr>
              <a:xfrm>
                <a:off x="4120383" y="2947437"/>
                <a:ext cx="124365" cy="63036"/>
              </a:xfrm>
              <a:custGeom>
                <a:avLst/>
                <a:gdLst/>
                <a:ahLst/>
                <a:cxnLst/>
                <a:rect l="0" t="0" r="0" b="0"/>
                <a:pathLst>
                  <a:path w="124365" h="63036">
                    <a:moveTo>
                      <a:pt x="124365" y="21772"/>
                    </a:moveTo>
                    <a:lnTo>
                      <a:pt x="123990" y="31651"/>
                    </a:lnTo>
                    <a:lnTo>
                      <a:pt x="114536" y="31808"/>
                    </a:lnTo>
                    <a:lnTo>
                      <a:pt x="118251" y="37002"/>
                    </a:lnTo>
                    <a:lnTo>
                      <a:pt x="113994" y="52606"/>
                    </a:lnTo>
                    <a:lnTo>
                      <a:pt x="111111" y="56715"/>
                    </a:lnTo>
                    <a:lnTo>
                      <a:pt x="96353" y="57473"/>
                    </a:lnTo>
                    <a:lnTo>
                      <a:pt x="88224" y="63036"/>
                    </a:lnTo>
                    <a:lnTo>
                      <a:pt x="74078" y="61301"/>
                    </a:lnTo>
                    <a:lnTo>
                      <a:pt x="49431" y="55284"/>
                    </a:lnTo>
                    <a:lnTo>
                      <a:pt x="45115" y="46922"/>
                    </a:lnTo>
                    <a:lnTo>
                      <a:pt x="28678" y="51249"/>
                    </a:lnTo>
                    <a:lnTo>
                      <a:pt x="26977" y="55854"/>
                    </a:lnTo>
                    <a:lnTo>
                      <a:pt x="16533" y="52498"/>
                    </a:lnTo>
                    <a:lnTo>
                      <a:pt x="7870" y="51902"/>
                    </a:lnTo>
                    <a:lnTo>
                      <a:pt x="0" y="47560"/>
                    </a:lnTo>
                    <a:lnTo>
                      <a:pt x="2283" y="41636"/>
                    </a:lnTo>
                    <a:lnTo>
                      <a:pt x="1412" y="37358"/>
                    </a:lnTo>
                    <a:lnTo>
                      <a:pt x="6423" y="35994"/>
                    </a:lnTo>
                    <a:lnTo>
                      <a:pt x="15306" y="42635"/>
                    </a:lnTo>
                    <a:lnTo>
                      <a:pt x="17351" y="36250"/>
                    </a:lnTo>
                    <a:lnTo>
                      <a:pt x="32252" y="37166"/>
                    </a:lnTo>
                    <a:lnTo>
                      <a:pt x="44004" y="32741"/>
                    </a:lnTo>
                    <a:lnTo>
                      <a:pt x="52110" y="33413"/>
                    </a:lnTo>
                    <a:lnTo>
                      <a:pt x="57692" y="38307"/>
                    </a:lnTo>
                    <a:lnTo>
                      <a:pt x="58977" y="34192"/>
                    </a:lnTo>
                    <a:lnTo>
                      <a:pt x="55505" y="18490"/>
                    </a:lnTo>
                    <a:lnTo>
                      <a:pt x="61294" y="15371"/>
                    </a:lnTo>
                    <a:lnTo>
                      <a:pt x="66358" y="4189"/>
                    </a:lnTo>
                    <a:lnTo>
                      <a:pt x="79337" y="11834"/>
                    </a:lnTo>
                    <a:lnTo>
                      <a:pt x="87918" y="1865"/>
                    </a:lnTo>
                    <a:lnTo>
                      <a:pt x="93621" y="0"/>
                    </a:lnTo>
                    <a:lnTo>
                      <a:pt x="107174" y="7223"/>
                    </a:lnTo>
                    <a:lnTo>
                      <a:pt x="114886" y="5880"/>
                    </a:lnTo>
                    <a:lnTo>
                      <a:pt x="122987" y="10347"/>
                    </a:lnTo>
                    <a:lnTo>
                      <a:pt x="121930" y="13428"/>
                    </a:lnTo>
                    <a:lnTo>
                      <a:pt x="124365" y="21772"/>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299" name="Polygon form 264"/>
              <p:cNvSpPr/>
              <p:nvPr/>
            </p:nvSpPr>
            <p:spPr>
              <a:xfrm>
                <a:off x="5879445" y="3552284"/>
                <a:ext cx="170535" cy="218654"/>
              </a:xfrm>
              <a:custGeom>
                <a:avLst/>
                <a:gdLst/>
                <a:ahLst/>
                <a:cxnLst/>
                <a:rect l="0" t="0" r="0" b="0"/>
                <a:pathLst>
                  <a:path w="170535" h="218654">
                    <a:moveTo>
                      <a:pt x="128284" y="208946"/>
                    </a:moveTo>
                    <a:lnTo>
                      <a:pt x="132681" y="197093"/>
                    </a:lnTo>
                    <a:lnTo>
                      <a:pt x="129787" y="175155"/>
                    </a:lnTo>
                    <a:lnTo>
                      <a:pt x="110089" y="153113"/>
                    </a:lnTo>
                    <a:lnTo>
                      <a:pt x="104030" y="127662"/>
                    </a:lnTo>
                    <a:lnTo>
                      <a:pt x="85242" y="107223"/>
                    </a:lnTo>
                    <a:lnTo>
                      <a:pt x="70384" y="105968"/>
                    </a:lnTo>
                    <a:lnTo>
                      <a:pt x="68320" y="115062"/>
                    </a:lnTo>
                    <a:lnTo>
                      <a:pt x="57226" y="116193"/>
                    </a:lnTo>
                    <a:lnTo>
                      <a:pt x="50583" y="111856"/>
                    </a:lnTo>
                    <a:lnTo>
                      <a:pt x="33316" y="127871"/>
                    </a:lnTo>
                    <a:lnTo>
                      <a:pt x="28382" y="104865"/>
                    </a:lnTo>
                    <a:lnTo>
                      <a:pt x="27527" y="77653"/>
                    </a:lnTo>
                    <a:lnTo>
                      <a:pt x="14371" y="76950"/>
                    </a:lnTo>
                    <a:lnTo>
                      <a:pt x="9977" y="61589"/>
                    </a:lnTo>
                    <a:lnTo>
                      <a:pt x="0" y="53994"/>
                    </a:lnTo>
                    <a:lnTo>
                      <a:pt x="1961" y="44410"/>
                    </a:lnTo>
                    <a:lnTo>
                      <a:pt x="14303" y="27117"/>
                    </a:lnTo>
                    <a:lnTo>
                      <a:pt x="17412" y="33068"/>
                    </a:lnTo>
                    <a:lnTo>
                      <a:pt x="27695" y="33364"/>
                    </a:lnTo>
                    <a:lnTo>
                      <a:pt x="17831" y="4169"/>
                    </a:lnTo>
                    <a:lnTo>
                      <a:pt x="26700" y="0"/>
                    </a:lnTo>
                    <a:lnTo>
                      <a:pt x="42704" y="19783"/>
                    </a:lnTo>
                    <a:lnTo>
                      <a:pt x="56729" y="42767"/>
                    </a:lnTo>
                    <a:lnTo>
                      <a:pt x="80171" y="42025"/>
                    </a:lnTo>
                    <a:lnTo>
                      <a:pt x="92703" y="64190"/>
                    </a:lnTo>
                    <a:lnTo>
                      <a:pt x="82017" y="71412"/>
                    </a:lnTo>
                    <a:lnTo>
                      <a:pt x="78559" y="80878"/>
                    </a:lnTo>
                    <a:lnTo>
                      <a:pt x="104761" y="95445"/>
                    </a:lnTo>
                    <a:lnTo>
                      <a:pt x="126967" y="125396"/>
                    </a:lnTo>
                    <a:lnTo>
                      <a:pt x="143532" y="147781"/>
                    </a:lnTo>
                    <a:lnTo>
                      <a:pt x="161491" y="165331"/>
                    </a:lnTo>
                    <a:lnTo>
                      <a:pt x="169649" y="183507"/>
                    </a:lnTo>
                    <a:lnTo>
                      <a:pt x="170535" y="209574"/>
                    </a:lnTo>
                    <a:lnTo>
                      <a:pt x="151781" y="200523"/>
                    </a:lnTo>
                    <a:lnTo>
                      <a:pt x="145908" y="218654"/>
                    </a:lnTo>
                    <a:lnTo>
                      <a:pt x="128284" y="208946"/>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300" name="Polygon form 265"/>
              <p:cNvSpPr/>
              <p:nvPr/>
            </p:nvSpPr>
            <p:spPr>
              <a:xfrm>
                <a:off x="4604939" y="3289827"/>
                <a:ext cx="23663" cy="37995"/>
              </a:xfrm>
              <a:custGeom>
                <a:avLst/>
                <a:gdLst/>
                <a:ahLst/>
                <a:cxnLst/>
                <a:rect l="0" t="0" r="0" b="0"/>
                <a:pathLst>
                  <a:path w="23663" h="37995">
                    <a:moveTo>
                      <a:pt x="12159" y="33239"/>
                    </a:moveTo>
                    <a:lnTo>
                      <a:pt x="7288" y="33648"/>
                    </a:lnTo>
                    <a:lnTo>
                      <a:pt x="6137" y="37930"/>
                    </a:lnTo>
                    <a:lnTo>
                      <a:pt x="0" y="37995"/>
                    </a:lnTo>
                    <a:lnTo>
                      <a:pt x="4014" y="18116"/>
                    </a:lnTo>
                    <a:lnTo>
                      <a:pt x="10832" y="852"/>
                    </a:lnTo>
                    <a:lnTo>
                      <a:pt x="11061" y="0"/>
                    </a:lnTo>
                    <a:lnTo>
                      <a:pt x="19405" y="1079"/>
                    </a:lnTo>
                    <a:lnTo>
                      <a:pt x="23663" y="10536"/>
                    </a:lnTo>
                    <a:lnTo>
                      <a:pt x="14930" y="19871"/>
                    </a:lnTo>
                    <a:lnTo>
                      <a:pt x="12159" y="33239"/>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01" name="Polygon form 266"/>
              <p:cNvSpPr/>
              <p:nvPr/>
            </p:nvSpPr>
            <p:spPr>
              <a:xfrm>
                <a:off x="3735092" y="3925665"/>
                <a:ext cx="76586" cy="101049"/>
              </a:xfrm>
              <a:custGeom>
                <a:avLst/>
                <a:gdLst/>
                <a:ahLst/>
                <a:cxnLst/>
                <a:rect l="0" t="0" r="0" b="0"/>
                <a:pathLst>
                  <a:path w="76586" h="101049">
                    <a:moveTo>
                      <a:pt x="73101" y="100839"/>
                    </a:moveTo>
                    <a:lnTo>
                      <a:pt x="67935" y="101049"/>
                    </a:lnTo>
                    <a:lnTo>
                      <a:pt x="47661" y="89532"/>
                    </a:lnTo>
                    <a:lnTo>
                      <a:pt x="29846" y="71146"/>
                    </a:lnTo>
                    <a:lnTo>
                      <a:pt x="13145" y="57922"/>
                    </a:lnTo>
                    <a:lnTo>
                      <a:pt x="0" y="42330"/>
                    </a:lnTo>
                    <a:lnTo>
                      <a:pt x="4765" y="34611"/>
                    </a:lnTo>
                    <a:lnTo>
                      <a:pt x="5868" y="27590"/>
                    </a:lnTo>
                    <a:lnTo>
                      <a:pt x="14852" y="14498"/>
                    </a:lnTo>
                    <a:lnTo>
                      <a:pt x="24102" y="3243"/>
                    </a:lnTo>
                    <a:lnTo>
                      <a:pt x="28303" y="2710"/>
                    </a:lnTo>
                    <a:lnTo>
                      <a:pt x="33460" y="0"/>
                    </a:lnTo>
                    <a:lnTo>
                      <a:pt x="41560" y="14795"/>
                    </a:lnTo>
                    <a:lnTo>
                      <a:pt x="40189" y="24488"/>
                    </a:lnTo>
                    <a:lnTo>
                      <a:pt x="43980" y="29633"/>
                    </a:lnTo>
                    <a:lnTo>
                      <a:pt x="49542" y="29756"/>
                    </a:lnTo>
                    <a:lnTo>
                      <a:pt x="53620" y="20043"/>
                    </a:lnTo>
                    <a:lnTo>
                      <a:pt x="59178" y="20667"/>
                    </a:lnTo>
                    <a:lnTo>
                      <a:pt x="58225" y="27685"/>
                    </a:lnTo>
                    <a:lnTo>
                      <a:pt x="60121" y="39354"/>
                    </a:lnTo>
                    <a:lnTo>
                      <a:pt x="55779" y="50072"/>
                    </a:lnTo>
                    <a:lnTo>
                      <a:pt x="61483" y="56703"/>
                    </a:lnTo>
                    <a:lnTo>
                      <a:pt x="67731" y="58321"/>
                    </a:lnTo>
                    <a:lnTo>
                      <a:pt x="76027" y="68435"/>
                    </a:lnTo>
                    <a:lnTo>
                      <a:pt x="76586" y="77944"/>
                    </a:lnTo>
                    <a:lnTo>
                      <a:pt x="74689" y="80964"/>
                    </a:lnTo>
                    <a:lnTo>
                      <a:pt x="73101" y="100839"/>
                    </a:lnTo>
                    <a:close/>
                  </a:path>
                </a:pathLst>
              </a:custGeom>
              <a:solidFill>
                <a:srgbClr val="F7FCF5">
                  <a:alpha val="100000"/>
                </a:srgbClr>
              </a:solidFill>
              <a:ln w="5400">
                <a:solidFill>
                  <a:srgbClr val="7F7F7F">
                    <a:alpha val="100000"/>
                  </a:srgbClr>
                </a:solidFill>
                <a:prstDash val="solid"/>
                <a:round/>
              </a:ln>
            </p:spPr>
            <p:txBody>
              <a:bodyPr/>
              <a:lstStyle/>
              <a:p/>
            </p:txBody>
          </p:sp>
          <p:sp>
            <p:nvSpPr>
              <p:cNvPr id="302" name="Polygon form 267"/>
              <p:cNvSpPr/>
              <p:nvPr/>
            </p:nvSpPr>
            <p:spPr>
              <a:xfrm>
                <a:off x="4136346" y="3331823"/>
                <a:ext cx="305012" cy="325991"/>
              </a:xfrm>
              <a:custGeom>
                <a:avLst/>
                <a:gdLst/>
                <a:ahLst/>
                <a:cxnLst/>
                <a:rect l="0" t="0" r="0" b="0"/>
                <a:pathLst>
                  <a:path w="305012" h="325991">
                    <a:moveTo>
                      <a:pt x="107463" y="247721"/>
                    </a:moveTo>
                    <a:lnTo>
                      <a:pt x="94257" y="256766"/>
                    </a:lnTo>
                    <a:lnTo>
                      <a:pt x="83082" y="243555"/>
                    </a:lnTo>
                    <a:lnTo>
                      <a:pt x="52596" y="233282"/>
                    </a:lnTo>
                    <a:lnTo>
                      <a:pt x="43801" y="218199"/>
                    </a:lnTo>
                    <a:lnTo>
                      <a:pt x="28484" y="207045"/>
                    </a:lnTo>
                    <a:lnTo>
                      <a:pt x="19722" y="211503"/>
                    </a:lnTo>
                    <a:lnTo>
                      <a:pt x="12621" y="198069"/>
                    </a:lnTo>
                    <a:lnTo>
                      <a:pt x="11639" y="187729"/>
                    </a:lnTo>
                    <a:lnTo>
                      <a:pt x="0" y="170179"/>
                    </a:lnTo>
                    <a:lnTo>
                      <a:pt x="7229" y="160065"/>
                    </a:lnTo>
                    <a:lnTo>
                      <a:pt x="5173" y="144896"/>
                    </a:lnTo>
                    <a:lnTo>
                      <a:pt x="7195" y="131676"/>
                    </a:lnTo>
                    <a:lnTo>
                      <a:pt x="5526" y="120678"/>
                    </a:lnTo>
                    <a:lnTo>
                      <a:pt x="8246" y="100974"/>
                    </a:lnTo>
                    <a:lnTo>
                      <a:pt x="6892" y="89763"/>
                    </a:lnTo>
                    <a:lnTo>
                      <a:pt x="220" y="68481"/>
                    </a:lnTo>
                    <a:lnTo>
                      <a:pt x="9111" y="62846"/>
                    </a:lnTo>
                    <a:lnTo>
                      <a:pt x="10385" y="52641"/>
                    </a:lnTo>
                    <a:lnTo>
                      <a:pt x="8086" y="42652"/>
                    </a:lnTo>
                    <a:lnTo>
                      <a:pt x="20463" y="33289"/>
                    </a:lnTo>
                    <a:lnTo>
                      <a:pt x="25865" y="25526"/>
                    </a:lnTo>
                    <a:lnTo>
                      <a:pt x="34587" y="18547"/>
                    </a:lnTo>
                    <a:lnTo>
                      <a:pt x="34888" y="0"/>
                    </a:lnTo>
                    <a:lnTo>
                      <a:pt x="56821" y="8179"/>
                    </a:lnTo>
                    <a:lnTo>
                      <a:pt x="64448" y="6053"/>
                    </a:lnTo>
                    <a:lnTo>
                      <a:pt x="79998" y="9978"/>
                    </a:lnTo>
                    <a:lnTo>
                      <a:pt x="104973" y="20594"/>
                    </a:lnTo>
                    <a:lnTo>
                      <a:pt x="114742" y="41995"/>
                    </a:lnTo>
                    <a:lnTo>
                      <a:pt x="131608" y="46555"/>
                    </a:lnTo>
                    <a:lnTo>
                      <a:pt x="158302" y="56454"/>
                    </a:lnTo>
                    <a:lnTo>
                      <a:pt x="178801" y="68297"/>
                    </a:lnTo>
                    <a:lnTo>
                      <a:pt x="187470" y="61946"/>
                    </a:lnTo>
                    <a:lnTo>
                      <a:pt x="195643" y="50747"/>
                    </a:lnTo>
                    <a:lnTo>
                      <a:pt x="190106" y="32273"/>
                    </a:lnTo>
                    <a:lnTo>
                      <a:pt x="195094" y="20461"/>
                    </a:lnTo>
                    <a:lnTo>
                      <a:pt x="207555" y="9000"/>
                    </a:lnTo>
                    <a:lnTo>
                      <a:pt x="219965" y="5569"/>
                    </a:lnTo>
                    <a:lnTo>
                      <a:pt x="245212" y="10240"/>
                    </a:lnTo>
                    <a:lnTo>
                      <a:pt x="252348" y="20981"/>
                    </a:lnTo>
                    <a:lnTo>
                      <a:pt x="259216" y="21004"/>
                    </a:lnTo>
                    <a:lnTo>
                      <a:pt x="265419" y="25062"/>
                    </a:lnTo>
                    <a:lnTo>
                      <a:pt x="283979" y="27681"/>
                    </a:lnTo>
                    <a:lnTo>
                      <a:pt x="289151" y="35615"/>
                    </a:lnTo>
                    <a:lnTo>
                      <a:pt x="283421" y="47306"/>
                    </a:lnTo>
                    <a:lnTo>
                      <a:pt x="287130" y="57620"/>
                    </a:lnTo>
                    <a:lnTo>
                      <a:pt x="283538" y="72615"/>
                    </a:lnTo>
                    <a:lnTo>
                      <a:pt x="290640" y="92043"/>
                    </a:lnTo>
                    <a:lnTo>
                      <a:pt x="296844" y="178108"/>
                    </a:lnTo>
                    <a:lnTo>
                      <a:pt x="302381" y="267248"/>
                    </a:lnTo>
                    <a:lnTo>
                      <a:pt x="305012" y="315594"/>
                    </a:lnTo>
                    <a:lnTo>
                      <a:pt x="282891" y="315835"/>
                    </a:lnTo>
                    <a:lnTo>
                      <a:pt x="283149" y="325991"/>
                    </a:lnTo>
                    <a:lnTo>
                      <a:pt x="204376" y="280209"/>
                    </a:lnTo>
                    <a:lnTo>
                      <a:pt x="126231" y="234408"/>
                    </a:lnTo>
                    <a:lnTo>
                      <a:pt x="107463" y="247721"/>
                    </a:lnTo>
                    <a:close/>
                  </a:path>
                </a:pathLst>
              </a:custGeom>
              <a:solidFill>
                <a:srgbClr val="41AB5D">
                  <a:alpha val="100000"/>
                </a:srgbClr>
              </a:solidFill>
              <a:ln w="5400">
                <a:solidFill>
                  <a:srgbClr val="7F7F7F">
                    <a:alpha val="100000"/>
                  </a:srgbClr>
                </a:solidFill>
                <a:prstDash val="solid"/>
                <a:round/>
              </a:ln>
            </p:spPr>
            <p:txBody>
              <a:bodyPr/>
              <a:lstStyle/>
              <a:p/>
            </p:txBody>
          </p:sp>
          <p:sp>
            <p:nvSpPr>
              <p:cNvPr id="303" name="Polygon form 268"/>
              <p:cNvSpPr/>
              <p:nvPr/>
            </p:nvSpPr>
            <p:spPr>
              <a:xfrm>
                <a:off x="5526503" y="3884683"/>
                <a:ext cx="42251" cy="96934"/>
              </a:xfrm>
              <a:custGeom>
                <a:avLst/>
                <a:gdLst/>
                <a:ahLst/>
                <a:cxnLst/>
                <a:rect l="0" t="0" r="0" b="0"/>
                <a:pathLst>
                  <a:path w="42251" h="96934">
                    <a:moveTo>
                      <a:pt x="42251" y="57518"/>
                    </a:moveTo>
                    <a:lnTo>
                      <a:pt x="40856" y="83784"/>
                    </a:lnTo>
                    <a:lnTo>
                      <a:pt x="32991" y="91028"/>
                    </a:lnTo>
                    <a:lnTo>
                      <a:pt x="16166" y="96934"/>
                    </a:lnTo>
                    <a:lnTo>
                      <a:pt x="5737" y="77017"/>
                    </a:lnTo>
                    <a:lnTo>
                      <a:pt x="0" y="40916"/>
                    </a:lnTo>
                    <a:lnTo>
                      <a:pt x="5809" y="0"/>
                    </a:lnTo>
                    <a:lnTo>
                      <a:pt x="20479" y="13794"/>
                    </a:lnTo>
                    <a:lnTo>
                      <a:pt x="30952" y="31403"/>
                    </a:lnTo>
                    <a:lnTo>
                      <a:pt x="42251" y="57518"/>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304" name="Polygon form 269"/>
              <p:cNvSpPr/>
              <p:nvPr/>
            </p:nvSpPr>
            <p:spPr>
              <a:xfrm>
                <a:off x="4462981" y="4826281"/>
                <a:ext cx="44640" cy="48189"/>
              </a:xfrm>
              <a:custGeom>
                <a:avLst/>
                <a:gdLst/>
                <a:ahLst/>
                <a:cxnLst/>
                <a:rect l="0" t="0" r="0" b="0"/>
                <a:pathLst>
                  <a:path w="44640" h="48189">
                    <a:moveTo>
                      <a:pt x="38821" y="7568"/>
                    </a:moveTo>
                    <a:lnTo>
                      <a:pt x="44640" y="14964"/>
                    </a:lnTo>
                    <a:lnTo>
                      <a:pt x="37854" y="26671"/>
                    </a:lnTo>
                    <a:lnTo>
                      <a:pt x="33969" y="34532"/>
                    </a:lnTo>
                    <a:lnTo>
                      <a:pt x="23269" y="38177"/>
                    </a:lnTo>
                    <a:lnTo>
                      <a:pt x="19155" y="45870"/>
                    </a:lnTo>
                    <a:lnTo>
                      <a:pt x="12301" y="48189"/>
                    </a:lnTo>
                    <a:lnTo>
                      <a:pt x="0" y="29388"/>
                    </a:lnTo>
                    <a:lnTo>
                      <a:pt x="11238" y="14179"/>
                    </a:lnTo>
                    <a:lnTo>
                      <a:pt x="22159" y="4831"/>
                    </a:lnTo>
                    <a:lnTo>
                      <a:pt x="31317" y="0"/>
                    </a:lnTo>
                    <a:lnTo>
                      <a:pt x="38821" y="7568"/>
                    </a:lnTo>
                    <a:close/>
                  </a:path>
                </a:pathLst>
              </a:custGeom>
              <a:solidFill>
                <a:srgbClr val="41AB5D">
                  <a:alpha val="100000"/>
                </a:srgbClr>
              </a:solidFill>
              <a:ln w="5400">
                <a:solidFill>
                  <a:srgbClr val="7F7F7F">
                    <a:alpha val="100000"/>
                  </a:srgbClr>
                </a:solidFill>
                <a:prstDash val="solid"/>
                <a:round/>
              </a:ln>
            </p:spPr>
            <p:txBody>
              <a:bodyPr/>
              <a:lstStyle/>
              <a:p/>
            </p:txBody>
          </p:sp>
          <p:sp>
            <p:nvSpPr>
              <p:cNvPr id="305" name="Polygon form 270"/>
              <p:cNvSpPr/>
              <p:nvPr/>
            </p:nvSpPr>
            <p:spPr>
              <a:xfrm>
                <a:off x="4289000" y="2768142"/>
                <a:ext cx="89760" cy="59763"/>
              </a:xfrm>
              <a:custGeom>
                <a:avLst/>
                <a:gdLst/>
                <a:ahLst/>
                <a:cxnLst/>
                <a:rect l="0" t="0" r="0" b="0"/>
                <a:pathLst>
                  <a:path w="89760" h="59763">
                    <a:moveTo>
                      <a:pt x="32099" y="49958"/>
                    </a:moveTo>
                    <a:lnTo>
                      <a:pt x="29951" y="43822"/>
                    </a:lnTo>
                    <a:lnTo>
                      <a:pt x="30683" y="37185"/>
                    </a:lnTo>
                    <a:lnTo>
                      <a:pt x="23170" y="33476"/>
                    </a:lnTo>
                    <a:lnTo>
                      <a:pt x="6108" y="29526"/>
                    </a:lnTo>
                    <a:lnTo>
                      <a:pt x="0" y="9299"/>
                    </a:lnTo>
                    <a:lnTo>
                      <a:pt x="16771" y="1599"/>
                    </a:lnTo>
                    <a:lnTo>
                      <a:pt x="43059" y="2676"/>
                    </a:lnTo>
                    <a:lnTo>
                      <a:pt x="57930" y="0"/>
                    </a:lnTo>
                    <a:lnTo>
                      <a:pt x="60931" y="4975"/>
                    </a:lnTo>
                    <a:lnTo>
                      <a:pt x="69464" y="6362"/>
                    </a:lnTo>
                    <a:lnTo>
                      <a:pt x="86438" y="17763"/>
                    </a:lnTo>
                    <a:lnTo>
                      <a:pt x="89760" y="28541"/>
                    </a:lnTo>
                    <a:lnTo>
                      <a:pt x="78160" y="36529"/>
                    </a:lnTo>
                    <a:lnTo>
                      <a:pt x="76705" y="50225"/>
                    </a:lnTo>
                    <a:lnTo>
                      <a:pt x="60896" y="59646"/>
                    </a:lnTo>
                    <a:lnTo>
                      <a:pt x="45501" y="59763"/>
                    </a:lnTo>
                    <a:lnTo>
                      <a:pt x="40601" y="52397"/>
                    </a:lnTo>
                    <a:lnTo>
                      <a:pt x="32099" y="49958"/>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06" name="Polygon form 271"/>
              <p:cNvSpPr/>
              <p:nvPr/>
            </p:nvSpPr>
            <p:spPr>
              <a:xfrm>
                <a:off x="4054304" y="2922318"/>
                <a:ext cx="9110" cy="16546"/>
              </a:xfrm>
              <a:custGeom>
                <a:avLst/>
                <a:gdLst/>
                <a:ahLst/>
                <a:cxnLst/>
                <a:rect l="0" t="0" r="0" b="0"/>
                <a:pathLst>
                  <a:path w="9110" h="16546">
                    <a:moveTo>
                      <a:pt x="5624" y="0"/>
                    </a:moveTo>
                    <a:lnTo>
                      <a:pt x="9110" y="5434"/>
                    </a:lnTo>
                    <a:lnTo>
                      <a:pt x="8544" y="16015"/>
                    </a:lnTo>
                    <a:lnTo>
                      <a:pt x="3776" y="16546"/>
                    </a:lnTo>
                    <a:lnTo>
                      <a:pt x="0" y="14466"/>
                    </a:lnTo>
                    <a:lnTo>
                      <a:pt x="1355" y="928"/>
                    </a:lnTo>
                    <a:lnTo>
                      <a:pt x="5624" y="0"/>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307" name="Polygon form 272"/>
              <p:cNvSpPr/>
              <p:nvPr/>
            </p:nvSpPr>
            <p:spPr>
              <a:xfrm>
                <a:off x="4287013" y="2729513"/>
                <a:ext cx="112253" cy="56392"/>
              </a:xfrm>
              <a:custGeom>
                <a:avLst/>
                <a:gdLst/>
                <a:ahLst/>
                <a:cxnLst/>
                <a:rect l="0" t="0" r="0" b="0"/>
                <a:pathLst>
                  <a:path w="112253" h="56392">
                    <a:moveTo>
                      <a:pt x="1987" y="47928"/>
                    </a:moveTo>
                    <a:lnTo>
                      <a:pt x="0" y="29759"/>
                    </a:lnTo>
                    <a:lnTo>
                      <a:pt x="5409" y="14483"/>
                    </a:lnTo>
                    <a:lnTo>
                      <a:pt x="18628" y="5993"/>
                    </a:lnTo>
                    <a:lnTo>
                      <a:pt x="33614" y="23794"/>
                    </a:lnTo>
                    <a:lnTo>
                      <a:pt x="45909" y="23093"/>
                    </a:lnTo>
                    <a:lnTo>
                      <a:pt x="45829" y="4518"/>
                    </a:lnTo>
                    <a:lnTo>
                      <a:pt x="58116" y="0"/>
                    </a:lnTo>
                    <a:lnTo>
                      <a:pt x="65318" y="2822"/>
                    </a:lnTo>
                    <a:lnTo>
                      <a:pt x="80072" y="11501"/>
                    </a:lnTo>
                    <a:lnTo>
                      <a:pt x="92720" y="11276"/>
                    </a:lnTo>
                    <a:lnTo>
                      <a:pt x="101145" y="16669"/>
                    </a:lnTo>
                    <a:lnTo>
                      <a:pt x="104637" y="28337"/>
                    </a:lnTo>
                    <a:lnTo>
                      <a:pt x="112253" y="42466"/>
                    </a:lnTo>
                    <a:lnTo>
                      <a:pt x="97214" y="52136"/>
                    </a:lnTo>
                    <a:lnTo>
                      <a:pt x="88425" y="56392"/>
                    </a:lnTo>
                    <a:lnTo>
                      <a:pt x="71451" y="44991"/>
                    </a:lnTo>
                    <a:lnTo>
                      <a:pt x="62918" y="43604"/>
                    </a:lnTo>
                    <a:lnTo>
                      <a:pt x="59917" y="38629"/>
                    </a:lnTo>
                    <a:lnTo>
                      <a:pt x="45046" y="41305"/>
                    </a:lnTo>
                    <a:lnTo>
                      <a:pt x="18758" y="40228"/>
                    </a:lnTo>
                    <a:lnTo>
                      <a:pt x="1987" y="47928"/>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08" name="Polygon form 273"/>
              <p:cNvSpPr/>
              <p:nvPr/>
            </p:nvSpPr>
            <p:spPr>
              <a:xfrm>
                <a:off x="3633942" y="3268981"/>
                <a:ext cx="305619" cy="345181"/>
              </a:xfrm>
              <a:custGeom>
                <a:avLst/>
                <a:gdLst/>
                <a:ahLst/>
                <a:cxnLst/>
                <a:rect l="0" t="0" r="0" b="0"/>
                <a:pathLst>
                  <a:path w="305619" h="345181">
                    <a:moveTo>
                      <a:pt x="232139" y="156"/>
                    </a:moveTo>
                    <a:lnTo>
                      <a:pt x="242891" y="10426"/>
                    </a:lnTo>
                    <a:lnTo>
                      <a:pt x="260194" y="8795"/>
                    </a:lnTo>
                    <a:lnTo>
                      <a:pt x="278956" y="14152"/>
                    </a:lnTo>
                    <a:lnTo>
                      <a:pt x="286854" y="14420"/>
                    </a:lnTo>
                    <a:lnTo>
                      <a:pt x="293606" y="29879"/>
                    </a:lnTo>
                    <a:lnTo>
                      <a:pt x="294599" y="44553"/>
                    </a:lnTo>
                    <a:lnTo>
                      <a:pt x="300794" y="70026"/>
                    </a:lnTo>
                    <a:lnTo>
                      <a:pt x="305619" y="75155"/>
                    </a:lnTo>
                    <a:lnTo>
                      <a:pt x="302202" y="84529"/>
                    </a:lnTo>
                    <a:lnTo>
                      <a:pt x="278035" y="88571"/>
                    </a:lnTo>
                    <a:lnTo>
                      <a:pt x="269595" y="97483"/>
                    </a:lnTo>
                    <a:lnTo>
                      <a:pt x="258877" y="99569"/>
                    </a:lnTo>
                    <a:lnTo>
                      <a:pt x="257866" y="117429"/>
                    </a:lnTo>
                    <a:lnTo>
                      <a:pt x="236029" y="126934"/>
                    </a:lnTo>
                    <a:lnTo>
                      <a:pt x="228721" y="138999"/>
                    </a:lnTo>
                    <a:lnTo>
                      <a:pt x="213359" y="145444"/>
                    </a:lnTo>
                    <a:lnTo>
                      <a:pt x="194667" y="149068"/>
                    </a:lnTo>
                    <a:lnTo>
                      <a:pt x="164077" y="166771"/>
                    </a:lnTo>
                    <a:lnTo>
                      <a:pt x="163502" y="195366"/>
                    </a:lnTo>
                    <a:lnTo>
                      <a:pt x="160642" y="195355"/>
                    </a:lnTo>
                    <a:lnTo>
                      <a:pt x="160642" y="195355"/>
                    </a:lnTo>
                    <a:lnTo>
                      <a:pt x="160747" y="208286"/>
                    </a:lnTo>
                    <a:lnTo>
                      <a:pt x="149090" y="209020"/>
                    </a:lnTo>
                    <a:lnTo>
                      <a:pt x="142871" y="214488"/>
                    </a:lnTo>
                    <a:lnTo>
                      <a:pt x="134315" y="214453"/>
                    </a:lnTo>
                    <a:lnTo>
                      <a:pt x="127591" y="211289"/>
                    </a:lnTo>
                    <a:lnTo>
                      <a:pt x="111664" y="213809"/>
                    </a:lnTo>
                    <a:lnTo>
                      <a:pt x="104918" y="232594"/>
                    </a:lnTo>
                    <a:lnTo>
                      <a:pt x="98956" y="234334"/>
                    </a:lnTo>
                    <a:lnTo>
                      <a:pt x="89062" y="264731"/>
                    </a:lnTo>
                    <a:lnTo>
                      <a:pt x="61770" y="290658"/>
                    </a:lnTo>
                    <a:lnTo>
                      <a:pt x="54352" y="323975"/>
                    </a:lnTo>
                    <a:lnTo>
                      <a:pt x="46155" y="334786"/>
                    </a:lnTo>
                    <a:lnTo>
                      <a:pt x="43567" y="343478"/>
                    </a:lnTo>
                    <a:lnTo>
                      <a:pt x="333" y="345181"/>
                    </a:lnTo>
                    <a:lnTo>
                      <a:pt x="0" y="345141"/>
                    </a:lnTo>
                    <a:lnTo>
                      <a:pt x="1331" y="333948"/>
                    </a:lnTo>
                    <a:lnTo>
                      <a:pt x="8934" y="327406"/>
                    </a:lnTo>
                    <a:lnTo>
                      <a:pt x="15669" y="314851"/>
                    </a:lnTo>
                    <a:lnTo>
                      <a:pt x="14754" y="306668"/>
                    </a:lnTo>
                    <a:lnTo>
                      <a:pt x="21976" y="289660"/>
                    </a:lnTo>
                    <a:lnTo>
                      <a:pt x="33166" y="274363"/>
                    </a:lnTo>
                    <a:lnTo>
                      <a:pt x="39712" y="270508"/>
                    </a:lnTo>
                    <a:lnTo>
                      <a:pt x="45279" y="256449"/>
                    </a:lnTo>
                    <a:lnTo>
                      <a:pt x="46232" y="243584"/>
                    </a:lnTo>
                    <a:lnTo>
                      <a:pt x="53647" y="228695"/>
                    </a:lnTo>
                    <a:lnTo>
                      <a:pt x="66559" y="219965"/>
                    </a:lnTo>
                    <a:lnTo>
                      <a:pt x="79431" y="195372"/>
                    </a:lnTo>
                    <a:lnTo>
                      <a:pt x="79789" y="195036"/>
                    </a:lnTo>
                    <a:lnTo>
                      <a:pt x="89575" y="185815"/>
                    </a:lnTo>
                    <a:lnTo>
                      <a:pt x="107111" y="183239"/>
                    </a:lnTo>
                    <a:lnTo>
                      <a:pt x="122424" y="166812"/>
                    </a:lnTo>
                    <a:lnTo>
                      <a:pt x="132004" y="160425"/>
                    </a:lnTo>
                    <a:lnTo>
                      <a:pt x="148200" y="140341"/>
                    </a:lnTo>
                    <a:lnTo>
                      <a:pt x="144497" y="110293"/>
                    </a:lnTo>
                    <a:lnTo>
                      <a:pt x="152190" y="89560"/>
                    </a:lnTo>
                    <a:lnTo>
                      <a:pt x="155070" y="76863"/>
                    </a:lnTo>
                    <a:lnTo>
                      <a:pt x="167405" y="60613"/>
                    </a:lnTo>
                    <a:lnTo>
                      <a:pt x="186120" y="49665"/>
                    </a:lnTo>
                    <a:lnTo>
                      <a:pt x="199952" y="39740"/>
                    </a:lnTo>
                    <a:lnTo>
                      <a:pt x="212744" y="14799"/>
                    </a:lnTo>
                    <a:lnTo>
                      <a:pt x="218794" y="0"/>
                    </a:lnTo>
                    <a:lnTo>
                      <a:pt x="232139" y="156"/>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09" name="Polygon form 274"/>
              <p:cNvSpPr/>
              <p:nvPr/>
            </p:nvSpPr>
            <p:spPr>
              <a:xfrm>
                <a:off x="2308789" y="2884405"/>
                <a:ext cx="168573" cy="149294"/>
              </a:xfrm>
              <a:custGeom>
                <a:avLst/>
                <a:gdLst/>
                <a:ahLst/>
                <a:cxnLst/>
                <a:rect l="0" t="0" r="0" b="0"/>
                <a:pathLst>
                  <a:path w="168573" h="149294">
                    <a:moveTo>
                      <a:pt x="166751" y="40244"/>
                    </a:moveTo>
                    <a:lnTo>
                      <a:pt x="168573" y="40293"/>
                    </a:lnTo>
                    <a:lnTo>
                      <a:pt x="167383" y="41550"/>
                    </a:lnTo>
                    <a:lnTo>
                      <a:pt x="164195" y="44906"/>
                    </a:lnTo>
                    <a:lnTo>
                      <a:pt x="160196" y="49119"/>
                    </a:lnTo>
                    <a:lnTo>
                      <a:pt x="156192" y="53333"/>
                    </a:lnTo>
                    <a:lnTo>
                      <a:pt x="152184" y="57562"/>
                    </a:lnTo>
                    <a:lnTo>
                      <a:pt x="149428" y="57219"/>
                    </a:lnTo>
                    <a:lnTo>
                      <a:pt x="146667" y="56890"/>
                    </a:lnTo>
                    <a:lnTo>
                      <a:pt x="143913" y="56546"/>
                    </a:lnTo>
                    <a:lnTo>
                      <a:pt x="141153" y="56216"/>
                    </a:lnTo>
                    <a:lnTo>
                      <a:pt x="136677" y="58343"/>
                    </a:lnTo>
                    <a:lnTo>
                      <a:pt x="132213" y="60458"/>
                    </a:lnTo>
                    <a:lnTo>
                      <a:pt x="127738" y="62572"/>
                    </a:lnTo>
                    <a:lnTo>
                      <a:pt x="123255" y="64699"/>
                    </a:lnTo>
                    <a:lnTo>
                      <a:pt x="120648" y="65751"/>
                    </a:lnTo>
                    <a:lnTo>
                      <a:pt x="118033" y="66801"/>
                    </a:lnTo>
                    <a:lnTo>
                      <a:pt x="115410" y="67864"/>
                    </a:lnTo>
                    <a:lnTo>
                      <a:pt x="112801" y="68915"/>
                    </a:lnTo>
                    <a:lnTo>
                      <a:pt x="111815" y="69302"/>
                    </a:lnTo>
                    <a:lnTo>
                      <a:pt x="106854" y="70359"/>
                    </a:lnTo>
                    <a:lnTo>
                      <a:pt x="100218" y="84162"/>
                    </a:lnTo>
                    <a:lnTo>
                      <a:pt x="99711" y="84099"/>
                    </a:lnTo>
                    <a:lnTo>
                      <a:pt x="94332" y="86530"/>
                    </a:lnTo>
                    <a:lnTo>
                      <a:pt x="89682" y="88637"/>
                    </a:lnTo>
                    <a:lnTo>
                      <a:pt x="85122" y="93002"/>
                    </a:lnTo>
                    <a:lnTo>
                      <a:pt x="86339" y="97862"/>
                    </a:lnTo>
                    <a:lnTo>
                      <a:pt x="82093" y="103965"/>
                    </a:lnTo>
                    <a:lnTo>
                      <a:pt x="78869" y="110642"/>
                    </a:lnTo>
                    <a:lnTo>
                      <a:pt x="75780" y="116034"/>
                    </a:lnTo>
                    <a:lnTo>
                      <a:pt x="78365" y="121111"/>
                    </a:lnTo>
                    <a:lnTo>
                      <a:pt x="80244" y="121471"/>
                    </a:lnTo>
                    <a:lnTo>
                      <a:pt x="83963" y="125355"/>
                    </a:lnTo>
                    <a:lnTo>
                      <a:pt x="85046" y="127156"/>
                    </a:lnTo>
                    <a:lnTo>
                      <a:pt x="84984" y="129886"/>
                    </a:lnTo>
                    <a:lnTo>
                      <a:pt x="87215" y="134418"/>
                    </a:lnTo>
                    <a:lnTo>
                      <a:pt x="91175" y="138458"/>
                    </a:lnTo>
                    <a:lnTo>
                      <a:pt x="90784" y="140533"/>
                    </a:lnTo>
                    <a:lnTo>
                      <a:pt x="88126" y="146480"/>
                    </a:lnTo>
                    <a:lnTo>
                      <a:pt x="87309" y="149294"/>
                    </a:lnTo>
                    <a:lnTo>
                      <a:pt x="65558" y="147346"/>
                    </a:lnTo>
                    <a:lnTo>
                      <a:pt x="41057" y="145814"/>
                    </a:lnTo>
                    <a:lnTo>
                      <a:pt x="18210" y="144540"/>
                    </a:lnTo>
                    <a:lnTo>
                      <a:pt x="0" y="143192"/>
                    </a:lnTo>
                    <a:lnTo>
                      <a:pt x="11439" y="120100"/>
                    </a:lnTo>
                    <a:lnTo>
                      <a:pt x="21220" y="96311"/>
                    </a:lnTo>
                    <a:lnTo>
                      <a:pt x="19319" y="94176"/>
                    </a:lnTo>
                    <a:lnTo>
                      <a:pt x="19635" y="90242"/>
                    </a:lnTo>
                    <a:lnTo>
                      <a:pt x="22223" y="86968"/>
                    </a:lnTo>
                    <a:lnTo>
                      <a:pt x="27287" y="84492"/>
                    </a:lnTo>
                    <a:lnTo>
                      <a:pt x="29408" y="80927"/>
                    </a:lnTo>
                    <a:lnTo>
                      <a:pt x="31716" y="76455"/>
                    </a:lnTo>
                    <a:lnTo>
                      <a:pt x="32632" y="72637"/>
                    </a:lnTo>
                    <a:lnTo>
                      <a:pt x="33335" y="68545"/>
                    </a:lnTo>
                    <a:lnTo>
                      <a:pt x="35164" y="63484"/>
                    </a:lnTo>
                    <a:lnTo>
                      <a:pt x="37912" y="57858"/>
                    </a:lnTo>
                    <a:lnTo>
                      <a:pt x="38071" y="56475"/>
                    </a:lnTo>
                    <a:lnTo>
                      <a:pt x="41232" y="49216"/>
                    </a:lnTo>
                    <a:lnTo>
                      <a:pt x="42923" y="45907"/>
                    </a:lnTo>
                    <a:lnTo>
                      <a:pt x="44178" y="42945"/>
                    </a:lnTo>
                    <a:lnTo>
                      <a:pt x="46051" y="37904"/>
                    </a:lnTo>
                    <a:lnTo>
                      <a:pt x="46831" y="32711"/>
                    </a:lnTo>
                    <a:lnTo>
                      <a:pt x="47419" y="28072"/>
                    </a:lnTo>
                    <a:lnTo>
                      <a:pt x="49573" y="23597"/>
                    </a:lnTo>
                    <a:lnTo>
                      <a:pt x="52007" y="18780"/>
                    </a:lnTo>
                    <a:lnTo>
                      <a:pt x="54270" y="15696"/>
                    </a:lnTo>
                    <a:lnTo>
                      <a:pt x="55956" y="12852"/>
                    </a:lnTo>
                    <a:lnTo>
                      <a:pt x="56425" y="9208"/>
                    </a:lnTo>
                    <a:lnTo>
                      <a:pt x="57533" y="6778"/>
                    </a:lnTo>
                    <a:lnTo>
                      <a:pt x="90369" y="9397"/>
                    </a:lnTo>
                    <a:lnTo>
                      <a:pt x="95557" y="0"/>
                    </a:lnTo>
                    <a:lnTo>
                      <a:pt x="100989" y="290"/>
                    </a:lnTo>
                    <a:lnTo>
                      <a:pt x="96496" y="13948"/>
                    </a:lnTo>
                    <a:lnTo>
                      <a:pt x="99226" y="18475"/>
                    </a:lnTo>
                    <a:lnTo>
                      <a:pt x="109576" y="20828"/>
                    </a:lnTo>
                    <a:lnTo>
                      <a:pt x="123852" y="25955"/>
                    </a:lnTo>
                    <a:lnTo>
                      <a:pt x="135492" y="34700"/>
                    </a:lnTo>
                    <a:lnTo>
                      <a:pt x="150135" y="32460"/>
                    </a:lnTo>
                    <a:lnTo>
                      <a:pt x="166742" y="40243"/>
                    </a:lnTo>
                    <a:lnTo>
                      <a:pt x="166751" y="40244"/>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310" name="Polygon form 275"/>
              <p:cNvSpPr/>
              <p:nvPr/>
            </p:nvSpPr>
            <p:spPr>
              <a:xfrm>
                <a:off x="2041120" y="2864415"/>
                <a:ext cx="216934" cy="119806"/>
              </a:xfrm>
              <a:custGeom>
                <a:avLst/>
                <a:gdLst/>
                <a:ahLst/>
                <a:cxnLst/>
                <a:rect l="0" t="0" r="0" b="0"/>
                <a:pathLst>
                  <a:path w="216934" h="119806">
                    <a:moveTo>
                      <a:pt x="38706" y="117273"/>
                    </a:moveTo>
                    <a:lnTo>
                      <a:pt x="39141" y="113641"/>
                    </a:lnTo>
                    <a:lnTo>
                      <a:pt x="37777" y="112797"/>
                    </a:lnTo>
                    <a:lnTo>
                      <a:pt x="32605" y="117527"/>
                    </a:lnTo>
                    <a:lnTo>
                      <a:pt x="28416" y="117995"/>
                    </a:lnTo>
                    <a:lnTo>
                      <a:pt x="20146" y="115608"/>
                    </a:lnTo>
                    <a:lnTo>
                      <a:pt x="18289" y="118020"/>
                    </a:lnTo>
                    <a:lnTo>
                      <a:pt x="13498" y="116626"/>
                    </a:lnTo>
                    <a:lnTo>
                      <a:pt x="8482" y="119806"/>
                    </a:lnTo>
                    <a:lnTo>
                      <a:pt x="9395" y="113069"/>
                    </a:lnTo>
                    <a:lnTo>
                      <a:pt x="9543" y="109262"/>
                    </a:lnTo>
                    <a:lnTo>
                      <a:pt x="6605" y="108351"/>
                    </a:lnTo>
                    <a:lnTo>
                      <a:pt x="6700" y="106441"/>
                    </a:lnTo>
                    <a:lnTo>
                      <a:pt x="9555" y="99840"/>
                    </a:lnTo>
                    <a:lnTo>
                      <a:pt x="8562" y="96468"/>
                    </a:lnTo>
                    <a:lnTo>
                      <a:pt x="11473" y="88441"/>
                    </a:lnTo>
                    <a:lnTo>
                      <a:pt x="11636" y="84842"/>
                    </a:lnTo>
                    <a:lnTo>
                      <a:pt x="10103" y="83973"/>
                    </a:lnTo>
                    <a:lnTo>
                      <a:pt x="6330" y="87315"/>
                    </a:lnTo>
                    <a:lnTo>
                      <a:pt x="1360" y="89974"/>
                    </a:lnTo>
                    <a:lnTo>
                      <a:pt x="0" y="87241"/>
                    </a:lnTo>
                    <a:lnTo>
                      <a:pt x="3745" y="80862"/>
                    </a:lnTo>
                    <a:lnTo>
                      <a:pt x="6595" y="79438"/>
                    </a:lnTo>
                    <a:lnTo>
                      <a:pt x="9200" y="72925"/>
                    </a:lnTo>
                    <a:lnTo>
                      <a:pt x="14813" y="66552"/>
                    </a:lnTo>
                    <a:lnTo>
                      <a:pt x="19993" y="61225"/>
                    </a:lnTo>
                    <a:lnTo>
                      <a:pt x="15363" y="60526"/>
                    </a:lnTo>
                    <a:lnTo>
                      <a:pt x="13546" y="56537"/>
                    </a:lnTo>
                    <a:lnTo>
                      <a:pt x="14018" y="48455"/>
                    </a:lnTo>
                    <a:lnTo>
                      <a:pt x="13853" y="44360"/>
                    </a:lnTo>
                    <a:lnTo>
                      <a:pt x="11733" y="41657"/>
                    </a:lnTo>
                    <a:lnTo>
                      <a:pt x="11377" y="37416"/>
                    </a:lnTo>
                    <a:lnTo>
                      <a:pt x="14284" y="32971"/>
                    </a:lnTo>
                    <a:lnTo>
                      <a:pt x="14468" y="25997"/>
                    </a:lnTo>
                    <a:lnTo>
                      <a:pt x="30520" y="0"/>
                    </a:lnTo>
                    <a:lnTo>
                      <a:pt x="76813" y="4627"/>
                    </a:lnTo>
                    <a:lnTo>
                      <a:pt x="123324" y="9086"/>
                    </a:lnTo>
                    <a:lnTo>
                      <a:pt x="170033" y="13393"/>
                    </a:lnTo>
                    <a:lnTo>
                      <a:pt x="216934" y="17564"/>
                    </a:lnTo>
                    <a:lnTo>
                      <a:pt x="190700" y="62684"/>
                    </a:lnTo>
                    <a:lnTo>
                      <a:pt x="174589" y="92743"/>
                    </a:lnTo>
                    <a:lnTo>
                      <a:pt x="161307" y="115342"/>
                    </a:lnTo>
                    <a:lnTo>
                      <a:pt x="134250" y="112814"/>
                    </a:lnTo>
                    <a:lnTo>
                      <a:pt x="104871" y="110446"/>
                    </a:lnTo>
                    <a:lnTo>
                      <a:pt x="79759" y="107967"/>
                    </a:lnTo>
                    <a:lnTo>
                      <a:pt x="47742" y="105304"/>
                    </a:lnTo>
                    <a:lnTo>
                      <a:pt x="40491" y="117945"/>
                    </a:lnTo>
                    <a:lnTo>
                      <a:pt x="39691" y="118801"/>
                    </a:lnTo>
                    <a:lnTo>
                      <a:pt x="38706" y="117273"/>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11" name="Polygon form 276"/>
              <p:cNvSpPr/>
              <p:nvPr/>
            </p:nvSpPr>
            <p:spPr>
              <a:xfrm>
                <a:off x="1958276" y="3174451"/>
                <a:ext cx="165004" cy="144757"/>
              </a:xfrm>
              <a:custGeom>
                <a:avLst/>
                <a:gdLst/>
                <a:ahLst/>
                <a:cxnLst/>
                <a:rect l="0" t="0" r="0" b="0"/>
                <a:pathLst>
                  <a:path w="165004" h="144757">
                    <a:moveTo>
                      <a:pt x="132973" y="86246"/>
                    </a:moveTo>
                    <a:lnTo>
                      <a:pt x="115046" y="133878"/>
                    </a:lnTo>
                    <a:lnTo>
                      <a:pt x="98337" y="132864"/>
                    </a:lnTo>
                    <a:lnTo>
                      <a:pt x="65955" y="130862"/>
                    </a:lnTo>
                    <a:lnTo>
                      <a:pt x="49777" y="129844"/>
                    </a:lnTo>
                    <a:lnTo>
                      <a:pt x="49148" y="132025"/>
                    </a:lnTo>
                    <a:lnTo>
                      <a:pt x="49634" y="136220"/>
                    </a:lnTo>
                    <a:lnTo>
                      <a:pt x="18475" y="134227"/>
                    </a:lnTo>
                    <a:lnTo>
                      <a:pt x="14446" y="144757"/>
                    </a:lnTo>
                    <a:lnTo>
                      <a:pt x="0" y="143840"/>
                    </a:lnTo>
                    <a:lnTo>
                      <a:pt x="59989" y="0"/>
                    </a:lnTo>
                    <a:lnTo>
                      <a:pt x="87158" y="2006"/>
                    </a:lnTo>
                    <a:lnTo>
                      <a:pt x="114592" y="4058"/>
                    </a:lnTo>
                    <a:lnTo>
                      <a:pt x="144160" y="6178"/>
                    </a:lnTo>
                    <a:lnTo>
                      <a:pt x="165004" y="7651"/>
                    </a:lnTo>
                    <a:lnTo>
                      <a:pt x="159731" y="20135"/>
                    </a:lnTo>
                    <a:lnTo>
                      <a:pt x="132973" y="86246"/>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12" name="Polygon form 277"/>
              <p:cNvSpPr/>
              <p:nvPr/>
            </p:nvSpPr>
            <p:spPr>
              <a:xfrm>
                <a:off x="1829294" y="2918559"/>
                <a:ext cx="182283" cy="118552"/>
              </a:xfrm>
              <a:custGeom>
                <a:avLst/>
                <a:gdLst/>
                <a:ahLst/>
                <a:cxnLst/>
                <a:rect l="0" t="0" r="0" b="0"/>
                <a:pathLst>
                  <a:path w="182283" h="118552">
                    <a:moveTo>
                      <a:pt x="118181" y="118485"/>
                    </a:moveTo>
                    <a:lnTo>
                      <a:pt x="118142" y="118552"/>
                    </a:lnTo>
                    <a:lnTo>
                      <a:pt x="69081" y="114064"/>
                    </a:lnTo>
                    <a:lnTo>
                      <a:pt x="0" y="107077"/>
                    </a:lnTo>
                    <a:lnTo>
                      <a:pt x="6732" y="87203"/>
                    </a:lnTo>
                    <a:lnTo>
                      <a:pt x="28020" y="64145"/>
                    </a:lnTo>
                    <a:lnTo>
                      <a:pt x="61586" y="19106"/>
                    </a:lnTo>
                    <a:lnTo>
                      <a:pt x="72798" y="0"/>
                    </a:lnTo>
                    <a:lnTo>
                      <a:pt x="76265" y="404"/>
                    </a:lnTo>
                    <a:lnTo>
                      <a:pt x="80980" y="1043"/>
                    </a:lnTo>
                    <a:lnTo>
                      <a:pt x="83264" y="3720"/>
                    </a:lnTo>
                    <a:lnTo>
                      <a:pt x="86877" y="5633"/>
                    </a:lnTo>
                    <a:lnTo>
                      <a:pt x="86615" y="10703"/>
                    </a:lnTo>
                    <a:lnTo>
                      <a:pt x="84246" y="14928"/>
                    </a:lnTo>
                    <a:lnTo>
                      <a:pt x="83098" y="18549"/>
                    </a:lnTo>
                    <a:lnTo>
                      <a:pt x="86133" y="19886"/>
                    </a:lnTo>
                    <a:lnTo>
                      <a:pt x="90077" y="20217"/>
                    </a:lnTo>
                    <a:lnTo>
                      <a:pt x="97944" y="18222"/>
                    </a:lnTo>
                    <a:lnTo>
                      <a:pt x="102062" y="17807"/>
                    </a:lnTo>
                    <a:lnTo>
                      <a:pt x="107024" y="19466"/>
                    </a:lnTo>
                    <a:lnTo>
                      <a:pt x="108665" y="21030"/>
                    </a:lnTo>
                    <a:lnTo>
                      <a:pt x="112567" y="20492"/>
                    </a:lnTo>
                    <a:lnTo>
                      <a:pt x="117492" y="18849"/>
                    </a:lnTo>
                    <a:lnTo>
                      <a:pt x="124442" y="19917"/>
                    </a:lnTo>
                    <a:lnTo>
                      <a:pt x="132108" y="17780"/>
                    </a:lnTo>
                    <a:lnTo>
                      <a:pt x="136521" y="16070"/>
                    </a:lnTo>
                    <a:lnTo>
                      <a:pt x="139860" y="17575"/>
                    </a:lnTo>
                    <a:lnTo>
                      <a:pt x="147229" y="15562"/>
                    </a:lnTo>
                    <a:lnTo>
                      <a:pt x="180131" y="18666"/>
                    </a:lnTo>
                    <a:lnTo>
                      <a:pt x="180870" y="23825"/>
                    </a:lnTo>
                    <a:lnTo>
                      <a:pt x="182283" y="26100"/>
                    </a:lnTo>
                    <a:lnTo>
                      <a:pt x="180777" y="29961"/>
                    </a:lnTo>
                    <a:lnTo>
                      <a:pt x="177143" y="33042"/>
                    </a:lnTo>
                    <a:lnTo>
                      <a:pt x="171008" y="39248"/>
                    </a:lnTo>
                    <a:lnTo>
                      <a:pt x="163753" y="47069"/>
                    </a:lnTo>
                    <a:lnTo>
                      <a:pt x="157257" y="51669"/>
                    </a:lnTo>
                    <a:lnTo>
                      <a:pt x="151524" y="57115"/>
                    </a:lnTo>
                    <a:lnTo>
                      <a:pt x="149063" y="61104"/>
                    </a:lnTo>
                    <a:lnTo>
                      <a:pt x="151061" y="63087"/>
                    </a:lnTo>
                    <a:lnTo>
                      <a:pt x="150409" y="66466"/>
                    </a:lnTo>
                    <a:lnTo>
                      <a:pt x="144728" y="73436"/>
                    </a:lnTo>
                    <a:lnTo>
                      <a:pt x="118181" y="118485"/>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13" name="Polygon form 278"/>
              <p:cNvSpPr/>
              <p:nvPr/>
            </p:nvSpPr>
            <p:spPr>
              <a:xfrm>
                <a:off x="1931907" y="3041704"/>
                <a:ext cx="134969" cy="132748"/>
              </a:xfrm>
              <a:custGeom>
                <a:avLst/>
                <a:gdLst/>
                <a:ahLst/>
                <a:cxnLst/>
                <a:rect l="0" t="0" r="0" b="0"/>
                <a:pathLst>
                  <a:path w="134969" h="132748">
                    <a:moveTo>
                      <a:pt x="134969" y="31944"/>
                    </a:moveTo>
                    <a:lnTo>
                      <a:pt x="86359" y="132748"/>
                    </a:lnTo>
                    <a:lnTo>
                      <a:pt x="61292" y="130665"/>
                    </a:lnTo>
                    <a:lnTo>
                      <a:pt x="28060" y="128051"/>
                    </a:lnTo>
                    <a:lnTo>
                      <a:pt x="0" y="126242"/>
                    </a:lnTo>
                    <a:lnTo>
                      <a:pt x="65027" y="0"/>
                    </a:lnTo>
                    <a:lnTo>
                      <a:pt x="114707" y="4103"/>
                    </a:lnTo>
                    <a:lnTo>
                      <a:pt x="101694" y="28515"/>
                    </a:lnTo>
                    <a:lnTo>
                      <a:pt x="134969" y="31944"/>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14" name="Polygon form 279"/>
              <p:cNvSpPr/>
              <p:nvPr/>
            </p:nvSpPr>
            <p:spPr>
              <a:xfrm>
                <a:off x="2033601" y="2969719"/>
                <a:ext cx="168825" cy="110535"/>
              </a:xfrm>
              <a:custGeom>
                <a:avLst/>
                <a:gdLst/>
                <a:ahLst/>
                <a:cxnLst/>
                <a:rect l="0" t="0" r="0" b="0"/>
                <a:pathLst>
                  <a:path w="168825" h="110535">
                    <a:moveTo>
                      <a:pt x="48010" y="12640"/>
                    </a:moveTo>
                    <a:lnTo>
                      <a:pt x="55261" y="0"/>
                    </a:lnTo>
                    <a:lnTo>
                      <a:pt x="87278" y="2663"/>
                    </a:lnTo>
                    <a:lnTo>
                      <a:pt x="112389" y="5142"/>
                    </a:lnTo>
                    <a:lnTo>
                      <a:pt x="141769" y="7509"/>
                    </a:lnTo>
                    <a:lnTo>
                      <a:pt x="168825" y="10038"/>
                    </a:lnTo>
                    <a:lnTo>
                      <a:pt x="142482" y="60741"/>
                    </a:lnTo>
                    <a:lnTo>
                      <a:pt x="117718" y="110535"/>
                    </a:lnTo>
                    <a:lnTo>
                      <a:pt x="100793" y="109248"/>
                    </a:lnTo>
                    <a:lnTo>
                      <a:pt x="67002" y="106628"/>
                    </a:lnTo>
                    <a:lnTo>
                      <a:pt x="50142" y="105280"/>
                    </a:lnTo>
                    <a:lnTo>
                      <a:pt x="33275" y="103928"/>
                    </a:lnTo>
                    <a:lnTo>
                      <a:pt x="0" y="100500"/>
                    </a:lnTo>
                    <a:lnTo>
                      <a:pt x="13013" y="76087"/>
                    </a:lnTo>
                    <a:lnTo>
                      <a:pt x="47529" y="13996"/>
                    </a:lnTo>
                    <a:lnTo>
                      <a:pt x="47209" y="13497"/>
                    </a:lnTo>
                    <a:lnTo>
                      <a:pt x="48010" y="12640"/>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315" name="Polygon form 280"/>
              <p:cNvSpPr/>
              <p:nvPr/>
            </p:nvSpPr>
            <p:spPr>
              <a:xfrm>
                <a:off x="2241175" y="3202992"/>
                <a:ext cx="106959" cy="91905"/>
              </a:xfrm>
              <a:custGeom>
                <a:avLst/>
                <a:gdLst/>
                <a:ahLst/>
                <a:cxnLst/>
                <a:rect l="0" t="0" r="0" b="0"/>
                <a:pathLst>
                  <a:path w="106959" h="91905">
                    <a:moveTo>
                      <a:pt x="106959" y="18028"/>
                    </a:moveTo>
                    <a:lnTo>
                      <a:pt x="106032" y="20089"/>
                    </a:lnTo>
                    <a:lnTo>
                      <a:pt x="102981" y="23501"/>
                    </a:lnTo>
                    <a:lnTo>
                      <a:pt x="99011" y="25757"/>
                    </a:lnTo>
                    <a:lnTo>
                      <a:pt x="96861" y="29854"/>
                    </a:lnTo>
                    <a:lnTo>
                      <a:pt x="92894" y="32974"/>
                    </a:lnTo>
                    <a:lnTo>
                      <a:pt x="90558" y="40254"/>
                    </a:lnTo>
                    <a:lnTo>
                      <a:pt x="87710" y="42468"/>
                    </a:lnTo>
                    <a:lnTo>
                      <a:pt x="86680" y="44433"/>
                    </a:lnTo>
                    <a:lnTo>
                      <a:pt x="82852" y="46123"/>
                    </a:lnTo>
                    <a:lnTo>
                      <a:pt x="81528" y="49743"/>
                    </a:lnTo>
                    <a:lnTo>
                      <a:pt x="76826" y="56306"/>
                    </a:lnTo>
                    <a:lnTo>
                      <a:pt x="74278" y="57611"/>
                    </a:lnTo>
                    <a:lnTo>
                      <a:pt x="69949" y="60840"/>
                    </a:lnTo>
                    <a:lnTo>
                      <a:pt x="66288" y="65901"/>
                    </a:lnTo>
                    <a:lnTo>
                      <a:pt x="59404" y="74419"/>
                    </a:lnTo>
                    <a:lnTo>
                      <a:pt x="56994" y="80334"/>
                    </a:lnTo>
                    <a:lnTo>
                      <a:pt x="56871" y="87019"/>
                    </a:lnTo>
                    <a:lnTo>
                      <a:pt x="54369" y="91905"/>
                    </a:lnTo>
                    <a:lnTo>
                      <a:pt x="39432" y="90249"/>
                    </a:lnTo>
                    <a:lnTo>
                      <a:pt x="19480" y="90029"/>
                    </a:lnTo>
                    <a:lnTo>
                      <a:pt x="2118" y="89042"/>
                    </a:lnTo>
                    <a:lnTo>
                      <a:pt x="8072" y="74841"/>
                    </a:lnTo>
                    <a:lnTo>
                      <a:pt x="3959" y="74517"/>
                    </a:lnTo>
                    <a:lnTo>
                      <a:pt x="362" y="74655"/>
                    </a:lnTo>
                    <a:lnTo>
                      <a:pt x="0" y="72955"/>
                    </a:lnTo>
                    <a:lnTo>
                      <a:pt x="8316" y="51032"/>
                    </a:lnTo>
                    <a:lnTo>
                      <a:pt x="17619" y="26676"/>
                    </a:lnTo>
                    <a:lnTo>
                      <a:pt x="24129" y="0"/>
                    </a:lnTo>
                    <a:lnTo>
                      <a:pt x="45391" y="1644"/>
                    </a:lnTo>
                    <a:lnTo>
                      <a:pt x="64834" y="2862"/>
                    </a:lnTo>
                    <a:lnTo>
                      <a:pt x="83434" y="3958"/>
                    </a:lnTo>
                    <a:lnTo>
                      <a:pt x="102967" y="6641"/>
                    </a:lnTo>
                    <a:lnTo>
                      <a:pt x="103312" y="9812"/>
                    </a:lnTo>
                    <a:lnTo>
                      <a:pt x="100350" y="12379"/>
                    </a:lnTo>
                    <a:lnTo>
                      <a:pt x="97392" y="14960"/>
                    </a:lnTo>
                    <a:lnTo>
                      <a:pt x="95411" y="17380"/>
                    </a:lnTo>
                    <a:lnTo>
                      <a:pt x="106959" y="18028"/>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16" name="Polygon form 281"/>
              <p:cNvSpPr/>
              <p:nvPr/>
            </p:nvSpPr>
            <p:spPr>
              <a:xfrm>
                <a:off x="2286601" y="3027450"/>
                <a:ext cx="112341" cy="83598"/>
              </a:xfrm>
              <a:custGeom>
                <a:avLst/>
                <a:gdLst/>
                <a:ahLst/>
                <a:cxnLst/>
                <a:rect l="0" t="0" r="0" b="0"/>
                <a:pathLst>
                  <a:path w="112341" h="83598">
                    <a:moveTo>
                      <a:pt x="112341" y="41985"/>
                    </a:moveTo>
                    <a:lnTo>
                      <a:pt x="108588" y="48579"/>
                    </a:lnTo>
                    <a:lnTo>
                      <a:pt x="103053" y="53984"/>
                    </a:lnTo>
                    <a:lnTo>
                      <a:pt x="101162" y="55694"/>
                    </a:lnTo>
                    <a:lnTo>
                      <a:pt x="96664" y="56873"/>
                    </a:lnTo>
                    <a:lnTo>
                      <a:pt x="90297" y="57717"/>
                    </a:lnTo>
                    <a:lnTo>
                      <a:pt x="86962" y="61881"/>
                    </a:lnTo>
                    <a:lnTo>
                      <a:pt x="88267" y="63945"/>
                    </a:lnTo>
                    <a:lnTo>
                      <a:pt x="87369" y="67835"/>
                    </a:lnTo>
                    <a:lnTo>
                      <a:pt x="83333" y="71983"/>
                    </a:lnTo>
                    <a:lnTo>
                      <a:pt x="80616" y="75678"/>
                    </a:lnTo>
                    <a:lnTo>
                      <a:pt x="74688" y="79089"/>
                    </a:lnTo>
                    <a:lnTo>
                      <a:pt x="72457" y="83598"/>
                    </a:lnTo>
                    <a:lnTo>
                      <a:pt x="70969" y="81373"/>
                    </a:lnTo>
                    <a:lnTo>
                      <a:pt x="69377" y="77146"/>
                    </a:lnTo>
                    <a:lnTo>
                      <a:pt x="50433" y="76479"/>
                    </a:lnTo>
                    <a:lnTo>
                      <a:pt x="30674" y="75376"/>
                    </a:lnTo>
                    <a:lnTo>
                      <a:pt x="15334" y="74398"/>
                    </a:lnTo>
                    <a:lnTo>
                      <a:pt x="0" y="73355"/>
                    </a:lnTo>
                    <a:lnTo>
                      <a:pt x="864" y="68776"/>
                    </a:lnTo>
                    <a:lnTo>
                      <a:pt x="3312" y="64360"/>
                    </a:lnTo>
                    <a:lnTo>
                      <a:pt x="4852" y="60046"/>
                    </a:lnTo>
                    <a:lnTo>
                      <a:pt x="6320" y="52758"/>
                    </a:lnTo>
                    <a:lnTo>
                      <a:pt x="6531" y="49708"/>
                    </a:lnTo>
                    <a:lnTo>
                      <a:pt x="5674" y="48822"/>
                    </a:lnTo>
                    <a:lnTo>
                      <a:pt x="8158" y="43069"/>
                    </a:lnTo>
                    <a:lnTo>
                      <a:pt x="8974" y="38882"/>
                    </a:lnTo>
                    <a:lnTo>
                      <a:pt x="8062" y="33990"/>
                    </a:lnTo>
                    <a:lnTo>
                      <a:pt x="9044" y="31944"/>
                    </a:lnTo>
                    <a:lnTo>
                      <a:pt x="9876" y="27771"/>
                    </a:lnTo>
                    <a:lnTo>
                      <a:pt x="10269" y="25249"/>
                    </a:lnTo>
                    <a:lnTo>
                      <a:pt x="11356" y="22980"/>
                    </a:lnTo>
                    <a:lnTo>
                      <a:pt x="9929" y="20030"/>
                    </a:lnTo>
                    <a:lnTo>
                      <a:pt x="13194" y="16058"/>
                    </a:lnTo>
                    <a:lnTo>
                      <a:pt x="15940" y="12146"/>
                    </a:lnTo>
                    <a:lnTo>
                      <a:pt x="17614" y="9485"/>
                    </a:lnTo>
                    <a:lnTo>
                      <a:pt x="17048" y="6041"/>
                    </a:lnTo>
                    <a:lnTo>
                      <a:pt x="19958" y="0"/>
                    </a:lnTo>
                    <a:lnTo>
                      <a:pt x="22188" y="147"/>
                    </a:lnTo>
                    <a:lnTo>
                      <a:pt x="40397" y="1495"/>
                    </a:lnTo>
                    <a:lnTo>
                      <a:pt x="63245" y="2769"/>
                    </a:lnTo>
                    <a:lnTo>
                      <a:pt x="87745" y="4302"/>
                    </a:lnTo>
                    <a:lnTo>
                      <a:pt x="109497" y="6249"/>
                    </a:lnTo>
                    <a:lnTo>
                      <a:pt x="109129" y="7611"/>
                    </a:lnTo>
                    <a:lnTo>
                      <a:pt x="109549" y="11679"/>
                    </a:lnTo>
                    <a:lnTo>
                      <a:pt x="107210" y="13449"/>
                    </a:lnTo>
                    <a:lnTo>
                      <a:pt x="104945" y="18645"/>
                    </a:lnTo>
                    <a:lnTo>
                      <a:pt x="104648" y="20900"/>
                    </a:lnTo>
                    <a:lnTo>
                      <a:pt x="103997" y="24897"/>
                    </a:lnTo>
                    <a:lnTo>
                      <a:pt x="108460" y="27629"/>
                    </a:lnTo>
                    <a:lnTo>
                      <a:pt x="108448" y="31518"/>
                    </a:lnTo>
                    <a:lnTo>
                      <a:pt x="108611" y="33467"/>
                    </a:lnTo>
                    <a:lnTo>
                      <a:pt x="110060" y="34853"/>
                    </a:lnTo>
                    <a:lnTo>
                      <a:pt x="109708" y="37576"/>
                    </a:lnTo>
                    <a:lnTo>
                      <a:pt x="111511" y="39738"/>
                    </a:lnTo>
                    <a:lnTo>
                      <a:pt x="112341" y="41985"/>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17" name="Polygon form 282"/>
              <p:cNvSpPr/>
              <p:nvPr/>
            </p:nvSpPr>
            <p:spPr>
              <a:xfrm>
                <a:off x="2140022" y="3107863"/>
                <a:ext cx="153301" cy="83648"/>
              </a:xfrm>
              <a:custGeom>
                <a:avLst/>
                <a:gdLst/>
                <a:ahLst/>
                <a:cxnLst/>
                <a:rect l="0" t="0" r="0" b="0"/>
                <a:pathLst>
                  <a:path w="153301" h="83648">
                    <a:moveTo>
                      <a:pt x="151676" y="30254"/>
                    </a:moveTo>
                    <a:lnTo>
                      <a:pt x="140558" y="56954"/>
                    </a:lnTo>
                    <a:lnTo>
                      <a:pt x="129836" y="83648"/>
                    </a:lnTo>
                    <a:lnTo>
                      <a:pt x="114445" y="82726"/>
                    </a:lnTo>
                    <a:lnTo>
                      <a:pt x="82909" y="80783"/>
                    </a:lnTo>
                    <a:lnTo>
                      <a:pt x="51395" y="78806"/>
                    </a:lnTo>
                    <a:lnTo>
                      <a:pt x="33906" y="77684"/>
                    </a:lnTo>
                    <a:lnTo>
                      <a:pt x="16439" y="76548"/>
                    </a:lnTo>
                    <a:lnTo>
                      <a:pt x="0" y="75466"/>
                    </a:lnTo>
                    <a:lnTo>
                      <a:pt x="15978" y="38605"/>
                    </a:lnTo>
                    <a:lnTo>
                      <a:pt x="33271" y="0"/>
                    </a:lnTo>
                    <a:lnTo>
                      <a:pt x="33307" y="3"/>
                    </a:lnTo>
                    <a:lnTo>
                      <a:pt x="63152" y="2148"/>
                    </a:lnTo>
                    <a:lnTo>
                      <a:pt x="85381" y="3713"/>
                    </a:lnTo>
                    <a:lnTo>
                      <a:pt x="124774" y="6405"/>
                    </a:lnTo>
                    <a:lnTo>
                      <a:pt x="148385" y="7986"/>
                    </a:lnTo>
                    <a:lnTo>
                      <a:pt x="151042" y="11576"/>
                    </a:lnTo>
                    <a:lnTo>
                      <a:pt x="153301" y="11670"/>
                    </a:lnTo>
                    <a:lnTo>
                      <a:pt x="152256" y="15313"/>
                    </a:lnTo>
                    <a:lnTo>
                      <a:pt x="147879" y="19768"/>
                    </a:lnTo>
                    <a:lnTo>
                      <a:pt x="148190" y="22226"/>
                    </a:lnTo>
                    <a:lnTo>
                      <a:pt x="148119" y="27600"/>
                    </a:lnTo>
                    <a:lnTo>
                      <a:pt x="151676" y="30254"/>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18" name="Polygon form 283"/>
              <p:cNvSpPr/>
              <p:nvPr/>
            </p:nvSpPr>
            <p:spPr>
              <a:xfrm>
                <a:off x="2265304" y="3100804"/>
                <a:ext cx="101085" cy="120215"/>
              </a:xfrm>
              <a:custGeom>
                <a:avLst/>
                <a:gdLst/>
                <a:ahLst/>
                <a:cxnLst/>
                <a:rect l="0" t="0" r="0" b="0"/>
                <a:pathLst>
                  <a:path w="101085" h="120215">
                    <a:moveTo>
                      <a:pt x="4648" y="90712"/>
                    </a:moveTo>
                    <a:lnTo>
                      <a:pt x="4555" y="90707"/>
                    </a:lnTo>
                    <a:lnTo>
                      <a:pt x="15276" y="64012"/>
                    </a:lnTo>
                    <a:lnTo>
                      <a:pt x="26395" y="37312"/>
                    </a:lnTo>
                    <a:lnTo>
                      <a:pt x="22838" y="34658"/>
                    </a:lnTo>
                    <a:lnTo>
                      <a:pt x="22909" y="29284"/>
                    </a:lnTo>
                    <a:lnTo>
                      <a:pt x="22598" y="26826"/>
                    </a:lnTo>
                    <a:lnTo>
                      <a:pt x="26974" y="22371"/>
                    </a:lnTo>
                    <a:lnTo>
                      <a:pt x="28019" y="18729"/>
                    </a:lnTo>
                    <a:lnTo>
                      <a:pt x="25760" y="18634"/>
                    </a:lnTo>
                    <a:lnTo>
                      <a:pt x="23104" y="15044"/>
                    </a:lnTo>
                    <a:lnTo>
                      <a:pt x="23177" y="9574"/>
                    </a:lnTo>
                    <a:lnTo>
                      <a:pt x="21897" y="6209"/>
                    </a:lnTo>
                    <a:lnTo>
                      <a:pt x="20740" y="2077"/>
                    </a:lnTo>
                    <a:lnTo>
                      <a:pt x="21297" y="0"/>
                    </a:lnTo>
                    <a:lnTo>
                      <a:pt x="36631" y="1043"/>
                    </a:lnTo>
                    <a:lnTo>
                      <a:pt x="51971" y="2021"/>
                    </a:lnTo>
                    <a:lnTo>
                      <a:pt x="71730" y="3124"/>
                    </a:lnTo>
                    <a:lnTo>
                      <a:pt x="90674" y="3791"/>
                    </a:lnTo>
                    <a:lnTo>
                      <a:pt x="92266" y="8018"/>
                    </a:lnTo>
                    <a:lnTo>
                      <a:pt x="93754" y="10243"/>
                    </a:lnTo>
                    <a:lnTo>
                      <a:pt x="89699" y="16324"/>
                    </a:lnTo>
                    <a:lnTo>
                      <a:pt x="88188" y="23847"/>
                    </a:lnTo>
                    <a:lnTo>
                      <a:pt x="88961" y="29139"/>
                    </a:lnTo>
                    <a:lnTo>
                      <a:pt x="90554" y="33565"/>
                    </a:lnTo>
                    <a:lnTo>
                      <a:pt x="93194" y="37150"/>
                    </a:lnTo>
                    <a:lnTo>
                      <a:pt x="94336" y="38378"/>
                    </a:lnTo>
                    <a:lnTo>
                      <a:pt x="93900" y="43202"/>
                    </a:lnTo>
                    <a:lnTo>
                      <a:pt x="92531" y="47376"/>
                    </a:lnTo>
                    <a:lnTo>
                      <a:pt x="94105" y="48535"/>
                    </a:lnTo>
                    <a:lnTo>
                      <a:pt x="98016" y="47128"/>
                    </a:lnTo>
                    <a:lnTo>
                      <a:pt x="99756" y="51327"/>
                    </a:lnTo>
                    <a:lnTo>
                      <a:pt x="96982" y="55859"/>
                    </a:lnTo>
                    <a:lnTo>
                      <a:pt x="93966" y="59382"/>
                    </a:lnTo>
                    <a:lnTo>
                      <a:pt x="91151" y="63686"/>
                    </a:lnTo>
                    <a:lnTo>
                      <a:pt x="92186" y="67572"/>
                    </a:lnTo>
                    <a:lnTo>
                      <a:pt x="94299" y="71292"/>
                    </a:lnTo>
                    <a:lnTo>
                      <a:pt x="96242" y="71501"/>
                    </a:lnTo>
                    <a:lnTo>
                      <a:pt x="98754" y="77233"/>
                    </a:lnTo>
                    <a:lnTo>
                      <a:pt x="100246" y="78073"/>
                    </a:lnTo>
                    <a:lnTo>
                      <a:pt x="99300" y="84167"/>
                    </a:lnTo>
                    <a:lnTo>
                      <a:pt x="97257" y="87872"/>
                    </a:lnTo>
                    <a:lnTo>
                      <a:pt x="97246" y="94114"/>
                    </a:lnTo>
                    <a:lnTo>
                      <a:pt x="99382" y="93576"/>
                    </a:lnTo>
                    <a:lnTo>
                      <a:pt x="101085" y="97614"/>
                    </a:lnTo>
                    <a:lnTo>
                      <a:pt x="99622" y="100087"/>
                    </a:lnTo>
                    <a:lnTo>
                      <a:pt x="98534" y="104020"/>
                    </a:lnTo>
                    <a:lnTo>
                      <a:pt x="94984" y="105932"/>
                    </a:lnTo>
                    <a:lnTo>
                      <a:pt x="90074" y="108334"/>
                    </a:lnTo>
                    <a:lnTo>
                      <a:pt x="88743" y="110721"/>
                    </a:lnTo>
                    <a:lnTo>
                      <a:pt x="86389" y="114209"/>
                    </a:lnTo>
                    <a:lnTo>
                      <a:pt x="82830" y="120215"/>
                    </a:lnTo>
                    <a:lnTo>
                      <a:pt x="71282" y="119567"/>
                    </a:lnTo>
                    <a:lnTo>
                      <a:pt x="73263" y="117147"/>
                    </a:lnTo>
                    <a:lnTo>
                      <a:pt x="76221" y="114566"/>
                    </a:lnTo>
                    <a:lnTo>
                      <a:pt x="79183" y="111999"/>
                    </a:lnTo>
                    <a:lnTo>
                      <a:pt x="78838" y="108828"/>
                    </a:lnTo>
                    <a:lnTo>
                      <a:pt x="59305" y="106145"/>
                    </a:lnTo>
                    <a:lnTo>
                      <a:pt x="40705" y="105049"/>
                    </a:lnTo>
                    <a:lnTo>
                      <a:pt x="21262" y="103831"/>
                    </a:lnTo>
                    <a:lnTo>
                      <a:pt x="0" y="102187"/>
                    </a:lnTo>
                    <a:lnTo>
                      <a:pt x="4648" y="90712"/>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19" name="Polygon form 284"/>
              <p:cNvSpPr/>
              <p:nvPr/>
            </p:nvSpPr>
            <p:spPr>
              <a:xfrm>
                <a:off x="2151319" y="3030461"/>
                <a:ext cx="145551" cy="85388"/>
              </a:xfrm>
              <a:custGeom>
                <a:avLst/>
                <a:gdLst/>
                <a:ahLst/>
                <a:cxnLst/>
                <a:rect l="0" t="0" r="0" b="0"/>
                <a:pathLst>
                  <a:path w="145551" h="85388">
                    <a:moveTo>
                      <a:pt x="137162" y="79918"/>
                    </a:moveTo>
                    <a:lnTo>
                      <a:pt x="137089" y="85388"/>
                    </a:lnTo>
                    <a:lnTo>
                      <a:pt x="113478" y="83807"/>
                    </a:lnTo>
                    <a:lnTo>
                      <a:pt x="74085" y="81115"/>
                    </a:lnTo>
                    <a:lnTo>
                      <a:pt x="51856" y="79550"/>
                    </a:lnTo>
                    <a:lnTo>
                      <a:pt x="22011" y="77405"/>
                    </a:lnTo>
                    <a:lnTo>
                      <a:pt x="21975" y="77402"/>
                    </a:lnTo>
                    <a:lnTo>
                      <a:pt x="22349" y="76595"/>
                    </a:lnTo>
                    <a:lnTo>
                      <a:pt x="33777" y="52337"/>
                    </a:lnTo>
                    <a:lnTo>
                      <a:pt x="0" y="49794"/>
                    </a:lnTo>
                    <a:lnTo>
                      <a:pt x="24765" y="0"/>
                    </a:lnTo>
                    <a:lnTo>
                      <a:pt x="57250" y="2545"/>
                    </a:lnTo>
                    <a:lnTo>
                      <a:pt x="82250" y="4459"/>
                    </a:lnTo>
                    <a:lnTo>
                      <a:pt x="115731" y="6962"/>
                    </a:lnTo>
                    <a:lnTo>
                      <a:pt x="118533" y="10418"/>
                    </a:lnTo>
                    <a:lnTo>
                      <a:pt x="123743" y="12838"/>
                    </a:lnTo>
                    <a:lnTo>
                      <a:pt x="125728" y="11814"/>
                    </a:lnTo>
                    <a:lnTo>
                      <a:pt x="129663" y="12195"/>
                    </a:lnTo>
                    <a:lnTo>
                      <a:pt x="135764" y="12378"/>
                    </a:lnTo>
                    <a:lnTo>
                      <a:pt x="138590" y="15881"/>
                    </a:lnTo>
                    <a:lnTo>
                      <a:pt x="142212" y="18284"/>
                    </a:lnTo>
                    <a:lnTo>
                      <a:pt x="142009" y="20400"/>
                    </a:lnTo>
                    <a:lnTo>
                      <a:pt x="142891" y="21696"/>
                    </a:lnTo>
                    <a:lnTo>
                      <a:pt x="145551" y="22238"/>
                    </a:lnTo>
                    <a:lnTo>
                      <a:pt x="145158" y="24760"/>
                    </a:lnTo>
                    <a:lnTo>
                      <a:pt x="144327" y="28933"/>
                    </a:lnTo>
                    <a:lnTo>
                      <a:pt x="143344" y="30979"/>
                    </a:lnTo>
                    <a:lnTo>
                      <a:pt x="144256" y="35871"/>
                    </a:lnTo>
                    <a:lnTo>
                      <a:pt x="143441" y="40058"/>
                    </a:lnTo>
                    <a:lnTo>
                      <a:pt x="140956" y="45811"/>
                    </a:lnTo>
                    <a:lnTo>
                      <a:pt x="141813" y="46698"/>
                    </a:lnTo>
                    <a:lnTo>
                      <a:pt x="141603" y="49747"/>
                    </a:lnTo>
                    <a:lnTo>
                      <a:pt x="140134" y="57035"/>
                    </a:lnTo>
                    <a:lnTo>
                      <a:pt x="138594" y="61349"/>
                    </a:lnTo>
                    <a:lnTo>
                      <a:pt x="136146" y="65766"/>
                    </a:lnTo>
                    <a:lnTo>
                      <a:pt x="135282" y="70344"/>
                    </a:lnTo>
                    <a:lnTo>
                      <a:pt x="134725" y="72421"/>
                    </a:lnTo>
                    <a:lnTo>
                      <a:pt x="135882" y="76553"/>
                    </a:lnTo>
                    <a:lnTo>
                      <a:pt x="137162" y="79918"/>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20" name="Polygon form 285"/>
              <p:cNvSpPr/>
              <p:nvPr/>
            </p:nvSpPr>
            <p:spPr>
              <a:xfrm>
                <a:off x="2118007" y="3182102"/>
                <a:ext cx="151945" cy="93844"/>
              </a:xfrm>
              <a:custGeom>
                <a:avLst/>
                <a:gdLst/>
                <a:ahLst/>
                <a:cxnLst/>
                <a:rect l="0" t="0" r="0" b="0"/>
                <a:pathLst>
                  <a:path w="151945" h="93844">
                    <a:moveTo>
                      <a:pt x="147297" y="20890"/>
                    </a:moveTo>
                    <a:lnTo>
                      <a:pt x="140787" y="47565"/>
                    </a:lnTo>
                    <a:lnTo>
                      <a:pt x="131484" y="71922"/>
                    </a:lnTo>
                    <a:lnTo>
                      <a:pt x="123168" y="93844"/>
                    </a:lnTo>
                    <a:lnTo>
                      <a:pt x="117198" y="88492"/>
                    </a:lnTo>
                    <a:lnTo>
                      <a:pt x="113133" y="85535"/>
                    </a:lnTo>
                    <a:lnTo>
                      <a:pt x="108457" y="87004"/>
                    </a:lnTo>
                    <a:lnTo>
                      <a:pt x="102270" y="86377"/>
                    </a:lnTo>
                    <a:lnTo>
                      <a:pt x="98538" y="86202"/>
                    </a:lnTo>
                    <a:lnTo>
                      <a:pt x="94736" y="88074"/>
                    </a:lnTo>
                    <a:lnTo>
                      <a:pt x="91368" y="88952"/>
                    </a:lnTo>
                    <a:lnTo>
                      <a:pt x="89192" y="87563"/>
                    </a:lnTo>
                    <a:lnTo>
                      <a:pt x="82732" y="88574"/>
                    </a:lnTo>
                    <a:lnTo>
                      <a:pt x="81547" y="84223"/>
                    </a:lnTo>
                    <a:lnTo>
                      <a:pt x="77437" y="87694"/>
                    </a:lnTo>
                    <a:lnTo>
                      <a:pt x="73158" y="85784"/>
                    </a:lnTo>
                    <a:lnTo>
                      <a:pt x="69584" y="81573"/>
                    </a:lnTo>
                    <a:lnTo>
                      <a:pt x="63302" y="83773"/>
                    </a:lnTo>
                    <a:lnTo>
                      <a:pt x="63200" y="77572"/>
                    </a:lnTo>
                    <a:lnTo>
                      <a:pt x="54677" y="77674"/>
                    </a:lnTo>
                    <a:lnTo>
                      <a:pt x="49876" y="75994"/>
                    </a:lnTo>
                    <a:lnTo>
                      <a:pt x="44573" y="73845"/>
                    </a:lnTo>
                    <a:lnTo>
                      <a:pt x="43905" y="68458"/>
                    </a:lnTo>
                    <a:lnTo>
                      <a:pt x="38590" y="69850"/>
                    </a:lnTo>
                    <a:lnTo>
                      <a:pt x="36485" y="67619"/>
                    </a:lnTo>
                    <a:lnTo>
                      <a:pt x="33282" y="64649"/>
                    </a:lnTo>
                    <a:lnTo>
                      <a:pt x="42658" y="40612"/>
                    </a:lnTo>
                    <a:lnTo>
                      <a:pt x="52559" y="15986"/>
                    </a:lnTo>
                    <a:lnTo>
                      <a:pt x="35024" y="14833"/>
                    </a:lnTo>
                    <a:lnTo>
                      <a:pt x="17501" y="13666"/>
                    </a:lnTo>
                    <a:lnTo>
                      <a:pt x="0" y="12484"/>
                    </a:lnTo>
                    <a:lnTo>
                      <a:pt x="5273" y="0"/>
                    </a:lnTo>
                    <a:lnTo>
                      <a:pt x="22015" y="1227"/>
                    </a:lnTo>
                    <a:lnTo>
                      <a:pt x="38455" y="2309"/>
                    </a:lnTo>
                    <a:lnTo>
                      <a:pt x="55922" y="3445"/>
                    </a:lnTo>
                    <a:lnTo>
                      <a:pt x="73411" y="4567"/>
                    </a:lnTo>
                    <a:lnTo>
                      <a:pt x="104924" y="6544"/>
                    </a:lnTo>
                    <a:lnTo>
                      <a:pt x="136461" y="8486"/>
                    </a:lnTo>
                    <a:lnTo>
                      <a:pt x="151852" y="9409"/>
                    </a:lnTo>
                    <a:lnTo>
                      <a:pt x="151945" y="9415"/>
                    </a:lnTo>
                    <a:lnTo>
                      <a:pt x="147297" y="20890"/>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21" name="Polygon form 286"/>
              <p:cNvSpPr/>
              <p:nvPr/>
            </p:nvSpPr>
            <p:spPr>
              <a:xfrm>
                <a:off x="2215708" y="2881979"/>
                <a:ext cx="150613" cy="83352"/>
              </a:xfrm>
              <a:custGeom>
                <a:avLst/>
                <a:gdLst/>
                <a:ahLst/>
                <a:cxnLst/>
                <a:rect l="0" t="0" r="0" b="0"/>
                <a:pathLst>
                  <a:path w="150613" h="83352">
                    <a:moveTo>
                      <a:pt x="125712" y="75062"/>
                    </a:moveTo>
                    <a:lnTo>
                      <a:pt x="124796" y="78880"/>
                    </a:lnTo>
                    <a:lnTo>
                      <a:pt x="122488" y="83352"/>
                    </a:lnTo>
                    <a:lnTo>
                      <a:pt x="90783" y="82319"/>
                    </a:lnTo>
                    <a:lnTo>
                      <a:pt x="64364" y="80192"/>
                    </a:lnTo>
                    <a:lnTo>
                      <a:pt x="31014" y="77618"/>
                    </a:lnTo>
                    <a:lnTo>
                      <a:pt x="0" y="75179"/>
                    </a:lnTo>
                    <a:lnTo>
                      <a:pt x="16112" y="45120"/>
                    </a:lnTo>
                    <a:lnTo>
                      <a:pt x="42345" y="0"/>
                    </a:lnTo>
                    <a:lnTo>
                      <a:pt x="96848" y="4744"/>
                    </a:lnTo>
                    <a:lnTo>
                      <a:pt x="150613" y="9203"/>
                    </a:lnTo>
                    <a:lnTo>
                      <a:pt x="149505" y="11633"/>
                    </a:lnTo>
                    <a:lnTo>
                      <a:pt x="149036" y="15278"/>
                    </a:lnTo>
                    <a:lnTo>
                      <a:pt x="147350" y="18121"/>
                    </a:lnTo>
                    <a:lnTo>
                      <a:pt x="145087" y="21205"/>
                    </a:lnTo>
                    <a:lnTo>
                      <a:pt x="142653" y="26023"/>
                    </a:lnTo>
                    <a:lnTo>
                      <a:pt x="140500" y="30497"/>
                    </a:lnTo>
                    <a:lnTo>
                      <a:pt x="139912" y="35136"/>
                    </a:lnTo>
                    <a:lnTo>
                      <a:pt x="139131" y="40330"/>
                    </a:lnTo>
                    <a:lnTo>
                      <a:pt x="137258" y="45370"/>
                    </a:lnTo>
                    <a:lnTo>
                      <a:pt x="136003" y="48333"/>
                    </a:lnTo>
                    <a:lnTo>
                      <a:pt x="134312" y="51641"/>
                    </a:lnTo>
                    <a:lnTo>
                      <a:pt x="131152" y="58900"/>
                    </a:lnTo>
                    <a:lnTo>
                      <a:pt x="130993" y="60284"/>
                    </a:lnTo>
                    <a:lnTo>
                      <a:pt x="128244" y="65909"/>
                    </a:lnTo>
                    <a:lnTo>
                      <a:pt x="126415" y="70971"/>
                    </a:lnTo>
                    <a:lnTo>
                      <a:pt x="125712" y="75062"/>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22" name="Polygon form 287"/>
              <p:cNvSpPr/>
              <p:nvPr/>
            </p:nvSpPr>
            <p:spPr>
              <a:xfrm>
                <a:off x="2176083" y="2957158"/>
                <a:ext cx="162113" cy="95541"/>
              </a:xfrm>
              <a:custGeom>
                <a:avLst/>
                <a:gdLst/>
                <a:ahLst/>
                <a:cxnLst/>
                <a:rect l="0" t="0" r="0" b="0"/>
                <a:pathLst>
                  <a:path w="162113" h="95541">
                    <a:moveTo>
                      <a:pt x="117448" y="91586"/>
                    </a:moveTo>
                    <a:lnTo>
                      <a:pt x="113825" y="89183"/>
                    </a:lnTo>
                    <a:lnTo>
                      <a:pt x="111000" y="85681"/>
                    </a:lnTo>
                    <a:lnTo>
                      <a:pt x="104898" y="85497"/>
                    </a:lnTo>
                    <a:lnTo>
                      <a:pt x="100964" y="85116"/>
                    </a:lnTo>
                    <a:lnTo>
                      <a:pt x="98979" y="86140"/>
                    </a:lnTo>
                    <a:lnTo>
                      <a:pt x="93768" y="83720"/>
                    </a:lnTo>
                    <a:lnTo>
                      <a:pt x="90966" y="80264"/>
                    </a:lnTo>
                    <a:lnTo>
                      <a:pt x="57486" y="77761"/>
                    </a:lnTo>
                    <a:lnTo>
                      <a:pt x="32485" y="75848"/>
                    </a:lnTo>
                    <a:lnTo>
                      <a:pt x="0" y="73302"/>
                    </a:lnTo>
                    <a:lnTo>
                      <a:pt x="26343" y="22599"/>
                    </a:lnTo>
                    <a:lnTo>
                      <a:pt x="39625" y="0"/>
                    </a:lnTo>
                    <a:lnTo>
                      <a:pt x="70639" y="2439"/>
                    </a:lnTo>
                    <a:lnTo>
                      <a:pt x="103990" y="5013"/>
                    </a:lnTo>
                    <a:lnTo>
                      <a:pt x="130408" y="7141"/>
                    </a:lnTo>
                    <a:lnTo>
                      <a:pt x="162113" y="8173"/>
                    </a:lnTo>
                    <a:lnTo>
                      <a:pt x="159992" y="11738"/>
                    </a:lnTo>
                    <a:lnTo>
                      <a:pt x="154928" y="14214"/>
                    </a:lnTo>
                    <a:lnTo>
                      <a:pt x="152341" y="17489"/>
                    </a:lnTo>
                    <a:lnTo>
                      <a:pt x="152024" y="21422"/>
                    </a:lnTo>
                    <a:lnTo>
                      <a:pt x="153925" y="23558"/>
                    </a:lnTo>
                    <a:lnTo>
                      <a:pt x="144145" y="47347"/>
                    </a:lnTo>
                    <a:lnTo>
                      <a:pt x="132705" y="70439"/>
                    </a:lnTo>
                    <a:lnTo>
                      <a:pt x="130476" y="70292"/>
                    </a:lnTo>
                    <a:lnTo>
                      <a:pt x="127566" y="76333"/>
                    </a:lnTo>
                    <a:lnTo>
                      <a:pt x="128132" y="79777"/>
                    </a:lnTo>
                    <a:lnTo>
                      <a:pt x="126458" y="82437"/>
                    </a:lnTo>
                    <a:lnTo>
                      <a:pt x="123711" y="86350"/>
                    </a:lnTo>
                    <a:lnTo>
                      <a:pt x="120447" y="90321"/>
                    </a:lnTo>
                    <a:lnTo>
                      <a:pt x="121874" y="93271"/>
                    </a:lnTo>
                    <a:lnTo>
                      <a:pt x="120787" y="95541"/>
                    </a:lnTo>
                    <a:lnTo>
                      <a:pt x="118126" y="94999"/>
                    </a:lnTo>
                    <a:lnTo>
                      <a:pt x="117245" y="93702"/>
                    </a:lnTo>
                    <a:lnTo>
                      <a:pt x="117448" y="91586"/>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323" name="Polygon form 288"/>
              <p:cNvSpPr/>
              <p:nvPr/>
            </p:nvSpPr>
            <p:spPr>
              <a:xfrm>
                <a:off x="2219869" y="3292033"/>
                <a:ext cx="85122" cy="101463"/>
              </a:xfrm>
              <a:custGeom>
                <a:avLst/>
                <a:gdLst/>
                <a:ahLst/>
                <a:cxnLst/>
                <a:rect l="0" t="0" r="0" b="0"/>
                <a:pathLst>
                  <a:path w="85122" h="101463">
                    <a:moveTo>
                      <a:pt x="82341" y="97893"/>
                    </a:moveTo>
                    <a:lnTo>
                      <a:pt x="77897" y="101030"/>
                    </a:lnTo>
                    <a:lnTo>
                      <a:pt x="72126" y="97014"/>
                    </a:lnTo>
                    <a:lnTo>
                      <a:pt x="63860" y="101463"/>
                    </a:lnTo>
                    <a:lnTo>
                      <a:pt x="50732" y="100061"/>
                    </a:lnTo>
                    <a:lnTo>
                      <a:pt x="40901" y="86118"/>
                    </a:lnTo>
                    <a:lnTo>
                      <a:pt x="23967" y="88485"/>
                    </a:lnTo>
                    <a:lnTo>
                      <a:pt x="12384" y="82005"/>
                    </a:lnTo>
                    <a:lnTo>
                      <a:pt x="452" y="83209"/>
                    </a:lnTo>
                    <a:lnTo>
                      <a:pt x="0" y="80419"/>
                    </a:lnTo>
                    <a:lnTo>
                      <a:pt x="2991" y="76817"/>
                    </a:lnTo>
                    <a:lnTo>
                      <a:pt x="6756" y="73621"/>
                    </a:lnTo>
                    <a:lnTo>
                      <a:pt x="8357" y="68597"/>
                    </a:lnTo>
                    <a:lnTo>
                      <a:pt x="7545" y="66851"/>
                    </a:lnTo>
                    <a:lnTo>
                      <a:pt x="11015" y="60921"/>
                    </a:lnTo>
                    <a:lnTo>
                      <a:pt x="13039" y="58249"/>
                    </a:lnTo>
                    <a:lnTo>
                      <a:pt x="17704" y="49136"/>
                    </a:lnTo>
                    <a:lnTo>
                      <a:pt x="17192" y="45617"/>
                    </a:lnTo>
                    <a:lnTo>
                      <a:pt x="16927" y="39783"/>
                    </a:lnTo>
                    <a:lnTo>
                      <a:pt x="17273" y="33872"/>
                    </a:lnTo>
                    <a:lnTo>
                      <a:pt x="17536" y="29933"/>
                    </a:lnTo>
                    <a:lnTo>
                      <a:pt x="15497" y="26941"/>
                    </a:lnTo>
                    <a:lnTo>
                      <a:pt x="23424" y="0"/>
                    </a:lnTo>
                    <a:lnTo>
                      <a:pt x="40787" y="987"/>
                    </a:lnTo>
                    <a:lnTo>
                      <a:pt x="60738" y="1207"/>
                    </a:lnTo>
                    <a:lnTo>
                      <a:pt x="75675" y="2863"/>
                    </a:lnTo>
                    <a:lnTo>
                      <a:pt x="76490" y="4363"/>
                    </a:lnTo>
                    <a:lnTo>
                      <a:pt x="73658" y="7897"/>
                    </a:lnTo>
                    <a:lnTo>
                      <a:pt x="74587" y="13193"/>
                    </a:lnTo>
                    <a:lnTo>
                      <a:pt x="72833" y="16259"/>
                    </a:lnTo>
                    <a:lnTo>
                      <a:pt x="73773" y="20691"/>
                    </a:lnTo>
                    <a:lnTo>
                      <a:pt x="70440" y="23123"/>
                    </a:lnTo>
                    <a:lnTo>
                      <a:pt x="68079" y="27818"/>
                    </a:lnTo>
                    <a:lnTo>
                      <a:pt x="63328" y="31556"/>
                    </a:lnTo>
                    <a:lnTo>
                      <a:pt x="60025" y="36732"/>
                    </a:lnTo>
                    <a:lnTo>
                      <a:pt x="56461" y="42706"/>
                    </a:lnTo>
                    <a:lnTo>
                      <a:pt x="53358" y="45397"/>
                    </a:lnTo>
                    <a:lnTo>
                      <a:pt x="52141" y="51708"/>
                    </a:lnTo>
                    <a:lnTo>
                      <a:pt x="67963" y="53304"/>
                    </a:lnTo>
                    <a:lnTo>
                      <a:pt x="85122" y="54199"/>
                    </a:lnTo>
                    <a:lnTo>
                      <a:pt x="83338" y="58342"/>
                    </a:lnTo>
                    <a:lnTo>
                      <a:pt x="80890" y="62399"/>
                    </a:lnTo>
                    <a:lnTo>
                      <a:pt x="81099" y="65628"/>
                    </a:lnTo>
                    <a:lnTo>
                      <a:pt x="82640" y="68652"/>
                    </a:lnTo>
                    <a:lnTo>
                      <a:pt x="82056" y="72839"/>
                    </a:lnTo>
                    <a:lnTo>
                      <a:pt x="81663" y="75339"/>
                    </a:lnTo>
                    <a:lnTo>
                      <a:pt x="83090" y="82584"/>
                    </a:lnTo>
                    <a:lnTo>
                      <a:pt x="79852" y="92752"/>
                    </a:lnTo>
                    <a:lnTo>
                      <a:pt x="82341" y="97893"/>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24" name="Polygon form 289"/>
              <p:cNvSpPr/>
              <p:nvPr/>
            </p:nvSpPr>
            <p:spPr>
              <a:xfrm>
                <a:off x="2007424" y="3194586"/>
                <a:ext cx="241823" cy="275440"/>
              </a:xfrm>
              <a:custGeom>
                <a:avLst/>
                <a:gdLst/>
                <a:ahLst/>
                <a:cxnLst/>
                <a:rect l="0" t="0" r="0" b="0"/>
                <a:pathLst>
                  <a:path w="241823" h="275440">
                    <a:moveTo>
                      <a:pt x="229637" y="143064"/>
                    </a:moveTo>
                    <a:lnTo>
                      <a:pt x="230149" y="146583"/>
                    </a:lnTo>
                    <a:lnTo>
                      <a:pt x="225484" y="155696"/>
                    </a:lnTo>
                    <a:lnTo>
                      <a:pt x="223460" y="158368"/>
                    </a:lnTo>
                    <a:lnTo>
                      <a:pt x="219989" y="164298"/>
                    </a:lnTo>
                    <a:lnTo>
                      <a:pt x="220801" y="166044"/>
                    </a:lnTo>
                    <a:lnTo>
                      <a:pt x="219200" y="171068"/>
                    </a:lnTo>
                    <a:lnTo>
                      <a:pt x="215436" y="174264"/>
                    </a:lnTo>
                    <a:lnTo>
                      <a:pt x="212445" y="177866"/>
                    </a:lnTo>
                    <a:lnTo>
                      <a:pt x="212896" y="180656"/>
                    </a:lnTo>
                    <a:lnTo>
                      <a:pt x="195676" y="185783"/>
                    </a:lnTo>
                    <a:lnTo>
                      <a:pt x="173302" y="203680"/>
                    </a:lnTo>
                    <a:lnTo>
                      <a:pt x="151742" y="213689"/>
                    </a:lnTo>
                    <a:lnTo>
                      <a:pt x="138084" y="225284"/>
                    </a:lnTo>
                    <a:lnTo>
                      <a:pt x="130495" y="236481"/>
                    </a:lnTo>
                    <a:lnTo>
                      <a:pt x="125307" y="253978"/>
                    </a:lnTo>
                    <a:lnTo>
                      <a:pt x="122825" y="266204"/>
                    </a:lnTo>
                    <a:lnTo>
                      <a:pt x="123991" y="275006"/>
                    </a:lnTo>
                    <a:lnTo>
                      <a:pt x="116511" y="275440"/>
                    </a:lnTo>
                    <a:lnTo>
                      <a:pt x="104822" y="269236"/>
                    </a:lnTo>
                    <a:lnTo>
                      <a:pt x="92526" y="260669"/>
                    </a:lnTo>
                    <a:lnTo>
                      <a:pt x="90758" y="248470"/>
                    </a:lnTo>
                    <a:lnTo>
                      <a:pt x="91925" y="230472"/>
                    </a:lnTo>
                    <a:lnTo>
                      <a:pt x="85428" y="215437"/>
                    </a:lnTo>
                    <a:lnTo>
                      <a:pt x="83713" y="200208"/>
                    </a:lnTo>
                    <a:lnTo>
                      <a:pt x="80091" y="182324"/>
                    </a:lnTo>
                    <a:lnTo>
                      <a:pt x="70541" y="171497"/>
                    </a:lnTo>
                    <a:lnTo>
                      <a:pt x="55457" y="171164"/>
                    </a:lnTo>
                    <a:lnTo>
                      <a:pt x="37270" y="190630"/>
                    </a:lnTo>
                    <a:lnTo>
                      <a:pt x="24619" y="182142"/>
                    </a:lnTo>
                    <a:lnTo>
                      <a:pt x="17775" y="173907"/>
                    </a:lnTo>
                    <a:lnTo>
                      <a:pt x="18062" y="159636"/>
                    </a:lnTo>
                    <a:lnTo>
                      <a:pt x="16714" y="145978"/>
                    </a:lnTo>
                    <a:lnTo>
                      <a:pt x="9980" y="134133"/>
                    </a:lnTo>
                    <a:lnTo>
                      <a:pt x="3695" y="125523"/>
                    </a:lnTo>
                    <a:lnTo>
                      <a:pt x="487" y="116085"/>
                    </a:lnTo>
                    <a:lnTo>
                      <a:pt x="0" y="111890"/>
                    </a:lnTo>
                    <a:lnTo>
                      <a:pt x="630" y="109709"/>
                    </a:lnTo>
                    <a:lnTo>
                      <a:pt x="16808" y="110727"/>
                    </a:lnTo>
                    <a:lnTo>
                      <a:pt x="49189" y="112729"/>
                    </a:lnTo>
                    <a:lnTo>
                      <a:pt x="65898" y="113743"/>
                    </a:lnTo>
                    <a:lnTo>
                      <a:pt x="83825" y="66111"/>
                    </a:lnTo>
                    <a:lnTo>
                      <a:pt x="110583" y="0"/>
                    </a:lnTo>
                    <a:lnTo>
                      <a:pt x="128084" y="1182"/>
                    </a:lnTo>
                    <a:lnTo>
                      <a:pt x="145607" y="2349"/>
                    </a:lnTo>
                    <a:lnTo>
                      <a:pt x="163142" y="3502"/>
                    </a:lnTo>
                    <a:lnTo>
                      <a:pt x="153242" y="28128"/>
                    </a:lnTo>
                    <a:lnTo>
                      <a:pt x="143865" y="52165"/>
                    </a:lnTo>
                    <a:lnTo>
                      <a:pt x="147068" y="55135"/>
                    </a:lnTo>
                    <a:lnTo>
                      <a:pt x="149173" y="57366"/>
                    </a:lnTo>
                    <a:lnTo>
                      <a:pt x="154488" y="55974"/>
                    </a:lnTo>
                    <a:lnTo>
                      <a:pt x="155156" y="61360"/>
                    </a:lnTo>
                    <a:lnTo>
                      <a:pt x="160459" y="63510"/>
                    </a:lnTo>
                    <a:lnTo>
                      <a:pt x="165260" y="65190"/>
                    </a:lnTo>
                    <a:lnTo>
                      <a:pt x="173783" y="65088"/>
                    </a:lnTo>
                    <a:lnTo>
                      <a:pt x="173885" y="71289"/>
                    </a:lnTo>
                    <a:lnTo>
                      <a:pt x="180167" y="69089"/>
                    </a:lnTo>
                    <a:lnTo>
                      <a:pt x="183741" y="73300"/>
                    </a:lnTo>
                    <a:lnTo>
                      <a:pt x="188021" y="75210"/>
                    </a:lnTo>
                    <a:lnTo>
                      <a:pt x="192131" y="71739"/>
                    </a:lnTo>
                    <a:lnTo>
                      <a:pt x="193315" y="76090"/>
                    </a:lnTo>
                    <a:lnTo>
                      <a:pt x="199775" y="75079"/>
                    </a:lnTo>
                    <a:lnTo>
                      <a:pt x="201951" y="76468"/>
                    </a:lnTo>
                    <a:lnTo>
                      <a:pt x="205320" y="75590"/>
                    </a:lnTo>
                    <a:lnTo>
                      <a:pt x="209121" y="73718"/>
                    </a:lnTo>
                    <a:lnTo>
                      <a:pt x="212853" y="73893"/>
                    </a:lnTo>
                    <a:lnTo>
                      <a:pt x="219040" y="74520"/>
                    </a:lnTo>
                    <a:lnTo>
                      <a:pt x="223716" y="73051"/>
                    </a:lnTo>
                    <a:lnTo>
                      <a:pt x="227782" y="76008"/>
                    </a:lnTo>
                    <a:lnTo>
                      <a:pt x="233751" y="81360"/>
                    </a:lnTo>
                    <a:lnTo>
                      <a:pt x="234113" y="83060"/>
                    </a:lnTo>
                    <a:lnTo>
                      <a:pt x="237710" y="82923"/>
                    </a:lnTo>
                    <a:lnTo>
                      <a:pt x="241823" y="83247"/>
                    </a:lnTo>
                    <a:lnTo>
                      <a:pt x="235869" y="97447"/>
                    </a:lnTo>
                    <a:lnTo>
                      <a:pt x="227942" y="124388"/>
                    </a:lnTo>
                    <a:lnTo>
                      <a:pt x="229981" y="127380"/>
                    </a:lnTo>
                    <a:lnTo>
                      <a:pt x="229718" y="131319"/>
                    </a:lnTo>
                    <a:lnTo>
                      <a:pt x="229372" y="137230"/>
                    </a:lnTo>
                    <a:lnTo>
                      <a:pt x="229637" y="143064"/>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325" name="Polygon form 290"/>
              <p:cNvSpPr/>
              <p:nvPr/>
            </p:nvSpPr>
            <p:spPr>
              <a:xfrm>
                <a:off x="2670838" y="3086861"/>
                <a:ext cx="40576" cy="26911"/>
              </a:xfrm>
              <a:custGeom>
                <a:avLst/>
                <a:gdLst/>
                <a:ahLst/>
                <a:cxnLst/>
                <a:rect l="0" t="0" r="0" b="0"/>
                <a:pathLst>
                  <a:path w="40576" h="26911">
                    <a:moveTo>
                      <a:pt x="15532" y="20998"/>
                    </a:moveTo>
                    <a:lnTo>
                      <a:pt x="0" y="26911"/>
                    </a:lnTo>
                    <a:lnTo>
                      <a:pt x="111" y="26122"/>
                    </a:lnTo>
                    <a:lnTo>
                      <a:pt x="500" y="23089"/>
                    </a:lnTo>
                    <a:lnTo>
                      <a:pt x="5062" y="20882"/>
                    </a:lnTo>
                    <a:lnTo>
                      <a:pt x="4418" y="18724"/>
                    </a:lnTo>
                    <a:lnTo>
                      <a:pt x="11794" y="0"/>
                    </a:lnTo>
                    <a:lnTo>
                      <a:pt x="24776" y="1108"/>
                    </a:lnTo>
                    <a:lnTo>
                      <a:pt x="40576" y="2449"/>
                    </a:lnTo>
                    <a:lnTo>
                      <a:pt x="36231" y="15863"/>
                    </a:lnTo>
                    <a:lnTo>
                      <a:pt x="33990" y="19409"/>
                    </a:lnTo>
                    <a:lnTo>
                      <a:pt x="25964" y="20276"/>
                    </a:lnTo>
                    <a:lnTo>
                      <a:pt x="15532" y="20998"/>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326" name="Polygon form 291"/>
              <p:cNvSpPr/>
              <p:nvPr/>
            </p:nvSpPr>
            <p:spPr>
              <a:xfrm>
                <a:off x="2682632" y="3068688"/>
                <a:ext cx="60983" cy="34776"/>
              </a:xfrm>
              <a:custGeom>
                <a:avLst/>
                <a:gdLst/>
                <a:ahLst/>
                <a:cxnLst/>
                <a:rect l="0" t="0" r="0" b="0"/>
                <a:pathLst>
                  <a:path w="60983" h="34776">
                    <a:moveTo>
                      <a:pt x="60983" y="24415"/>
                    </a:moveTo>
                    <a:lnTo>
                      <a:pt x="57319" y="31353"/>
                    </a:lnTo>
                    <a:lnTo>
                      <a:pt x="44392" y="34776"/>
                    </a:lnTo>
                    <a:lnTo>
                      <a:pt x="36262" y="33903"/>
                    </a:lnTo>
                    <a:lnTo>
                      <a:pt x="37023" y="30130"/>
                    </a:lnTo>
                    <a:lnTo>
                      <a:pt x="35250" y="27185"/>
                    </a:lnTo>
                    <a:lnTo>
                      <a:pt x="36118" y="20701"/>
                    </a:lnTo>
                    <a:lnTo>
                      <a:pt x="28782" y="20622"/>
                    </a:lnTo>
                    <a:lnTo>
                      <a:pt x="12982" y="19280"/>
                    </a:lnTo>
                    <a:lnTo>
                      <a:pt x="0" y="18173"/>
                    </a:lnTo>
                    <a:lnTo>
                      <a:pt x="9580" y="1458"/>
                    </a:lnTo>
                    <a:lnTo>
                      <a:pt x="23525" y="2568"/>
                    </a:lnTo>
                    <a:lnTo>
                      <a:pt x="44091" y="3807"/>
                    </a:lnTo>
                    <a:lnTo>
                      <a:pt x="46676" y="1482"/>
                    </a:lnTo>
                    <a:lnTo>
                      <a:pt x="50865" y="0"/>
                    </a:lnTo>
                    <a:lnTo>
                      <a:pt x="52731" y="566"/>
                    </a:lnTo>
                    <a:lnTo>
                      <a:pt x="48176" y="13546"/>
                    </a:lnTo>
                    <a:lnTo>
                      <a:pt x="49536" y="26812"/>
                    </a:lnTo>
                    <a:lnTo>
                      <a:pt x="56479" y="27759"/>
                    </a:lnTo>
                    <a:lnTo>
                      <a:pt x="57614" y="18726"/>
                    </a:lnTo>
                    <a:lnTo>
                      <a:pt x="60983" y="24415"/>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327" name="Polygon form 292"/>
              <p:cNvSpPr/>
              <p:nvPr/>
            </p:nvSpPr>
            <p:spPr>
              <a:xfrm>
                <a:off x="2705668" y="3009333"/>
                <a:ext cx="46137" cy="63163"/>
              </a:xfrm>
              <a:custGeom>
                <a:avLst/>
                <a:gdLst/>
                <a:ahLst/>
                <a:cxnLst/>
                <a:rect l="0" t="0" r="0" b="0"/>
                <a:pathLst>
                  <a:path w="46137" h="63163">
                    <a:moveTo>
                      <a:pt x="36468" y="6910"/>
                    </a:moveTo>
                    <a:lnTo>
                      <a:pt x="36446" y="6896"/>
                    </a:lnTo>
                    <a:lnTo>
                      <a:pt x="40321" y="955"/>
                    </a:lnTo>
                    <a:lnTo>
                      <a:pt x="46137" y="0"/>
                    </a:lnTo>
                    <a:lnTo>
                      <a:pt x="32543" y="45094"/>
                    </a:lnTo>
                    <a:lnTo>
                      <a:pt x="31071" y="47472"/>
                    </a:lnTo>
                    <a:lnTo>
                      <a:pt x="32957" y="51254"/>
                    </a:lnTo>
                    <a:lnTo>
                      <a:pt x="32580" y="54713"/>
                    </a:lnTo>
                    <a:lnTo>
                      <a:pt x="34460" y="54555"/>
                    </a:lnTo>
                    <a:lnTo>
                      <a:pt x="29695" y="59921"/>
                    </a:lnTo>
                    <a:lnTo>
                      <a:pt x="27830" y="59355"/>
                    </a:lnTo>
                    <a:lnTo>
                      <a:pt x="23640" y="60838"/>
                    </a:lnTo>
                    <a:lnTo>
                      <a:pt x="21055" y="63163"/>
                    </a:lnTo>
                    <a:lnTo>
                      <a:pt x="490" y="61923"/>
                    </a:lnTo>
                    <a:lnTo>
                      <a:pt x="0" y="59313"/>
                    </a:lnTo>
                    <a:lnTo>
                      <a:pt x="2453" y="56202"/>
                    </a:lnTo>
                    <a:lnTo>
                      <a:pt x="5119" y="49792"/>
                    </a:lnTo>
                    <a:lnTo>
                      <a:pt x="6179" y="48288"/>
                    </a:lnTo>
                    <a:lnTo>
                      <a:pt x="8798" y="42524"/>
                    </a:lnTo>
                    <a:lnTo>
                      <a:pt x="12389" y="37733"/>
                    </a:lnTo>
                    <a:lnTo>
                      <a:pt x="14539" y="35665"/>
                    </a:lnTo>
                    <a:lnTo>
                      <a:pt x="18623" y="29965"/>
                    </a:lnTo>
                    <a:lnTo>
                      <a:pt x="20417" y="26047"/>
                    </a:lnTo>
                    <a:lnTo>
                      <a:pt x="21835" y="23693"/>
                    </a:lnTo>
                    <a:lnTo>
                      <a:pt x="25518" y="22681"/>
                    </a:lnTo>
                    <a:lnTo>
                      <a:pt x="30321" y="20039"/>
                    </a:lnTo>
                    <a:lnTo>
                      <a:pt x="32074" y="17031"/>
                    </a:lnTo>
                    <a:lnTo>
                      <a:pt x="32091" y="13460"/>
                    </a:lnTo>
                    <a:lnTo>
                      <a:pt x="36468" y="6910"/>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28" name="Polygon form 293"/>
              <p:cNvSpPr/>
              <p:nvPr/>
            </p:nvSpPr>
            <p:spPr>
              <a:xfrm>
                <a:off x="2704828" y="3089310"/>
                <a:ext cx="14827" cy="16960"/>
              </a:xfrm>
              <a:custGeom>
                <a:avLst/>
                <a:gdLst/>
                <a:ahLst/>
                <a:cxnLst/>
                <a:rect l="0" t="0" r="0" b="0"/>
                <a:pathLst>
                  <a:path w="14827" h="16960">
                    <a:moveTo>
                      <a:pt x="14827" y="9508"/>
                    </a:moveTo>
                    <a:lnTo>
                      <a:pt x="14066" y="13281"/>
                    </a:lnTo>
                    <a:lnTo>
                      <a:pt x="0" y="16960"/>
                    </a:lnTo>
                    <a:lnTo>
                      <a:pt x="2241" y="13414"/>
                    </a:lnTo>
                    <a:lnTo>
                      <a:pt x="6586" y="0"/>
                    </a:lnTo>
                    <a:lnTo>
                      <a:pt x="13922" y="79"/>
                    </a:lnTo>
                    <a:lnTo>
                      <a:pt x="13054" y="6563"/>
                    </a:lnTo>
                    <a:lnTo>
                      <a:pt x="14827" y="9508"/>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29" name="Polygon form 294"/>
              <p:cNvSpPr/>
              <p:nvPr/>
            </p:nvSpPr>
            <p:spPr>
              <a:xfrm>
                <a:off x="2692213" y="3014646"/>
                <a:ext cx="49923" cy="56610"/>
              </a:xfrm>
              <a:custGeom>
                <a:avLst/>
                <a:gdLst/>
                <a:ahLst/>
                <a:cxnLst/>
                <a:rect l="0" t="0" r="0" b="0"/>
                <a:pathLst>
                  <a:path w="49923" h="56610">
                    <a:moveTo>
                      <a:pt x="49923" y="1597"/>
                    </a:moveTo>
                    <a:lnTo>
                      <a:pt x="45546" y="8147"/>
                    </a:lnTo>
                    <a:lnTo>
                      <a:pt x="45529" y="11718"/>
                    </a:lnTo>
                    <a:lnTo>
                      <a:pt x="43776" y="14726"/>
                    </a:lnTo>
                    <a:lnTo>
                      <a:pt x="38973" y="17368"/>
                    </a:lnTo>
                    <a:lnTo>
                      <a:pt x="35290" y="18380"/>
                    </a:lnTo>
                    <a:lnTo>
                      <a:pt x="33872" y="20734"/>
                    </a:lnTo>
                    <a:lnTo>
                      <a:pt x="32078" y="24651"/>
                    </a:lnTo>
                    <a:lnTo>
                      <a:pt x="27994" y="30352"/>
                    </a:lnTo>
                    <a:lnTo>
                      <a:pt x="25844" y="32420"/>
                    </a:lnTo>
                    <a:lnTo>
                      <a:pt x="22254" y="37211"/>
                    </a:lnTo>
                    <a:lnTo>
                      <a:pt x="19634" y="42975"/>
                    </a:lnTo>
                    <a:lnTo>
                      <a:pt x="18574" y="44479"/>
                    </a:lnTo>
                    <a:lnTo>
                      <a:pt x="15908" y="50889"/>
                    </a:lnTo>
                    <a:lnTo>
                      <a:pt x="13455" y="53999"/>
                    </a:lnTo>
                    <a:lnTo>
                      <a:pt x="13945" y="56610"/>
                    </a:lnTo>
                    <a:lnTo>
                      <a:pt x="0" y="55501"/>
                    </a:lnTo>
                    <a:lnTo>
                      <a:pt x="7891" y="35331"/>
                    </a:lnTo>
                    <a:lnTo>
                      <a:pt x="5524" y="35024"/>
                    </a:lnTo>
                    <a:lnTo>
                      <a:pt x="5545" y="34075"/>
                    </a:lnTo>
                    <a:lnTo>
                      <a:pt x="7902" y="30578"/>
                    </a:lnTo>
                    <a:lnTo>
                      <a:pt x="8675" y="24096"/>
                    </a:lnTo>
                    <a:lnTo>
                      <a:pt x="12221" y="19118"/>
                    </a:lnTo>
                    <a:lnTo>
                      <a:pt x="12660" y="15338"/>
                    </a:lnTo>
                    <a:lnTo>
                      <a:pt x="14939" y="8051"/>
                    </a:lnTo>
                    <a:lnTo>
                      <a:pt x="16773" y="4940"/>
                    </a:lnTo>
                    <a:lnTo>
                      <a:pt x="18966" y="0"/>
                    </a:lnTo>
                    <a:lnTo>
                      <a:pt x="49901" y="1583"/>
                    </a:lnTo>
                    <a:lnTo>
                      <a:pt x="49923" y="1597"/>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30" name="Polygon form 295"/>
              <p:cNvSpPr/>
              <p:nvPr/>
            </p:nvSpPr>
            <p:spPr>
              <a:xfrm>
                <a:off x="2324792" y="3247993"/>
                <a:ext cx="86253" cy="118699"/>
              </a:xfrm>
              <a:custGeom>
                <a:avLst/>
                <a:gdLst/>
                <a:ahLst/>
                <a:cxnLst/>
                <a:rect l="0" t="0" r="0" b="0"/>
                <a:pathLst>
                  <a:path w="86253" h="118699">
                    <a:moveTo>
                      <a:pt x="66729" y="99901"/>
                    </a:moveTo>
                    <a:lnTo>
                      <a:pt x="66781" y="102889"/>
                    </a:lnTo>
                    <a:lnTo>
                      <a:pt x="29481" y="101318"/>
                    </a:lnTo>
                    <a:lnTo>
                      <a:pt x="18629" y="102259"/>
                    </a:lnTo>
                    <a:lnTo>
                      <a:pt x="17776" y="104153"/>
                    </a:lnTo>
                    <a:lnTo>
                      <a:pt x="20163" y="110429"/>
                    </a:lnTo>
                    <a:lnTo>
                      <a:pt x="17761" y="115327"/>
                    </a:lnTo>
                    <a:lnTo>
                      <a:pt x="15442" y="118699"/>
                    </a:lnTo>
                    <a:lnTo>
                      <a:pt x="0" y="115172"/>
                    </a:lnTo>
                    <a:lnTo>
                      <a:pt x="10914" y="76891"/>
                    </a:lnTo>
                    <a:lnTo>
                      <a:pt x="26750" y="37087"/>
                    </a:lnTo>
                    <a:lnTo>
                      <a:pt x="40654" y="4899"/>
                    </a:lnTo>
                    <a:lnTo>
                      <a:pt x="41017" y="0"/>
                    </a:lnTo>
                    <a:lnTo>
                      <a:pt x="63439" y="1196"/>
                    </a:lnTo>
                    <a:lnTo>
                      <a:pt x="86253" y="2712"/>
                    </a:lnTo>
                    <a:lnTo>
                      <a:pt x="80932" y="33869"/>
                    </a:lnTo>
                    <a:lnTo>
                      <a:pt x="77505" y="58852"/>
                    </a:lnTo>
                    <a:lnTo>
                      <a:pt x="77739" y="66777"/>
                    </a:lnTo>
                    <a:lnTo>
                      <a:pt x="77985" y="71314"/>
                    </a:lnTo>
                    <a:lnTo>
                      <a:pt x="73680" y="75557"/>
                    </a:lnTo>
                    <a:lnTo>
                      <a:pt x="70319" y="83447"/>
                    </a:lnTo>
                    <a:lnTo>
                      <a:pt x="69921" y="88196"/>
                    </a:lnTo>
                    <a:lnTo>
                      <a:pt x="68180" y="92588"/>
                    </a:lnTo>
                    <a:lnTo>
                      <a:pt x="66490" y="96662"/>
                    </a:lnTo>
                    <a:lnTo>
                      <a:pt x="66729" y="99901"/>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31" name="Polygon form 296"/>
              <p:cNvSpPr/>
              <p:nvPr/>
            </p:nvSpPr>
            <p:spPr>
              <a:xfrm>
                <a:off x="2340234" y="3349311"/>
                <a:ext cx="116818" cy="152500"/>
              </a:xfrm>
              <a:custGeom>
                <a:avLst/>
                <a:gdLst/>
                <a:ahLst/>
                <a:cxnLst/>
                <a:rect l="0" t="0" r="0" b="0"/>
                <a:pathLst>
                  <a:path w="116818" h="152500">
                    <a:moveTo>
                      <a:pt x="116235" y="107961"/>
                    </a:moveTo>
                    <a:lnTo>
                      <a:pt x="111812" y="124768"/>
                    </a:lnTo>
                    <a:lnTo>
                      <a:pt x="108829" y="134452"/>
                    </a:lnTo>
                    <a:lnTo>
                      <a:pt x="100806" y="149540"/>
                    </a:lnTo>
                    <a:lnTo>
                      <a:pt x="94509" y="152500"/>
                    </a:lnTo>
                    <a:lnTo>
                      <a:pt x="85921" y="149147"/>
                    </a:lnTo>
                    <a:lnTo>
                      <a:pt x="85377" y="138074"/>
                    </a:lnTo>
                    <a:lnTo>
                      <a:pt x="79551" y="132061"/>
                    </a:lnTo>
                    <a:lnTo>
                      <a:pt x="74622" y="110191"/>
                    </a:lnTo>
                    <a:lnTo>
                      <a:pt x="70554" y="90725"/>
                    </a:lnTo>
                    <a:lnTo>
                      <a:pt x="70179" y="80836"/>
                    </a:lnTo>
                    <a:lnTo>
                      <a:pt x="78163" y="64398"/>
                    </a:lnTo>
                    <a:lnTo>
                      <a:pt x="76526" y="50452"/>
                    </a:lnTo>
                    <a:lnTo>
                      <a:pt x="67731" y="28952"/>
                    </a:lnTo>
                    <a:lnTo>
                      <a:pt x="61611" y="24807"/>
                    </a:lnTo>
                    <a:lnTo>
                      <a:pt x="39963" y="35345"/>
                    </a:lnTo>
                    <a:lnTo>
                      <a:pt x="37013" y="33951"/>
                    </a:lnTo>
                    <a:lnTo>
                      <a:pt x="31342" y="21888"/>
                    </a:lnTo>
                    <a:lnTo>
                      <a:pt x="21605" y="15176"/>
                    </a:lnTo>
                    <a:lnTo>
                      <a:pt x="0" y="17381"/>
                    </a:lnTo>
                    <a:lnTo>
                      <a:pt x="2319" y="14009"/>
                    </a:lnTo>
                    <a:lnTo>
                      <a:pt x="4721" y="9111"/>
                    </a:lnTo>
                    <a:lnTo>
                      <a:pt x="2335" y="2835"/>
                    </a:lnTo>
                    <a:lnTo>
                      <a:pt x="3187" y="941"/>
                    </a:lnTo>
                    <a:lnTo>
                      <a:pt x="14040" y="0"/>
                    </a:lnTo>
                    <a:lnTo>
                      <a:pt x="51340" y="1572"/>
                    </a:lnTo>
                    <a:lnTo>
                      <a:pt x="52199" y="8425"/>
                    </a:lnTo>
                    <a:lnTo>
                      <a:pt x="70274" y="10395"/>
                    </a:lnTo>
                    <a:lnTo>
                      <a:pt x="98953" y="15425"/>
                    </a:lnTo>
                    <a:lnTo>
                      <a:pt x="99131" y="19837"/>
                    </a:lnTo>
                    <a:lnTo>
                      <a:pt x="102102" y="17709"/>
                    </a:lnTo>
                    <a:lnTo>
                      <a:pt x="104510" y="9045"/>
                    </a:lnTo>
                    <a:lnTo>
                      <a:pt x="106949" y="8296"/>
                    </a:lnTo>
                    <a:lnTo>
                      <a:pt x="110072" y="10285"/>
                    </a:lnTo>
                    <a:lnTo>
                      <a:pt x="113813" y="10911"/>
                    </a:lnTo>
                    <a:lnTo>
                      <a:pt x="112422" y="28350"/>
                    </a:lnTo>
                    <a:lnTo>
                      <a:pt x="113034" y="49931"/>
                    </a:lnTo>
                    <a:lnTo>
                      <a:pt x="116818" y="67906"/>
                    </a:lnTo>
                    <a:lnTo>
                      <a:pt x="114281" y="78686"/>
                    </a:lnTo>
                    <a:lnTo>
                      <a:pt x="116235" y="107961"/>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337" name="Polygon form 302"/>
              <p:cNvSpPr/>
              <p:nvPr/>
            </p:nvSpPr>
            <p:spPr>
              <a:xfrm>
                <a:off x="2391282" y="3250705"/>
                <a:ext cx="83158" cy="118443"/>
              </a:xfrm>
              <a:custGeom>
                <a:avLst/>
                <a:gdLst/>
                <a:ahLst/>
                <a:cxnLst/>
                <a:rect l="0" t="0" r="0" b="0"/>
                <a:pathLst>
                  <a:path w="83158" h="118443">
                    <a:moveTo>
                      <a:pt x="83158" y="77567"/>
                    </a:moveTo>
                    <a:lnTo>
                      <a:pt x="70444" y="91940"/>
                    </a:lnTo>
                    <a:lnTo>
                      <a:pt x="62765" y="109517"/>
                    </a:lnTo>
                    <a:lnTo>
                      <a:pt x="59024" y="108891"/>
                    </a:lnTo>
                    <a:lnTo>
                      <a:pt x="55901" y="106902"/>
                    </a:lnTo>
                    <a:lnTo>
                      <a:pt x="53462" y="107651"/>
                    </a:lnTo>
                    <a:lnTo>
                      <a:pt x="51054" y="116314"/>
                    </a:lnTo>
                    <a:lnTo>
                      <a:pt x="48083" y="118443"/>
                    </a:lnTo>
                    <a:lnTo>
                      <a:pt x="47905" y="114031"/>
                    </a:lnTo>
                    <a:lnTo>
                      <a:pt x="19226" y="109001"/>
                    </a:lnTo>
                    <a:lnTo>
                      <a:pt x="1151" y="107031"/>
                    </a:lnTo>
                    <a:lnTo>
                      <a:pt x="292" y="100177"/>
                    </a:lnTo>
                    <a:lnTo>
                      <a:pt x="239" y="97189"/>
                    </a:lnTo>
                    <a:lnTo>
                      <a:pt x="0" y="93950"/>
                    </a:lnTo>
                    <a:lnTo>
                      <a:pt x="1690" y="89876"/>
                    </a:lnTo>
                    <a:lnTo>
                      <a:pt x="3431" y="85484"/>
                    </a:lnTo>
                    <a:lnTo>
                      <a:pt x="3829" y="80735"/>
                    </a:lnTo>
                    <a:lnTo>
                      <a:pt x="7190" y="72845"/>
                    </a:lnTo>
                    <a:lnTo>
                      <a:pt x="11495" y="68602"/>
                    </a:lnTo>
                    <a:lnTo>
                      <a:pt x="11250" y="64065"/>
                    </a:lnTo>
                    <a:lnTo>
                      <a:pt x="11015" y="56140"/>
                    </a:lnTo>
                    <a:lnTo>
                      <a:pt x="14443" y="31157"/>
                    </a:lnTo>
                    <a:lnTo>
                      <a:pt x="19763" y="0"/>
                    </a:lnTo>
                    <a:lnTo>
                      <a:pt x="33460" y="926"/>
                    </a:lnTo>
                    <a:lnTo>
                      <a:pt x="43071" y="1156"/>
                    </a:lnTo>
                    <a:lnTo>
                      <a:pt x="65253" y="2462"/>
                    </a:lnTo>
                    <a:lnTo>
                      <a:pt x="62636" y="4429"/>
                    </a:lnTo>
                    <a:lnTo>
                      <a:pt x="58268" y="8997"/>
                    </a:lnTo>
                    <a:lnTo>
                      <a:pt x="61797" y="13365"/>
                    </a:lnTo>
                    <a:lnTo>
                      <a:pt x="64434" y="15029"/>
                    </a:lnTo>
                    <a:lnTo>
                      <a:pt x="65327" y="23057"/>
                    </a:lnTo>
                    <a:lnTo>
                      <a:pt x="66108" y="27567"/>
                    </a:lnTo>
                    <a:lnTo>
                      <a:pt x="70576" y="33759"/>
                    </a:lnTo>
                    <a:lnTo>
                      <a:pt x="70879" y="36910"/>
                    </a:lnTo>
                    <a:lnTo>
                      <a:pt x="73936" y="41162"/>
                    </a:lnTo>
                    <a:lnTo>
                      <a:pt x="74273" y="47181"/>
                    </a:lnTo>
                    <a:lnTo>
                      <a:pt x="78573" y="52460"/>
                    </a:lnTo>
                    <a:lnTo>
                      <a:pt x="78204" y="58203"/>
                    </a:lnTo>
                    <a:lnTo>
                      <a:pt x="78479" y="61002"/>
                    </a:lnTo>
                    <a:lnTo>
                      <a:pt x="77326" y="62804"/>
                    </a:lnTo>
                    <a:lnTo>
                      <a:pt x="79919" y="65680"/>
                    </a:lnTo>
                    <a:lnTo>
                      <a:pt x="80372" y="70419"/>
                    </a:lnTo>
                    <a:lnTo>
                      <a:pt x="78995" y="75157"/>
                    </a:lnTo>
                    <a:lnTo>
                      <a:pt x="80400" y="76153"/>
                    </a:lnTo>
                    <a:lnTo>
                      <a:pt x="83158" y="77567"/>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338" name="Polygon form 303"/>
              <p:cNvSpPr/>
              <p:nvPr/>
            </p:nvSpPr>
            <p:spPr>
              <a:xfrm>
                <a:off x="2272010" y="3245460"/>
                <a:ext cx="93799" cy="122331"/>
              </a:xfrm>
              <a:custGeom>
                <a:avLst/>
                <a:gdLst/>
                <a:ahLst/>
                <a:cxnLst/>
                <a:rect l="0" t="0" r="0" b="0"/>
                <a:pathLst>
                  <a:path w="93799" h="122331">
                    <a:moveTo>
                      <a:pt x="93799" y="2534"/>
                    </a:moveTo>
                    <a:lnTo>
                      <a:pt x="93436" y="7432"/>
                    </a:lnTo>
                    <a:lnTo>
                      <a:pt x="79532" y="39620"/>
                    </a:lnTo>
                    <a:lnTo>
                      <a:pt x="63697" y="79425"/>
                    </a:lnTo>
                    <a:lnTo>
                      <a:pt x="52782" y="117706"/>
                    </a:lnTo>
                    <a:lnTo>
                      <a:pt x="38319" y="118775"/>
                    </a:lnTo>
                    <a:lnTo>
                      <a:pt x="29600" y="122331"/>
                    </a:lnTo>
                    <a:lnTo>
                      <a:pt x="29915" y="119413"/>
                    </a:lnTo>
                    <a:lnTo>
                      <a:pt x="30499" y="115225"/>
                    </a:lnTo>
                    <a:lnTo>
                      <a:pt x="28958" y="112201"/>
                    </a:lnTo>
                    <a:lnTo>
                      <a:pt x="28750" y="108973"/>
                    </a:lnTo>
                    <a:lnTo>
                      <a:pt x="31197" y="104915"/>
                    </a:lnTo>
                    <a:lnTo>
                      <a:pt x="32981" y="100773"/>
                    </a:lnTo>
                    <a:lnTo>
                      <a:pt x="15822" y="99877"/>
                    </a:lnTo>
                    <a:lnTo>
                      <a:pt x="0" y="98281"/>
                    </a:lnTo>
                    <a:lnTo>
                      <a:pt x="1217" y="91971"/>
                    </a:lnTo>
                    <a:lnTo>
                      <a:pt x="4320" y="89279"/>
                    </a:lnTo>
                    <a:lnTo>
                      <a:pt x="7884" y="83305"/>
                    </a:lnTo>
                    <a:lnTo>
                      <a:pt x="11187" y="78129"/>
                    </a:lnTo>
                    <a:lnTo>
                      <a:pt x="15938" y="74391"/>
                    </a:lnTo>
                    <a:lnTo>
                      <a:pt x="18300" y="69697"/>
                    </a:lnTo>
                    <a:lnTo>
                      <a:pt x="21632" y="67264"/>
                    </a:lnTo>
                    <a:lnTo>
                      <a:pt x="20692" y="62832"/>
                    </a:lnTo>
                    <a:lnTo>
                      <a:pt x="22446" y="59767"/>
                    </a:lnTo>
                    <a:lnTo>
                      <a:pt x="21517" y="54471"/>
                    </a:lnTo>
                    <a:lnTo>
                      <a:pt x="24349" y="50936"/>
                    </a:lnTo>
                    <a:lnTo>
                      <a:pt x="23534" y="49436"/>
                    </a:lnTo>
                    <a:lnTo>
                      <a:pt x="26036" y="44551"/>
                    </a:lnTo>
                    <a:lnTo>
                      <a:pt x="26159" y="37865"/>
                    </a:lnTo>
                    <a:lnTo>
                      <a:pt x="28569" y="31951"/>
                    </a:lnTo>
                    <a:lnTo>
                      <a:pt x="35453" y="23433"/>
                    </a:lnTo>
                    <a:lnTo>
                      <a:pt x="39114" y="18372"/>
                    </a:lnTo>
                    <a:lnTo>
                      <a:pt x="43443" y="15142"/>
                    </a:lnTo>
                    <a:lnTo>
                      <a:pt x="45991" y="13838"/>
                    </a:lnTo>
                    <a:lnTo>
                      <a:pt x="50693" y="7274"/>
                    </a:lnTo>
                    <a:lnTo>
                      <a:pt x="52018" y="3655"/>
                    </a:lnTo>
                    <a:lnTo>
                      <a:pt x="55845" y="1964"/>
                    </a:lnTo>
                    <a:lnTo>
                      <a:pt x="56875" y="0"/>
                    </a:lnTo>
                    <a:lnTo>
                      <a:pt x="74432" y="943"/>
                    </a:lnTo>
                    <a:lnTo>
                      <a:pt x="93799" y="2534"/>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39" name="Polygon form 304"/>
              <p:cNvSpPr/>
              <p:nvPr/>
            </p:nvSpPr>
            <p:spPr>
              <a:xfrm>
                <a:off x="2449550" y="3248735"/>
                <a:ext cx="79740" cy="79537"/>
              </a:xfrm>
              <a:custGeom>
                <a:avLst/>
                <a:gdLst/>
                <a:ahLst/>
                <a:cxnLst/>
                <a:rect l="0" t="0" r="0" b="0"/>
                <a:pathLst>
                  <a:path w="79740" h="79537">
                    <a:moveTo>
                      <a:pt x="79740" y="35990"/>
                    </a:moveTo>
                    <a:lnTo>
                      <a:pt x="67958" y="44696"/>
                    </a:lnTo>
                    <a:lnTo>
                      <a:pt x="62981" y="52908"/>
                    </a:lnTo>
                    <a:lnTo>
                      <a:pt x="38485" y="68148"/>
                    </a:lnTo>
                    <a:lnTo>
                      <a:pt x="24890" y="79537"/>
                    </a:lnTo>
                    <a:lnTo>
                      <a:pt x="22131" y="78123"/>
                    </a:lnTo>
                    <a:lnTo>
                      <a:pt x="20727" y="77127"/>
                    </a:lnTo>
                    <a:lnTo>
                      <a:pt x="22104" y="72390"/>
                    </a:lnTo>
                    <a:lnTo>
                      <a:pt x="21651" y="67650"/>
                    </a:lnTo>
                    <a:lnTo>
                      <a:pt x="19058" y="64774"/>
                    </a:lnTo>
                    <a:lnTo>
                      <a:pt x="20211" y="62973"/>
                    </a:lnTo>
                    <a:lnTo>
                      <a:pt x="19936" y="60174"/>
                    </a:lnTo>
                    <a:lnTo>
                      <a:pt x="20305" y="54430"/>
                    </a:lnTo>
                    <a:lnTo>
                      <a:pt x="16005" y="49151"/>
                    </a:lnTo>
                    <a:lnTo>
                      <a:pt x="15668" y="43133"/>
                    </a:lnTo>
                    <a:lnTo>
                      <a:pt x="12611" y="38880"/>
                    </a:lnTo>
                    <a:lnTo>
                      <a:pt x="12308" y="35730"/>
                    </a:lnTo>
                    <a:lnTo>
                      <a:pt x="7840" y="29538"/>
                    </a:lnTo>
                    <a:lnTo>
                      <a:pt x="7059" y="25028"/>
                    </a:lnTo>
                    <a:lnTo>
                      <a:pt x="6166" y="16999"/>
                    </a:lnTo>
                    <a:lnTo>
                      <a:pt x="3529" y="15335"/>
                    </a:lnTo>
                    <a:lnTo>
                      <a:pt x="0" y="10967"/>
                    </a:lnTo>
                    <a:lnTo>
                      <a:pt x="4367" y="6400"/>
                    </a:lnTo>
                    <a:lnTo>
                      <a:pt x="6985" y="4432"/>
                    </a:lnTo>
                    <a:lnTo>
                      <a:pt x="9008" y="3784"/>
                    </a:lnTo>
                    <a:lnTo>
                      <a:pt x="20011" y="0"/>
                    </a:lnTo>
                    <a:lnTo>
                      <a:pt x="36425" y="1014"/>
                    </a:lnTo>
                    <a:lnTo>
                      <a:pt x="44439" y="2560"/>
                    </a:lnTo>
                    <a:lnTo>
                      <a:pt x="43897" y="4759"/>
                    </a:lnTo>
                    <a:lnTo>
                      <a:pt x="46207" y="3204"/>
                    </a:lnTo>
                    <a:lnTo>
                      <a:pt x="47705" y="7539"/>
                    </a:lnTo>
                    <a:lnTo>
                      <a:pt x="46765" y="10425"/>
                    </a:lnTo>
                    <a:lnTo>
                      <a:pt x="66594" y="11612"/>
                    </a:lnTo>
                    <a:lnTo>
                      <a:pt x="79740" y="35990"/>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40" name="Polygon form 305"/>
              <p:cNvSpPr/>
              <p:nvPr/>
            </p:nvSpPr>
            <p:spPr>
              <a:xfrm>
                <a:off x="2353491" y="3058968"/>
                <a:ext cx="102356" cy="139451"/>
              </a:xfrm>
              <a:custGeom>
                <a:avLst/>
                <a:gdLst/>
                <a:ahLst/>
                <a:cxnLst/>
                <a:rect l="0" t="0" r="0" b="0"/>
                <a:pathLst>
                  <a:path w="102356" h="139451">
                    <a:moveTo>
                      <a:pt x="41558" y="0"/>
                    </a:moveTo>
                    <a:lnTo>
                      <a:pt x="58809" y="1120"/>
                    </a:lnTo>
                    <a:lnTo>
                      <a:pt x="76437" y="2301"/>
                    </a:lnTo>
                    <a:lnTo>
                      <a:pt x="89376" y="3346"/>
                    </a:lnTo>
                    <a:lnTo>
                      <a:pt x="89404" y="3281"/>
                    </a:lnTo>
                    <a:lnTo>
                      <a:pt x="94755" y="3656"/>
                    </a:lnTo>
                    <a:lnTo>
                      <a:pt x="102356" y="4197"/>
                    </a:lnTo>
                    <a:lnTo>
                      <a:pt x="99699" y="8669"/>
                    </a:lnTo>
                    <a:lnTo>
                      <a:pt x="97055" y="13130"/>
                    </a:lnTo>
                    <a:lnTo>
                      <a:pt x="94412" y="17606"/>
                    </a:lnTo>
                    <a:lnTo>
                      <a:pt x="91776" y="22082"/>
                    </a:lnTo>
                    <a:lnTo>
                      <a:pt x="89215" y="21925"/>
                    </a:lnTo>
                    <a:lnTo>
                      <a:pt x="86674" y="21768"/>
                    </a:lnTo>
                    <a:lnTo>
                      <a:pt x="86132" y="23063"/>
                    </a:lnTo>
                    <a:lnTo>
                      <a:pt x="86050" y="23058"/>
                    </a:lnTo>
                    <a:lnTo>
                      <a:pt x="74430" y="51715"/>
                    </a:lnTo>
                    <a:lnTo>
                      <a:pt x="63169" y="80403"/>
                    </a:lnTo>
                    <a:lnTo>
                      <a:pt x="58544" y="87192"/>
                    </a:lnTo>
                    <a:lnTo>
                      <a:pt x="59272" y="89100"/>
                    </a:lnTo>
                    <a:lnTo>
                      <a:pt x="58577" y="93394"/>
                    </a:lnTo>
                    <a:lnTo>
                      <a:pt x="57176" y="96722"/>
                    </a:lnTo>
                    <a:lnTo>
                      <a:pt x="55149" y="98148"/>
                    </a:lnTo>
                    <a:lnTo>
                      <a:pt x="52336" y="102187"/>
                    </a:lnTo>
                    <a:lnTo>
                      <a:pt x="46684" y="107393"/>
                    </a:lnTo>
                    <a:lnTo>
                      <a:pt x="41738" y="113931"/>
                    </a:lnTo>
                    <a:lnTo>
                      <a:pt x="39307" y="118922"/>
                    </a:lnTo>
                    <a:lnTo>
                      <a:pt x="38741" y="120784"/>
                    </a:lnTo>
                    <a:lnTo>
                      <a:pt x="35480" y="124131"/>
                    </a:lnTo>
                    <a:lnTo>
                      <a:pt x="36122" y="126559"/>
                    </a:lnTo>
                    <a:lnTo>
                      <a:pt x="32372" y="128200"/>
                    </a:lnTo>
                    <a:lnTo>
                      <a:pt x="27632" y="130055"/>
                    </a:lnTo>
                    <a:lnTo>
                      <a:pt x="26321" y="135531"/>
                    </a:lnTo>
                    <a:lnTo>
                      <a:pt x="23264" y="137455"/>
                    </a:lnTo>
                    <a:lnTo>
                      <a:pt x="19861" y="134910"/>
                    </a:lnTo>
                    <a:lnTo>
                      <a:pt x="15676" y="133301"/>
                    </a:lnTo>
                    <a:lnTo>
                      <a:pt x="13599" y="135644"/>
                    </a:lnTo>
                    <a:lnTo>
                      <a:pt x="12898" y="139451"/>
                    </a:lnTo>
                    <a:lnTo>
                      <a:pt x="11195" y="135413"/>
                    </a:lnTo>
                    <a:lnTo>
                      <a:pt x="9059" y="135950"/>
                    </a:lnTo>
                    <a:lnTo>
                      <a:pt x="9069" y="129708"/>
                    </a:lnTo>
                    <a:lnTo>
                      <a:pt x="11112" y="126004"/>
                    </a:lnTo>
                    <a:lnTo>
                      <a:pt x="12058" y="119910"/>
                    </a:lnTo>
                    <a:lnTo>
                      <a:pt x="10567" y="119069"/>
                    </a:lnTo>
                    <a:lnTo>
                      <a:pt x="8055" y="113337"/>
                    </a:lnTo>
                    <a:lnTo>
                      <a:pt x="6111" y="113128"/>
                    </a:lnTo>
                    <a:lnTo>
                      <a:pt x="3999" y="109409"/>
                    </a:lnTo>
                    <a:lnTo>
                      <a:pt x="2963" y="105523"/>
                    </a:lnTo>
                    <a:lnTo>
                      <a:pt x="5778" y="101219"/>
                    </a:lnTo>
                    <a:lnTo>
                      <a:pt x="8795" y="97696"/>
                    </a:lnTo>
                    <a:lnTo>
                      <a:pt x="11569" y="93163"/>
                    </a:lnTo>
                    <a:lnTo>
                      <a:pt x="9828" y="88965"/>
                    </a:lnTo>
                    <a:lnTo>
                      <a:pt x="5918" y="90371"/>
                    </a:lnTo>
                    <a:lnTo>
                      <a:pt x="4344" y="89213"/>
                    </a:lnTo>
                    <a:lnTo>
                      <a:pt x="5712" y="85038"/>
                    </a:lnTo>
                    <a:lnTo>
                      <a:pt x="6148" y="80215"/>
                    </a:lnTo>
                    <a:lnTo>
                      <a:pt x="5006" y="78986"/>
                    </a:lnTo>
                    <a:lnTo>
                      <a:pt x="2367" y="75401"/>
                    </a:lnTo>
                    <a:lnTo>
                      <a:pt x="774" y="70976"/>
                    </a:lnTo>
                    <a:lnTo>
                      <a:pt x="0" y="65683"/>
                    </a:lnTo>
                    <a:lnTo>
                      <a:pt x="1511" y="58160"/>
                    </a:lnTo>
                    <a:lnTo>
                      <a:pt x="5567" y="52080"/>
                    </a:lnTo>
                    <a:lnTo>
                      <a:pt x="7797" y="47571"/>
                    </a:lnTo>
                    <a:lnTo>
                      <a:pt x="13725" y="44160"/>
                    </a:lnTo>
                    <a:lnTo>
                      <a:pt x="16443" y="40465"/>
                    </a:lnTo>
                    <a:lnTo>
                      <a:pt x="20478" y="36317"/>
                    </a:lnTo>
                    <a:lnTo>
                      <a:pt x="21376" y="32427"/>
                    </a:lnTo>
                    <a:lnTo>
                      <a:pt x="20071" y="30363"/>
                    </a:lnTo>
                    <a:lnTo>
                      <a:pt x="23407" y="26199"/>
                    </a:lnTo>
                    <a:lnTo>
                      <a:pt x="29773" y="25355"/>
                    </a:lnTo>
                    <a:lnTo>
                      <a:pt x="34272" y="24176"/>
                    </a:lnTo>
                    <a:lnTo>
                      <a:pt x="36163" y="22466"/>
                    </a:lnTo>
                    <a:lnTo>
                      <a:pt x="41698" y="17061"/>
                    </a:lnTo>
                    <a:lnTo>
                      <a:pt x="45451" y="10467"/>
                    </a:lnTo>
                    <a:lnTo>
                      <a:pt x="44620" y="8220"/>
                    </a:lnTo>
                    <a:lnTo>
                      <a:pt x="42818" y="6058"/>
                    </a:lnTo>
                    <a:lnTo>
                      <a:pt x="43169" y="3335"/>
                    </a:lnTo>
                    <a:lnTo>
                      <a:pt x="41720" y="1949"/>
                    </a:lnTo>
                    <a:lnTo>
                      <a:pt x="41558" y="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341" name="Polygon form 306"/>
              <p:cNvSpPr/>
              <p:nvPr/>
            </p:nvSpPr>
            <p:spPr>
              <a:xfrm>
                <a:off x="2392798" y="3080736"/>
                <a:ext cx="93583" cy="98960"/>
              </a:xfrm>
              <a:custGeom>
                <a:avLst/>
                <a:gdLst/>
                <a:ahLst/>
                <a:cxnLst/>
                <a:rect l="0" t="0" r="0" b="0"/>
                <a:pathLst>
                  <a:path w="93583" h="98960">
                    <a:moveTo>
                      <a:pt x="92823" y="4846"/>
                    </a:moveTo>
                    <a:lnTo>
                      <a:pt x="83995" y="27194"/>
                    </a:lnTo>
                    <a:lnTo>
                      <a:pt x="74656" y="51251"/>
                    </a:lnTo>
                    <a:lnTo>
                      <a:pt x="68148" y="68406"/>
                    </a:lnTo>
                    <a:lnTo>
                      <a:pt x="66713" y="69517"/>
                    </a:lnTo>
                    <a:lnTo>
                      <a:pt x="66269" y="74655"/>
                    </a:lnTo>
                    <a:lnTo>
                      <a:pt x="64840" y="76449"/>
                    </a:lnTo>
                    <a:lnTo>
                      <a:pt x="61892" y="76325"/>
                    </a:lnTo>
                    <a:lnTo>
                      <a:pt x="58367" y="78363"/>
                    </a:lnTo>
                    <a:lnTo>
                      <a:pt x="54570" y="77241"/>
                    </a:lnTo>
                    <a:lnTo>
                      <a:pt x="52443" y="81981"/>
                    </a:lnTo>
                    <a:lnTo>
                      <a:pt x="49322" y="83655"/>
                    </a:lnTo>
                    <a:lnTo>
                      <a:pt x="45461" y="87792"/>
                    </a:lnTo>
                    <a:lnTo>
                      <a:pt x="42708" y="88429"/>
                    </a:lnTo>
                    <a:lnTo>
                      <a:pt x="36164" y="95607"/>
                    </a:lnTo>
                    <a:lnTo>
                      <a:pt x="33389" y="93282"/>
                    </a:lnTo>
                    <a:lnTo>
                      <a:pt x="33401" y="90173"/>
                    </a:lnTo>
                    <a:lnTo>
                      <a:pt x="28543" y="94955"/>
                    </a:lnTo>
                    <a:lnTo>
                      <a:pt x="25599" y="97606"/>
                    </a:lnTo>
                    <a:lnTo>
                      <a:pt x="22894" y="94477"/>
                    </a:lnTo>
                    <a:lnTo>
                      <a:pt x="17995" y="96616"/>
                    </a:lnTo>
                    <a:lnTo>
                      <a:pt x="15783" y="98960"/>
                    </a:lnTo>
                    <a:lnTo>
                      <a:pt x="11780" y="94870"/>
                    </a:lnTo>
                    <a:lnTo>
                      <a:pt x="7024" y="97379"/>
                    </a:lnTo>
                    <a:lnTo>
                      <a:pt x="3226" y="95190"/>
                    </a:lnTo>
                    <a:lnTo>
                      <a:pt x="2032" y="97929"/>
                    </a:lnTo>
                    <a:lnTo>
                      <a:pt x="0" y="97155"/>
                    </a:lnTo>
                    <a:lnTo>
                      <a:pt x="2431" y="92163"/>
                    </a:lnTo>
                    <a:lnTo>
                      <a:pt x="7377" y="85625"/>
                    </a:lnTo>
                    <a:lnTo>
                      <a:pt x="13029" y="80419"/>
                    </a:lnTo>
                    <a:lnTo>
                      <a:pt x="15842" y="76380"/>
                    </a:lnTo>
                    <a:lnTo>
                      <a:pt x="17869" y="74954"/>
                    </a:lnTo>
                    <a:lnTo>
                      <a:pt x="19271" y="71626"/>
                    </a:lnTo>
                    <a:lnTo>
                      <a:pt x="19965" y="67332"/>
                    </a:lnTo>
                    <a:lnTo>
                      <a:pt x="19237" y="65424"/>
                    </a:lnTo>
                    <a:lnTo>
                      <a:pt x="23862" y="58636"/>
                    </a:lnTo>
                    <a:lnTo>
                      <a:pt x="35123" y="29947"/>
                    </a:lnTo>
                    <a:lnTo>
                      <a:pt x="46743" y="1290"/>
                    </a:lnTo>
                    <a:lnTo>
                      <a:pt x="47358" y="0"/>
                    </a:lnTo>
                    <a:lnTo>
                      <a:pt x="52469" y="314"/>
                    </a:lnTo>
                    <a:lnTo>
                      <a:pt x="57635" y="630"/>
                    </a:lnTo>
                    <a:lnTo>
                      <a:pt x="59231" y="728"/>
                    </a:lnTo>
                    <a:lnTo>
                      <a:pt x="59183" y="846"/>
                    </a:lnTo>
                    <a:lnTo>
                      <a:pt x="77485" y="2073"/>
                    </a:lnTo>
                    <a:lnTo>
                      <a:pt x="93583" y="2913"/>
                    </a:lnTo>
                    <a:lnTo>
                      <a:pt x="92823" y="4846"/>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342" name="Polygon form 307"/>
              <p:cNvSpPr/>
              <p:nvPr/>
            </p:nvSpPr>
            <p:spPr>
              <a:xfrm>
                <a:off x="2355378" y="3149142"/>
                <a:ext cx="141664" cy="63426"/>
              </a:xfrm>
              <a:custGeom>
                <a:avLst/>
                <a:gdLst/>
                <a:ahLst/>
                <a:cxnLst/>
                <a:rect l="0" t="0" r="0" b="0"/>
                <a:pathLst>
                  <a:path w="141664" h="63426">
                    <a:moveTo>
                      <a:pt x="141664" y="41583"/>
                    </a:moveTo>
                    <a:lnTo>
                      <a:pt x="132106" y="48599"/>
                    </a:lnTo>
                    <a:lnTo>
                      <a:pt x="125615" y="51213"/>
                    </a:lnTo>
                    <a:lnTo>
                      <a:pt x="124505" y="53197"/>
                    </a:lnTo>
                    <a:lnTo>
                      <a:pt x="121743" y="55711"/>
                    </a:lnTo>
                    <a:lnTo>
                      <a:pt x="115911" y="58414"/>
                    </a:lnTo>
                    <a:lnTo>
                      <a:pt x="113514" y="60748"/>
                    </a:lnTo>
                    <a:lnTo>
                      <a:pt x="109354" y="62095"/>
                    </a:lnTo>
                    <a:lnTo>
                      <a:pt x="103767" y="63236"/>
                    </a:lnTo>
                    <a:lnTo>
                      <a:pt x="91513" y="63426"/>
                    </a:lnTo>
                    <a:lnTo>
                      <a:pt x="76295" y="61540"/>
                    </a:lnTo>
                    <a:lnTo>
                      <a:pt x="71101" y="61572"/>
                    </a:lnTo>
                    <a:lnTo>
                      <a:pt x="61204" y="60332"/>
                    </a:lnTo>
                    <a:lnTo>
                      <a:pt x="50934" y="59575"/>
                    </a:lnTo>
                    <a:lnTo>
                      <a:pt x="41466" y="58926"/>
                    </a:lnTo>
                    <a:lnTo>
                      <a:pt x="30175" y="59017"/>
                    </a:lnTo>
                    <a:lnTo>
                      <a:pt x="30009" y="57852"/>
                    </a:lnTo>
                    <a:lnTo>
                      <a:pt x="26488" y="57711"/>
                    </a:lnTo>
                    <a:lnTo>
                      <a:pt x="25148" y="61627"/>
                    </a:lnTo>
                    <a:lnTo>
                      <a:pt x="0" y="59996"/>
                    </a:lnTo>
                    <a:lnTo>
                      <a:pt x="4910" y="57595"/>
                    </a:lnTo>
                    <a:lnTo>
                      <a:pt x="8460" y="55683"/>
                    </a:lnTo>
                    <a:lnTo>
                      <a:pt x="9548" y="51749"/>
                    </a:lnTo>
                    <a:lnTo>
                      <a:pt x="11011" y="49277"/>
                    </a:lnTo>
                    <a:lnTo>
                      <a:pt x="11712" y="45470"/>
                    </a:lnTo>
                    <a:lnTo>
                      <a:pt x="13789" y="43127"/>
                    </a:lnTo>
                    <a:lnTo>
                      <a:pt x="17975" y="44736"/>
                    </a:lnTo>
                    <a:lnTo>
                      <a:pt x="21377" y="47281"/>
                    </a:lnTo>
                    <a:lnTo>
                      <a:pt x="24435" y="45357"/>
                    </a:lnTo>
                    <a:lnTo>
                      <a:pt x="25745" y="39881"/>
                    </a:lnTo>
                    <a:lnTo>
                      <a:pt x="30485" y="38026"/>
                    </a:lnTo>
                    <a:lnTo>
                      <a:pt x="34235" y="36385"/>
                    </a:lnTo>
                    <a:lnTo>
                      <a:pt x="33593" y="33957"/>
                    </a:lnTo>
                    <a:lnTo>
                      <a:pt x="36855" y="30610"/>
                    </a:lnTo>
                    <a:lnTo>
                      <a:pt x="37420" y="28748"/>
                    </a:lnTo>
                    <a:lnTo>
                      <a:pt x="39453" y="29522"/>
                    </a:lnTo>
                    <a:lnTo>
                      <a:pt x="40646" y="26784"/>
                    </a:lnTo>
                    <a:lnTo>
                      <a:pt x="44444" y="28973"/>
                    </a:lnTo>
                    <a:lnTo>
                      <a:pt x="49200" y="26464"/>
                    </a:lnTo>
                    <a:lnTo>
                      <a:pt x="53204" y="30554"/>
                    </a:lnTo>
                    <a:lnTo>
                      <a:pt x="55416" y="28210"/>
                    </a:lnTo>
                    <a:lnTo>
                      <a:pt x="60314" y="26071"/>
                    </a:lnTo>
                    <a:lnTo>
                      <a:pt x="63020" y="29199"/>
                    </a:lnTo>
                    <a:lnTo>
                      <a:pt x="65963" y="26548"/>
                    </a:lnTo>
                    <a:lnTo>
                      <a:pt x="70821" y="21767"/>
                    </a:lnTo>
                    <a:lnTo>
                      <a:pt x="70809" y="24875"/>
                    </a:lnTo>
                    <a:lnTo>
                      <a:pt x="73584" y="27201"/>
                    </a:lnTo>
                    <a:lnTo>
                      <a:pt x="80128" y="20023"/>
                    </a:lnTo>
                    <a:lnTo>
                      <a:pt x="82881" y="19386"/>
                    </a:lnTo>
                    <a:lnTo>
                      <a:pt x="86743" y="15249"/>
                    </a:lnTo>
                    <a:lnTo>
                      <a:pt x="89863" y="13575"/>
                    </a:lnTo>
                    <a:lnTo>
                      <a:pt x="91991" y="8835"/>
                    </a:lnTo>
                    <a:lnTo>
                      <a:pt x="95788" y="9957"/>
                    </a:lnTo>
                    <a:lnTo>
                      <a:pt x="99313" y="7919"/>
                    </a:lnTo>
                    <a:lnTo>
                      <a:pt x="102261" y="8042"/>
                    </a:lnTo>
                    <a:lnTo>
                      <a:pt x="103690" y="6249"/>
                    </a:lnTo>
                    <a:lnTo>
                      <a:pt x="104133" y="1110"/>
                    </a:lnTo>
                    <a:lnTo>
                      <a:pt x="105568" y="0"/>
                    </a:lnTo>
                    <a:lnTo>
                      <a:pt x="111312" y="909"/>
                    </a:lnTo>
                    <a:lnTo>
                      <a:pt x="113513" y="3465"/>
                    </a:lnTo>
                    <a:lnTo>
                      <a:pt x="116106" y="9315"/>
                    </a:lnTo>
                    <a:lnTo>
                      <a:pt x="119174" y="11274"/>
                    </a:lnTo>
                    <a:lnTo>
                      <a:pt x="121141" y="13425"/>
                    </a:lnTo>
                    <a:lnTo>
                      <a:pt x="125549" y="12957"/>
                    </a:lnTo>
                    <a:lnTo>
                      <a:pt x="128108" y="14551"/>
                    </a:lnTo>
                    <a:lnTo>
                      <a:pt x="132338" y="13390"/>
                    </a:lnTo>
                    <a:lnTo>
                      <a:pt x="135797" y="13150"/>
                    </a:lnTo>
                    <a:lnTo>
                      <a:pt x="135962" y="16695"/>
                    </a:lnTo>
                    <a:lnTo>
                      <a:pt x="138383" y="19240"/>
                    </a:lnTo>
                    <a:lnTo>
                      <a:pt x="137887" y="21615"/>
                    </a:lnTo>
                    <a:lnTo>
                      <a:pt x="135908" y="26728"/>
                    </a:lnTo>
                    <a:lnTo>
                      <a:pt x="136652" y="30704"/>
                    </a:lnTo>
                    <a:lnTo>
                      <a:pt x="136197" y="34509"/>
                    </a:lnTo>
                    <a:lnTo>
                      <a:pt x="137659" y="37854"/>
                    </a:lnTo>
                    <a:lnTo>
                      <a:pt x="138392" y="40947"/>
                    </a:lnTo>
                    <a:lnTo>
                      <a:pt x="141664" y="41583"/>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43" name="Polygon form 308"/>
              <p:cNvSpPr/>
              <p:nvPr/>
            </p:nvSpPr>
            <p:spPr>
              <a:xfrm>
                <a:off x="2434353" y="3214536"/>
                <a:ext cx="162831" cy="70188"/>
              </a:xfrm>
              <a:custGeom>
                <a:avLst/>
                <a:gdLst/>
                <a:ahLst/>
                <a:cxnLst/>
                <a:rect l="0" t="0" r="0" b="0"/>
                <a:pathLst>
                  <a:path w="162831" h="70188">
                    <a:moveTo>
                      <a:pt x="162831" y="5813"/>
                    </a:moveTo>
                    <a:lnTo>
                      <a:pt x="157932" y="30647"/>
                    </a:lnTo>
                    <a:lnTo>
                      <a:pt x="141168" y="48484"/>
                    </a:lnTo>
                    <a:lnTo>
                      <a:pt x="120451" y="54998"/>
                    </a:lnTo>
                    <a:lnTo>
                      <a:pt x="104398" y="69002"/>
                    </a:lnTo>
                    <a:lnTo>
                      <a:pt x="94937" y="70188"/>
                    </a:lnTo>
                    <a:lnTo>
                      <a:pt x="81791" y="45811"/>
                    </a:lnTo>
                    <a:lnTo>
                      <a:pt x="61962" y="44624"/>
                    </a:lnTo>
                    <a:lnTo>
                      <a:pt x="62902" y="41738"/>
                    </a:lnTo>
                    <a:lnTo>
                      <a:pt x="61404" y="37403"/>
                    </a:lnTo>
                    <a:lnTo>
                      <a:pt x="59094" y="38958"/>
                    </a:lnTo>
                    <a:lnTo>
                      <a:pt x="59636" y="36759"/>
                    </a:lnTo>
                    <a:lnTo>
                      <a:pt x="51622" y="35212"/>
                    </a:lnTo>
                    <a:lnTo>
                      <a:pt x="35208" y="34199"/>
                    </a:lnTo>
                    <a:lnTo>
                      <a:pt x="24205" y="37983"/>
                    </a:lnTo>
                    <a:lnTo>
                      <a:pt x="22182" y="38631"/>
                    </a:lnTo>
                    <a:lnTo>
                      <a:pt x="0" y="37326"/>
                    </a:lnTo>
                    <a:lnTo>
                      <a:pt x="2109" y="32082"/>
                    </a:lnTo>
                    <a:lnTo>
                      <a:pt x="6397" y="30707"/>
                    </a:lnTo>
                    <a:lnTo>
                      <a:pt x="8505" y="28099"/>
                    </a:lnTo>
                    <a:lnTo>
                      <a:pt x="12019" y="25215"/>
                    </a:lnTo>
                    <a:lnTo>
                      <a:pt x="15845" y="24740"/>
                    </a:lnTo>
                    <a:lnTo>
                      <a:pt x="20404" y="23808"/>
                    </a:lnTo>
                    <a:lnTo>
                      <a:pt x="25175" y="21870"/>
                    </a:lnTo>
                    <a:lnTo>
                      <a:pt x="27654" y="19764"/>
                    </a:lnTo>
                    <a:lnTo>
                      <a:pt x="31692" y="17951"/>
                    </a:lnTo>
                    <a:lnTo>
                      <a:pt x="32187" y="16146"/>
                    </a:lnTo>
                    <a:lnTo>
                      <a:pt x="37758" y="13009"/>
                    </a:lnTo>
                    <a:lnTo>
                      <a:pt x="38483" y="15262"/>
                    </a:lnTo>
                    <a:lnTo>
                      <a:pt x="46576" y="10917"/>
                    </a:lnTo>
                    <a:lnTo>
                      <a:pt x="49482" y="11556"/>
                    </a:lnTo>
                    <a:lnTo>
                      <a:pt x="53576" y="7532"/>
                    </a:lnTo>
                    <a:lnTo>
                      <a:pt x="57544" y="6638"/>
                    </a:lnTo>
                    <a:lnTo>
                      <a:pt x="58507" y="3086"/>
                    </a:lnTo>
                    <a:lnTo>
                      <a:pt x="59980" y="0"/>
                    </a:lnTo>
                    <a:lnTo>
                      <a:pt x="89536" y="2560"/>
                    </a:lnTo>
                    <a:lnTo>
                      <a:pt x="124864" y="4383"/>
                    </a:lnTo>
                    <a:lnTo>
                      <a:pt x="143724" y="5060"/>
                    </a:lnTo>
                    <a:lnTo>
                      <a:pt x="162831" y="5813"/>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344" name="Polygon form 309"/>
              <p:cNvSpPr/>
              <p:nvPr/>
            </p:nvSpPr>
            <p:spPr>
              <a:xfrm>
                <a:off x="2460946" y="3073848"/>
                <a:ext cx="104099" cy="94534"/>
              </a:xfrm>
              <a:custGeom>
                <a:avLst/>
                <a:gdLst/>
                <a:ahLst/>
                <a:cxnLst/>
                <a:rect l="0" t="0" r="0" b="0"/>
                <a:pathLst>
                  <a:path w="104099" h="94534">
                    <a:moveTo>
                      <a:pt x="40863" y="90826"/>
                    </a:moveTo>
                    <a:lnTo>
                      <a:pt x="37379" y="94136"/>
                    </a:lnTo>
                    <a:lnTo>
                      <a:pt x="32815" y="94534"/>
                    </a:lnTo>
                    <a:lnTo>
                      <a:pt x="30393" y="91989"/>
                    </a:lnTo>
                    <a:lnTo>
                      <a:pt x="30228" y="88443"/>
                    </a:lnTo>
                    <a:lnTo>
                      <a:pt x="26770" y="88684"/>
                    </a:lnTo>
                    <a:lnTo>
                      <a:pt x="22539" y="89844"/>
                    </a:lnTo>
                    <a:lnTo>
                      <a:pt x="19981" y="88250"/>
                    </a:lnTo>
                    <a:lnTo>
                      <a:pt x="15573" y="88719"/>
                    </a:lnTo>
                    <a:lnTo>
                      <a:pt x="13606" y="86567"/>
                    </a:lnTo>
                    <a:lnTo>
                      <a:pt x="10538" y="84608"/>
                    </a:lnTo>
                    <a:lnTo>
                      <a:pt x="7945" y="78758"/>
                    </a:lnTo>
                    <a:lnTo>
                      <a:pt x="5744" y="76202"/>
                    </a:lnTo>
                    <a:lnTo>
                      <a:pt x="0" y="75294"/>
                    </a:lnTo>
                    <a:lnTo>
                      <a:pt x="6509" y="58138"/>
                    </a:lnTo>
                    <a:lnTo>
                      <a:pt x="15847" y="34081"/>
                    </a:lnTo>
                    <a:lnTo>
                      <a:pt x="24675" y="11734"/>
                    </a:lnTo>
                    <a:lnTo>
                      <a:pt x="33487" y="12065"/>
                    </a:lnTo>
                    <a:lnTo>
                      <a:pt x="41262" y="12520"/>
                    </a:lnTo>
                    <a:lnTo>
                      <a:pt x="47796" y="12673"/>
                    </a:lnTo>
                    <a:lnTo>
                      <a:pt x="55991" y="6047"/>
                    </a:lnTo>
                    <a:lnTo>
                      <a:pt x="56084" y="6707"/>
                    </a:lnTo>
                    <a:lnTo>
                      <a:pt x="56527" y="9681"/>
                    </a:lnTo>
                    <a:lnTo>
                      <a:pt x="58553" y="11813"/>
                    </a:lnTo>
                    <a:lnTo>
                      <a:pt x="60822" y="13903"/>
                    </a:lnTo>
                    <a:lnTo>
                      <a:pt x="65111" y="14148"/>
                    </a:lnTo>
                    <a:lnTo>
                      <a:pt x="69961" y="11812"/>
                    </a:lnTo>
                    <a:lnTo>
                      <a:pt x="75095" y="9332"/>
                    </a:lnTo>
                    <a:lnTo>
                      <a:pt x="79667" y="7127"/>
                    </a:lnTo>
                    <a:lnTo>
                      <a:pt x="85104" y="4492"/>
                    </a:lnTo>
                    <a:lnTo>
                      <a:pt x="90021" y="2121"/>
                    </a:lnTo>
                    <a:lnTo>
                      <a:pt x="94641" y="1423"/>
                    </a:lnTo>
                    <a:lnTo>
                      <a:pt x="101027" y="466"/>
                    </a:lnTo>
                    <a:lnTo>
                      <a:pt x="104021" y="9"/>
                    </a:lnTo>
                    <a:lnTo>
                      <a:pt x="104099" y="0"/>
                    </a:lnTo>
                    <a:lnTo>
                      <a:pt x="104094" y="13"/>
                    </a:lnTo>
                    <a:lnTo>
                      <a:pt x="88526" y="41481"/>
                    </a:lnTo>
                    <a:lnTo>
                      <a:pt x="85681" y="42591"/>
                    </a:lnTo>
                    <a:lnTo>
                      <a:pt x="85268" y="45763"/>
                    </a:lnTo>
                    <a:lnTo>
                      <a:pt x="82401" y="51399"/>
                    </a:lnTo>
                    <a:lnTo>
                      <a:pt x="78295" y="57727"/>
                    </a:lnTo>
                    <a:lnTo>
                      <a:pt x="74702" y="62967"/>
                    </a:lnTo>
                    <a:lnTo>
                      <a:pt x="73497" y="65499"/>
                    </a:lnTo>
                    <a:lnTo>
                      <a:pt x="66760" y="70880"/>
                    </a:lnTo>
                    <a:lnTo>
                      <a:pt x="64325" y="71976"/>
                    </a:lnTo>
                    <a:lnTo>
                      <a:pt x="61730" y="72543"/>
                    </a:lnTo>
                    <a:lnTo>
                      <a:pt x="59817" y="71881"/>
                    </a:lnTo>
                    <a:lnTo>
                      <a:pt x="54423" y="75924"/>
                    </a:lnTo>
                    <a:lnTo>
                      <a:pt x="52126" y="80346"/>
                    </a:lnTo>
                    <a:lnTo>
                      <a:pt x="50729" y="82725"/>
                    </a:lnTo>
                    <a:lnTo>
                      <a:pt x="48830" y="83623"/>
                    </a:lnTo>
                    <a:lnTo>
                      <a:pt x="49587" y="80851"/>
                    </a:lnTo>
                    <a:lnTo>
                      <a:pt x="47439" y="80122"/>
                    </a:lnTo>
                    <a:lnTo>
                      <a:pt x="43078" y="85356"/>
                    </a:lnTo>
                    <a:lnTo>
                      <a:pt x="40863" y="90826"/>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346" name="Polygon form 311"/>
              <p:cNvSpPr/>
              <p:nvPr/>
            </p:nvSpPr>
            <p:spPr>
              <a:xfrm>
                <a:off x="2459145" y="3147787"/>
                <a:ext cx="140892" cy="72562"/>
              </a:xfrm>
              <a:custGeom>
                <a:avLst/>
                <a:gdLst/>
                <a:ahLst/>
                <a:cxnLst/>
                <a:rect l="0" t="0" r="0" b="0"/>
                <a:pathLst>
                  <a:path w="140892" h="72562">
                    <a:moveTo>
                      <a:pt x="117223" y="0"/>
                    </a:moveTo>
                    <a:lnTo>
                      <a:pt x="123856" y="7134"/>
                    </a:lnTo>
                    <a:lnTo>
                      <a:pt x="127382" y="2600"/>
                    </a:lnTo>
                    <a:lnTo>
                      <a:pt x="129657" y="3564"/>
                    </a:lnTo>
                    <a:lnTo>
                      <a:pt x="131349" y="5533"/>
                    </a:lnTo>
                    <a:lnTo>
                      <a:pt x="129173" y="8118"/>
                    </a:lnTo>
                    <a:lnTo>
                      <a:pt x="132364" y="9790"/>
                    </a:lnTo>
                    <a:lnTo>
                      <a:pt x="134702" y="12705"/>
                    </a:lnTo>
                    <a:lnTo>
                      <a:pt x="135453" y="14891"/>
                    </a:lnTo>
                    <a:lnTo>
                      <a:pt x="134891" y="16335"/>
                    </a:lnTo>
                    <a:lnTo>
                      <a:pt x="133916" y="18316"/>
                    </a:lnTo>
                    <a:lnTo>
                      <a:pt x="130162" y="20492"/>
                    </a:lnTo>
                    <a:lnTo>
                      <a:pt x="126357" y="25891"/>
                    </a:lnTo>
                    <a:lnTo>
                      <a:pt x="128248" y="27350"/>
                    </a:lnTo>
                    <a:lnTo>
                      <a:pt x="131451" y="26419"/>
                    </a:lnTo>
                    <a:lnTo>
                      <a:pt x="131340" y="29942"/>
                    </a:lnTo>
                    <a:lnTo>
                      <a:pt x="140892" y="38466"/>
                    </a:lnTo>
                    <a:lnTo>
                      <a:pt x="134258" y="61987"/>
                    </a:lnTo>
                    <a:lnTo>
                      <a:pt x="138817" y="63931"/>
                    </a:lnTo>
                    <a:lnTo>
                      <a:pt x="138039" y="72562"/>
                    </a:lnTo>
                    <a:lnTo>
                      <a:pt x="118932" y="71809"/>
                    </a:lnTo>
                    <a:lnTo>
                      <a:pt x="100072" y="71132"/>
                    </a:lnTo>
                    <a:lnTo>
                      <a:pt x="64744" y="69309"/>
                    </a:lnTo>
                    <a:lnTo>
                      <a:pt x="35188" y="66749"/>
                    </a:lnTo>
                    <a:lnTo>
                      <a:pt x="26047" y="66781"/>
                    </a:lnTo>
                    <a:lnTo>
                      <a:pt x="0" y="64591"/>
                    </a:lnTo>
                    <a:lnTo>
                      <a:pt x="5587" y="63450"/>
                    </a:lnTo>
                    <a:lnTo>
                      <a:pt x="9747" y="62103"/>
                    </a:lnTo>
                    <a:lnTo>
                      <a:pt x="12144" y="59769"/>
                    </a:lnTo>
                    <a:lnTo>
                      <a:pt x="17977" y="57066"/>
                    </a:lnTo>
                    <a:lnTo>
                      <a:pt x="20739" y="54552"/>
                    </a:lnTo>
                    <a:lnTo>
                      <a:pt x="21849" y="52568"/>
                    </a:lnTo>
                    <a:lnTo>
                      <a:pt x="28340" y="49954"/>
                    </a:lnTo>
                    <a:lnTo>
                      <a:pt x="37898" y="42938"/>
                    </a:lnTo>
                    <a:lnTo>
                      <a:pt x="37252" y="47186"/>
                    </a:lnTo>
                    <a:lnTo>
                      <a:pt x="38483" y="49529"/>
                    </a:lnTo>
                    <a:lnTo>
                      <a:pt x="40492" y="51659"/>
                    </a:lnTo>
                    <a:lnTo>
                      <a:pt x="47059" y="48954"/>
                    </a:lnTo>
                    <a:lnTo>
                      <a:pt x="48595" y="50805"/>
                    </a:lnTo>
                    <a:lnTo>
                      <a:pt x="55869" y="49068"/>
                    </a:lnTo>
                    <a:lnTo>
                      <a:pt x="56990" y="46874"/>
                    </a:lnTo>
                    <a:lnTo>
                      <a:pt x="58695" y="47853"/>
                    </a:lnTo>
                    <a:lnTo>
                      <a:pt x="61481" y="46156"/>
                    </a:lnTo>
                    <a:lnTo>
                      <a:pt x="63817" y="46634"/>
                    </a:lnTo>
                    <a:lnTo>
                      <a:pt x="67252" y="44863"/>
                    </a:lnTo>
                    <a:lnTo>
                      <a:pt x="68389" y="42618"/>
                    </a:lnTo>
                    <a:lnTo>
                      <a:pt x="69071" y="39697"/>
                    </a:lnTo>
                    <a:lnTo>
                      <a:pt x="72891" y="35538"/>
                    </a:lnTo>
                    <a:lnTo>
                      <a:pt x="77372" y="32479"/>
                    </a:lnTo>
                    <a:lnTo>
                      <a:pt x="79467" y="28873"/>
                    </a:lnTo>
                    <a:lnTo>
                      <a:pt x="83962" y="24633"/>
                    </a:lnTo>
                    <a:lnTo>
                      <a:pt x="87466" y="19344"/>
                    </a:lnTo>
                    <a:lnTo>
                      <a:pt x="89143" y="21372"/>
                    </a:lnTo>
                    <a:lnTo>
                      <a:pt x="91152" y="23269"/>
                    </a:lnTo>
                    <a:lnTo>
                      <a:pt x="93988" y="22443"/>
                    </a:lnTo>
                    <a:lnTo>
                      <a:pt x="95592" y="20237"/>
                    </a:lnTo>
                    <a:lnTo>
                      <a:pt x="98355" y="17254"/>
                    </a:lnTo>
                    <a:lnTo>
                      <a:pt x="101488" y="13852"/>
                    </a:lnTo>
                    <a:lnTo>
                      <a:pt x="102405" y="14947"/>
                    </a:lnTo>
                    <a:lnTo>
                      <a:pt x="106079" y="11892"/>
                    </a:lnTo>
                    <a:lnTo>
                      <a:pt x="110596" y="8840"/>
                    </a:lnTo>
                    <a:lnTo>
                      <a:pt x="113603" y="6496"/>
                    </a:lnTo>
                    <a:lnTo>
                      <a:pt x="117223" y="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347" name="Polygon form 312"/>
              <p:cNvSpPr/>
              <p:nvPr/>
            </p:nvSpPr>
            <p:spPr>
              <a:xfrm>
                <a:off x="2599662" y="3184623"/>
                <a:ext cx="17416" cy="19231"/>
              </a:xfrm>
              <a:custGeom>
                <a:avLst/>
                <a:gdLst/>
                <a:ahLst/>
                <a:cxnLst/>
                <a:rect l="0" t="0" r="0" b="0"/>
                <a:pathLst>
                  <a:path w="17416" h="19231">
                    <a:moveTo>
                      <a:pt x="17416" y="0"/>
                    </a:moveTo>
                    <a:lnTo>
                      <a:pt x="1306" y="19231"/>
                    </a:lnTo>
                    <a:lnTo>
                      <a:pt x="0" y="18176"/>
                    </a:lnTo>
                    <a:lnTo>
                      <a:pt x="10735" y="1644"/>
                    </a:lnTo>
                    <a:lnTo>
                      <a:pt x="13204" y="185"/>
                    </a:lnTo>
                    <a:lnTo>
                      <a:pt x="17416" y="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348" name="Polygon form 313"/>
              <p:cNvSpPr/>
              <p:nvPr/>
            </p:nvSpPr>
            <p:spPr>
              <a:xfrm>
                <a:off x="1947474" y="2862876"/>
                <a:ext cx="133656" cy="182930"/>
              </a:xfrm>
              <a:custGeom>
                <a:avLst/>
                <a:gdLst/>
                <a:ahLst/>
                <a:cxnLst/>
                <a:rect l="0" t="0" r="0" b="0"/>
                <a:pathLst>
                  <a:path w="133656" h="182930">
                    <a:moveTo>
                      <a:pt x="133656" y="120839"/>
                    </a:moveTo>
                    <a:lnTo>
                      <a:pt x="99139" y="182930"/>
                    </a:lnTo>
                    <a:lnTo>
                      <a:pt x="49460" y="178827"/>
                    </a:lnTo>
                    <a:lnTo>
                      <a:pt x="0" y="174168"/>
                    </a:lnTo>
                    <a:lnTo>
                      <a:pt x="26547" y="129119"/>
                    </a:lnTo>
                    <a:lnTo>
                      <a:pt x="32228" y="122149"/>
                    </a:lnTo>
                    <a:lnTo>
                      <a:pt x="32880" y="118770"/>
                    </a:lnTo>
                    <a:lnTo>
                      <a:pt x="30882" y="116787"/>
                    </a:lnTo>
                    <a:lnTo>
                      <a:pt x="33344" y="112798"/>
                    </a:lnTo>
                    <a:lnTo>
                      <a:pt x="39077" y="107352"/>
                    </a:lnTo>
                    <a:lnTo>
                      <a:pt x="45573" y="102752"/>
                    </a:lnTo>
                    <a:lnTo>
                      <a:pt x="52828" y="94931"/>
                    </a:lnTo>
                    <a:lnTo>
                      <a:pt x="58962" y="88725"/>
                    </a:lnTo>
                    <a:lnTo>
                      <a:pt x="62596" y="85644"/>
                    </a:lnTo>
                    <a:lnTo>
                      <a:pt x="64103" y="81783"/>
                    </a:lnTo>
                    <a:lnTo>
                      <a:pt x="62689" y="79508"/>
                    </a:lnTo>
                    <a:lnTo>
                      <a:pt x="61950" y="74349"/>
                    </a:lnTo>
                    <a:lnTo>
                      <a:pt x="64888" y="69946"/>
                    </a:lnTo>
                    <a:lnTo>
                      <a:pt x="65848" y="66018"/>
                    </a:lnTo>
                    <a:lnTo>
                      <a:pt x="87850" y="31479"/>
                    </a:lnTo>
                    <a:lnTo>
                      <a:pt x="108971" y="0"/>
                    </a:lnTo>
                    <a:lnTo>
                      <a:pt x="124165" y="1539"/>
                    </a:lnTo>
                    <a:lnTo>
                      <a:pt x="108114" y="27536"/>
                    </a:lnTo>
                    <a:lnTo>
                      <a:pt x="107929" y="34510"/>
                    </a:lnTo>
                    <a:lnTo>
                      <a:pt x="105022" y="38955"/>
                    </a:lnTo>
                    <a:lnTo>
                      <a:pt x="105378" y="43196"/>
                    </a:lnTo>
                    <a:lnTo>
                      <a:pt x="107498" y="45899"/>
                    </a:lnTo>
                    <a:lnTo>
                      <a:pt x="107664" y="49994"/>
                    </a:lnTo>
                    <a:lnTo>
                      <a:pt x="107191" y="58076"/>
                    </a:lnTo>
                    <a:lnTo>
                      <a:pt x="109008" y="62065"/>
                    </a:lnTo>
                    <a:lnTo>
                      <a:pt x="113638" y="62764"/>
                    </a:lnTo>
                    <a:lnTo>
                      <a:pt x="108458" y="68091"/>
                    </a:lnTo>
                    <a:lnTo>
                      <a:pt x="102845" y="74464"/>
                    </a:lnTo>
                    <a:lnTo>
                      <a:pt x="100240" y="80976"/>
                    </a:lnTo>
                    <a:lnTo>
                      <a:pt x="97391" y="82401"/>
                    </a:lnTo>
                    <a:lnTo>
                      <a:pt x="93645" y="88780"/>
                    </a:lnTo>
                    <a:lnTo>
                      <a:pt x="95005" y="91512"/>
                    </a:lnTo>
                    <a:lnTo>
                      <a:pt x="99976" y="88854"/>
                    </a:lnTo>
                    <a:lnTo>
                      <a:pt x="103749" y="85512"/>
                    </a:lnTo>
                    <a:lnTo>
                      <a:pt x="105281" y="86380"/>
                    </a:lnTo>
                    <a:lnTo>
                      <a:pt x="105118" y="89980"/>
                    </a:lnTo>
                    <a:lnTo>
                      <a:pt x="102208" y="98006"/>
                    </a:lnTo>
                    <a:lnTo>
                      <a:pt x="103200" y="101379"/>
                    </a:lnTo>
                    <a:lnTo>
                      <a:pt x="100345" y="107980"/>
                    </a:lnTo>
                    <a:lnTo>
                      <a:pt x="100250" y="109889"/>
                    </a:lnTo>
                    <a:lnTo>
                      <a:pt x="103189" y="110801"/>
                    </a:lnTo>
                    <a:lnTo>
                      <a:pt x="103040" y="114608"/>
                    </a:lnTo>
                    <a:lnTo>
                      <a:pt x="102127" y="121345"/>
                    </a:lnTo>
                    <a:lnTo>
                      <a:pt x="107143" y="118165"/>
                    </a:lnTo>
                    <a:lnTo>
                      <a:pt x="111934" y="119559"/>
                    </a:lnTo>
                    <a:lnTo>
                      <a:pt x="113791" y="117147"/>
                    </a:lnTo>
                    <a:lnTo>
                      <a:pt x="122061" y="119533"/>
                    </a:lnTo>
                    <a:lnTo>
                      <a:pt x="126250" y="119066"/>
                    </a:lnTo>
                    <a:lnTo>
                      <a:pt x="131423" y="114336"/>
                    </a:lnTo>
                    <a:lnTo>
                      <a:pt x="132786" y="115179"/>
                    </a:lnTo>
                    <a:lnTo>
                      <a:pt x="132352" y="118812"/>
                    </a:lnTo>
                    <a:lnTo>
                      <a:pt x="133336" y="120340"/>
                    </a:lnTo>
                    <a:lnTo>
                      <a:pt x="133656" y="120839"/>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49" name="Polygon form 314"/>
              <p:cNvSpPr/>
              <p:nvPr/>
            </p:nvSpPr>
            <p:spPr>
              <a:xfrm>
                <a:off x="2384569" y="2940621"/>
                <a:ext cx="113335" cy="122544"/>
              </a:xfrm>
              <a:custGeom>
                <a:avLst/>
                <a:gdLst/>
                <a:ahLst/>
                <a:cxnLst/>
                <a:rect l="0" t="0" r="0" b="0"/>
                <a:pathLst>
                  <a:path w="113335" h="122544">
                    <a:moveTo>
                      <a:pt x="110796" y="53417"/>
                    </a:moveTo>
                    <a:lnTo>
                      <a:pt x="113335" y="56017"/>
                    </a:lnTo>
                    <a:lnTo>
                      <a:pt x="110036" y="58172"/>
                    </a:lnTo>
                    <a:lnTo>
                      <a:pt x="106804" y="60279"/>
                    </a:lnTo>
                    <a:lnTo>
                      <a:pt x="101700" y="64888"/>
                    </a:lnTo>
                    <a:lnTo>
                      <a:pt x="97137" y="71048"/>
                    </a:lnTo>
                    <a:lnTo>
                      <a:pt x="93044" y="76597"/>
                    </a:lnTo>
                    <a:lnTo>
                      <a:pt x="88229" y="83133"/>
                    </a:lnTo>
                    <a:lnTo>
                      <a:pt x="85223" y="88032"/>
                    </a:lnTo>
                    <a:lnTo>
                      <a:pt x="81759" y="93694"/>
                    </a:lnTo>
                    <a:lnTo>
                      <a:pt x="80783" y="95830"/>
                    </a:lnTo>
                    <a:lnTo>
                      <a:pt x="78025" y="101845"/>
                    </a:lnTo>
                    <a:lnTo>
                      <a:pt x="75605" y="109198"/>
                    </a:lnTo>
                    <a:lnTo>
                      <a:pt x="73596" y="115357"/>
                    </a:lnTo>
                    <a:lnTo>
                      <a:pt x="71279" y="122544"/>
                    </a:lnTo>
                    <a:lnTo>
                      <a:pt x="63678" y="122003"/>
                    </a:lnTo>
                    <a:lnTo>
                      <a:pt x="58326" y="121628"/>
                    </a:lnTo>
                    <a:lnTo>
                      <a:pt x="58299" y="121693"/>
                    </a:lnTo>
                    <a:lnTo>
                      <a:pt x="45360" y="120648"/>
                    </a:lnTo>
                    <a:lnTo>
                      <a:pt x="27732" y="119467"/>
                    </a:lnTo>
                    <a:lnTo>
                      <a:pt x="10481" y="118347"/>
                    </a:lnTo>
                    <a:lnTo>
                      <a:pt x="10492" y="114458"/>
                    </a:lnTo>
                    <a:lnTo>
                      <a:pt x="6029" y="111726"/>
                    </a:lnTo>
                    <a:lnTo>
                      <a:pt x="6680" y="107729"/>
                    </a:lnTo>
                    <a:lnTo>
                      <a:pt x="6977" y="105474"/>
                    </a:lnTo>
                    <a:lnTo>
                      <a:pt x="9242" y="100278"/>
                    </a:lnTo>
                    <a:lnTo>
                      <a:pt x="11581" y="98508"/>
                    </a:lnTo>
                    <a:lnTo>
                      <a:pt x="11161" y="94440"/>
                    </a:lnTo>
                    <a:lnTo>
                      <a:pt x="11529" y="93078"/>
                    </a:lnTo>
                    <a:lnTo>
                      <a:pt x="12346" y="90264"/>
                    </a:lnTo>
                    <a:lnTo>
                      <a:pt x="15004" y="84317"/>
                    </a:lnTo>
                    <a:lnTo>
                      <a:pt x="15395" y="82243"/>
                    </a:lnTo>
                    <a:lnTo>
                      <a:pt x="11435" y="78202"/>
                    </a:lnTo>
                    <a:lnTo>
                      <a:pt x="9204" y="73671"/>
                    </a:lnTo>
                    <a:lnTo>
                      <a:pt x="9266" y="70940"/>
                    </a:lnTo>
                    <a:lnTo>
                      <a:pt x="8183" y="69140"/>
                    </a:lnTo>
                    <a:lnTo>
                      <a:pt x="4464" y="65256"/>
                    </a:lnTo>
                    <a:lnTo>
                      <a:pt x="2585" y="64895"/>
                    </a:lnTo>
                    <a:lnTo>
                      <a:pt x="0" y="59819"/>
                    </a:lnTo>
                    <a:lnTo>
                      <a:pt x="3089" y="54426"/>
                    </a:lnTo>
                    <a:lnTo>
                      <a:pt x="6313" y="47749"/>
                    </a:lnTo>
                    <a:lnTo>
                      <a:pt x="10559" y="41646"/>
                    </a:lnTo>
                    <a:lnTo>
                      <a:pt x="9342" y="36786"/>
                    </a:lnTo>
                    <a:lnTo>
                      <a:pt x="13902" y="32421"/>
                    </a:lnTo>
                    <a:lnTo>
                      <a:pt x="18551" y="30314"/>
                    </a:lnTo>
                    <a:lnTo>
                      <a:pt x="23931" y="27883"/>
                    </a:lnTo>
                    <a:lnTo>
                      <a:pt x="24438" y="27946"/>
                    </a:lnTo>
                    <a:lnTo>
                      <a:pt x="31074" y="14143"/>
                    </a:lnTo>
                    <a:lnTo>
                      <a:pt x="36035" y="13086"/>
                    </a:lnTo>
                    <a:lnTo>
                      <a:pt x="37021" y="12700"/>
                    </a:lnTo>
                    <a:lnTo>
                      <a:pt x="39629" y="11649"/>
                    </a:lnTo>
                    <a:lnTo>
                      <a:pt x="42253" y="10585"/>
                    </a:lnTo>
                    <a:lnTo>
                      <a:pt x="44868" y="9535"/>
                    </a:lnTo>
                    <a:lnTo>
                      <a:pt x="47475" y="8483"/>
                    </a:lnTo>
                    <a:lnTo>
                      <a:pt x="51958" y="6356"/>
                    </a:lnTo>
                    <a:lnTo>
                      <a:pt x="56433" y="4242"/>
                    </a:lnTo>
                    <a:lnTo>
                      <a:pt x="60897" y="2127"/>
                    </a:lnTo>
                    <a:lnTo>
                      <a:pt x="65373" y="0"/>
                    </a:lnTo>
                    <a:lnTo>
                      <a:pt x="68133" y="330"/>
                    </a:lnTo>
                    <a:lnTo>
                      <a:pt x="70887" y="674"/>
                    </a:lnTo>
                    <a:lnTo>
                      <a:pt x="73648" y="1003"/>
                    </a:lnTo>
                    <a:lnTo>
                      <a:pt x="76404" y="1346"/>
                    </a:lnTo>
                    <a:lnTo>
                      <a:pt x="74425" y="3422"/>
                    </a:lnTo>
                    <a:lnTo>
                      <a:pt x="72448" y="5512"/>
                    </a:lnTo>
                    <a:lnTo>
                      <a:pt x="70473" y="7603"/>
                    </a:lnTo>
                    <a:lnTo>
                      <a:pt x="68490" y="9692"/>
                    </a:lnTo>
                    <a:lnTo>
                      <a:pt x="66516" y="11784"/>
                    </a:lnTo>
                    <a:lnTo>
                      <a:pt x="64541" y="13862"/>
                    </a:lnTo>
                    <a:lnTo>
                      <a:pt x="62568" y="15954"/>
                    </a:lnTo>
                    <a:lnTo>
                      <a:pt x="61189" y="17416"/>
                    </a:lnTo>
                    <a:lnTo>
                      <a:pt x="60610" y="18074"/>
                    </a:lnTo>
                    <a:lnTo>
                      <a:pt x="60740" y="18284"/>
                    </a:lnTo>
                    <a:lnTo>
                      <a:pt x="61997" y="17849"/>
                    </a:lnTo>
                    <a:lnTo>
                      <a:pt x="61976" y="17928"/>
                    </a:lnTo>
                    <a:lnTo>
                      <a:pt x="64153" y="18914"/>
                    </a:lnTo>
                    <a:lnTo>
                      <a:pt x="63338" y="23424"/>
                    </a:lnTo>
                    <a:lnTo>
                      <a:pt x="75581" y="28808"/>
                    </a:lnTo>
                    <a:lnTo>
                      <a:pt x="82971" y="33874"/>
                    </a:lnTo>
                    <a:lnTo>
                      <a:pt x="87598" y="34227"/>
                    </a:lnTo>
                    <a:lnTo>
                      <a:pt x="90654" y="34755"/>
                    </a:lnTo>
                    <a:lnTo>
                      <a:pt x="89684" y="38858"/>
                    </a:lnTo>
                    <a:lnTo>
                      <a:pt x="92860" y="40680"/>
                    </a:lnTo>
                    <a:lnTo>
                      <a:pt x="92734" y="44223"/>
                    </a:lnTo>
                    <a:lnTo>
                      <a:pt x="90823" y="46133"/>
                    </a:lnTo>
                    <a:lnTo>
                      <a:pt x="88245" y="50077"/>
                    </a:lnTo>
                    <a:lnTo>
                      <a:pt x="91785" y="50538"/>
                    </a:lnTo>
                    <a:lnTo>
                      <a:pt x="88762" y="54413"/>
                    </a:lnTo>
                    <a:lnTo>
                      <a:pt x="89659" y="57460"/>
                    </a:lnTo>
                    <a:lnTo>
                      <a:pt x="89694" y="57423"/>
                    </a:lnTo>
                    <a:lnTo>
                      <a:pt x="91770" y="58631"/>
                    </a:lnTo>
                    <a:lnTo>
                      <a:pt x="93712" y="55824"/>
                    </a:lnTo>
                    <a:lnTo>
                      <a:pt x="97788" y="53412"/>
                    </a:lnTo>
                    <a:lnTo>
                      <a:pt x="101730" y="49559"/>
                    </a:lnTo>
                    <a:lnTo>
                      <a:pt x="104593" y="49747"/>
                    </a:lnTo>
                    <a:lnTo>
                      <a:pt x="107376" y="49929"/>
                    </a:lnTo>
                    <a:lnTo>
                      <a:pt x="110796" y="53417"/>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350" name="Polygon form 315"/>
              <p:cNvSpPr/>
              <p:nvPr/>
            </p:nvSpPr>
            <p:spPr>
              <a:xfrm>
                <a:off x="2491286" y="3115329"/>
                <a:ext cx="95241" cy="84117"/>
              </a:xfrm>
              <a:custGeom>
                <a:avLst/>
                <a:gdLst/>
                <a:ahLst/>
                <a:cxnLst/>
                <a:rect l="0" t="0" r="0" b="0"/>
                <a:pathLst>
                  <a:path w="95241" h="84117">
                    <a:moveTo>
                      <a:pt x="95241" y="35058"/>
                    </a:moveTo>
                    <a:lnTo>
                      <a:pt x="91714" y="39592"/>
                    </a:lnTo>
                    <a:lnTo>
                      <a:pt x="85081" y="32458"/>
                    </a:lnTo>
                    <a:lnTo>
                      <a:pt x="81462" y="38954"/>
                    </a:lnTo>
                    <a:lnTo>
                      <a:pt x="78454" y="41298"/>
                    </a:lnTo>
                    <a:lnTo>
                      <a:pt x="73937" y="44350"/>
                    </a:lnTo>
                    <a:lnTo>
                      <a:pt x="70264" y="47405"/>
                    </a:lnTo>
                    <a:lnTo>
                      <a:pt x="69346" y="46309"/>
                    </a:lnTo>
                    <a:lnTo>
                      <a:pt x="66213" y="49712"/>
                    </a:lnTo>
                    <a:lnTo>
                      <a:pt x="63450" y="52695"/>
                    </a:lnTo>
                    <a:lnTo>
                      <a:pt x="61846" y="54901"/>
                    </a:lnTo>
                    <a:lnTo>
                      <a:pt x="59010" y="55727"/>
                    </a:lnTo>
                    <a:lnTo>
                      <a:pt x="57002" y="53830"/>
                    </a:lnTo>
                    <a:lnTo>
                      <a:pt x="55324" y="51802"/>
                    </a:lnTo>
                    <a:lnTo>
                      <a:pt x="51820" y="57090"/>
                    </a:lnTo>
                    <a:lnTo>
                      <a:pt x="47326" y="61331"/>
                    </a:lnTo>
                    <a:lnTo>
                      <a:pt x="45231" y="64937"/>
                    </a:lnTo>
                    <a:lnTo>
                      <a:pt x="40749" y="67996"/>
                    </a:lnTo>
                    <a:lnTo>
                      <a:pt x="36930" y="72155"/>
                    </a:lnTo>
                    <a:lnTo>
                      <a:pt x="36247" y="75076"/>
                    </a:lnTo>
                    <a:lnTo>
                      <a:pt x="35110" y="77321"/>
                    </a:lnTo>
                    <a:lnTo>
                      <a:pt x="31675" y="79091"/>
                    </a:lnTo>
                    <a:lnTo>
                      <a:pt x="29339" y="78614"/>
                    </a:lnTo>
                    <a:lnTo>
                      <a:pt x="26553" y="80311"/>
                    </a:lnTo>
                    <a:lnTo>
                      <a:pt x="24849" y="79332"/>
                    </a:lnTo>
                    <a:lnTo>
                      <a:pt x="23727" y="81526"/>
                    </a:lnTo>
                    <a:lnTo>
                      <a:pt x="16453" y="83263"/>
                    </a:lnTo>
                    <a:lnTo>
                      <a:pt x="14918" y="81412"/>
                    </a:lnTo>
                    <a:lnTo>
                      <a:pt x="8350" y="84117"/>
                    </a:lnTo>
                    <a:lnTo>
                      <a:pt x="6341" y="81987"/>
                    </a:lnTo>
                    <a:lnTo>
                      <a:pt x="5111" y="79644"/>
                    </a:lnTo>
                    <a:lnTo>
                      <a:pt x="5756" y="75396"/>
                    </a:lnTo>
                    <a:lnTo>
                      <a:pt x="2484" y="74760"/>
                    </a:lnTo>
                    <a:lnTo>
                      <a:pt x="1751" y="71667"/>
                    </a:lnTo>
                    <a:lnTo>
                      <a:pt x="289" y="68322"/>
                    </a:lnTo>
                    <a:lnTo>
                      <a:pt x="744" y="64517"/>
                    </a:lnTo>
                    <a:lnTo>
                      <a:pt x="0" y="60541"/>
                    </a:lnTo>
                    <a:lnTo>
                      <a:pt x="1979" y="55428"/>
                    </a:lnTo>
                    <a:lnTo>
                      <a:pt x="2475" y="53053"/>
                    </a:lnTo>
                    <a:lnTo>
                      <a:pt x="7039" y="52655"/>
                    </a:lnTo>
                    <a:lnTo>
                      <a:pt x="10523" y="49346"/>
                    </a:lnTo>
                    <a:lnTo>
                      <a:pt x="12738" y="43876"/>
                    </a:lnTo>
                    <a:lnTo>
                      <a:pt x="17099" y="38641"/>
                    </a:lnTo>
                    <a:lnTo>
                      <a:pt x="19247" y="39370"/>
                    </a:lnTo>
                    <a:lnTo>
                      <a:pt x="18490" y="42143"/>
                    </a:lnTo>
                    <a:lnTo>
                      <a:pt x="20389" y="41244"/>
                    </a:lnTo>
                    <a:lnTo>
                      <a:pt x="21786" y="38865"/>
                    </a:lnTo>
                    <a:lnTo>
                      <a:pt x="24083" y="34443"/>
                    </a:lnTo>
                    <a:lnTo>
                      <a:pt x="29477" y="30400"/>
                    </a:lnTo>
                    <a:lnTo>
                      <a:pt x="31390" y="31062"/>
                    </a:lnTo>
                    <a:lnTo>
                      <a:pt x="33985" y="30495"/>
                    </a:lnTo>
                    <a:lnTo>
                      <a:pt x="36420" y="29399"/>
                    </a:lnTo>
                    <a:lnTo>
                      <a:pt x="43157" y="24018"/>
                    </a:lnTo>
                    <a:lnTo>
                      <a:pt x="44362" y="21486"/>
                    </a:lnTo>
                    <a:lnTo>
                      <a:pt x="47955" y="16247"/>
                    </a:lnTo>
                    <a:lnTo>
                      <a:pt x="52061" y="9918"/>
                    </a:lnTo>
                    <a:lnTo>
                      <a:pt x="54928" y="4282"/>
                    </a:lnTo>
                    <a:lnTo>
                      <a:pt x="55341" y="1110"/>
                    </a:lnTo>
                    <a:lnTo>
                      <a:pt x="58186" y="0"/>
                    </a:lnTo>
                    <a:lnTo>
                      <a:pt x="49993" y="22705"/>
                    </a:lnTo>
                    <a:lnTo>
                      <a:pt x="68084" y="23660"/>
                    </a:lnTo>
                    <a:lnTo>
                      <a:pt x="63569" y="36175"/>
                    </a:lnTo>
                    <a:lnTo>
                      <a:pt x="67009" y="34107"/>
                    </a:lnTo>
                    <a:lnTo>
                      <a:pt x="70983" y="31414"/>
                    </a:lnTo>
                    <a:lnTo>
                      <a:pt x="74769" y="30613"/>
                    </a:lnTo>
                    <a:lnTo>
                      <a:pt x="77995" y="28149"/>
                    </a:lnTo>
                    <a:lnTo>
                      <a:pt x="82792" y="29406"/>
                    </a:lnTo>
                    <a:lnTo>
                      <a:pt x="85320" y="27676"/>
                    </a:lnTo>
                    <a:lnTo>
                      <a:pt x="89315" y="25982"/>
                    </a:lnTo>
                    <a:lnTo>
                      <a:pt x="94020" y="28214"/>
                    </a:lnTo>
                    <a:lnTo>
                      <a:pt x="94935" y="31844"/>
                    </a:lnTo>
                    <a:lnTo>
                      <a:pt x="95241" y="35058"/>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51" name="Polygon form 316"/>
              <p:cNvSpPr/>
              <p:nvPr/>
            </p:nvSpPr>
            <p:spPr>
              <a:xfrm>
                <a:off x="2614561" y="3139283"/>
                <a:ext cx="16262" cy="34932"/>
              </a:xfrm>
              <a:custGeom>
                <a:avLst/>
                <a:gdLst/>
                <a:ahLst/>
                <a:cxnLst/>
                <a:rect l="0" t="0" r="0" b="0"/>
                <a:pathLst>
                  <a:path w="16262" h="34932">
                    <a:moveTo>
                      <a:pt x="10990" y="22110"/>
                    </a:moveTo>
                    <a:lnTo>
                      <a:pt x="13917" y="26701"/>
                    </a:lnTo>
                    <a:lnTo>
                      <a:pt x="11698" y="34932"/>
                    </a:lnTo>
                    <a:lnTo>
                      <a:pt x="0" y="34360"/>
                    </a:lnTo>
                    <a:lnTo>
                      <a:pt x="9019" y="2905"/>
                    </a:lnTo>
                    <a:lnTo>
                      <a:pt x="11004" y="1030"/>
                    </a:lnTo>
                    <a:lnTo>
                      <a:pt x="12939" y="0"/>
                    </a:lnTo>
                    <a:lnTo>
                      <a:pt x="16262" y="1461"/>
                    </a:lnTo>
                    <a:lnTo>
                      <a:pt x="12818" y="3901"/>
                    </a:lnTo>
                    <a:lnTo>
                      <a:pt x="11705" y="8665"/>
                    </a:lnTo>
                    <a:lnTo>
                      <a:pt x="10990" y="22110"/>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52" name="Polygon form 317"/>
              <p:cNvSpPr/>
              <p:nvPr/>
            </p:nvSpPr>
            <p:spPr>
              <a:xfrm>
                <a:off x="2593847" y="3159375"/>
                <a:ext cx="3184" cy="4748"/>
              </a:xfrm>
              <a:custGeom>
                <a:avLst/>
                <a:gdLst/>
                <a:ahLst/>
                <a:cxnLst/>
                <a:rect l="0" t="0" r="0" b="0"/>
                <a:pathLst>
                  <a:path w="3184" h="4748">
                    <a:moveTo>
                      <a:pt x="3184" y="2667"/>
                    </a:moveTo>
                    <a:lnTo>
                      <a:pt x="189" y="4748"/>
                    </a:lnTo>
                    <a:lnTo>
                      <a:pt x="752" y="3303"/>
                    </a:lnTo>
                    <a:lnTo>
                      <a:pt x="0" y="1117"/>
                    </a:lnTo>
                    <a:lnTo>
                      <a:pt x="1811" y="0"/>
                    </a:lnTo>
                    <a:lnTo>
                      <a:pt x="3184" y="2667"/>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53" name="Polygon form 318"/>
              <p:cNvSpPr/>
              <p:nvPr/>
            </p:nvSpPr>
            <p:spPr>
              <a:xfrm>
                <a:off x="2554856" y="3138989"/>
                <a:ext cx="71403" cy="47279"/>
              </a:xfrm>
              <a:custGeom>
                <a:avLst/>
                <a:gdLst/>
                <a:ahLst/>
                <a:cxnLst/>
                <a:rect l="0" t="0" r="0" b="0"/>
                <a:pathLst>
                  <a:path w="71403" h="47279">
                    <a:moveTo>
                      <a:pt x="71403" y="35226"/>
                    </a:moveTo>
                    <a:lnTo>
                      <a:pt x="70906" y="36319"/>
                    </a:lnTo>
                    <a:lnTo>
                      <a:pt x="62222" y="45634"/>
                    </a:lnTo>
                    <a:lnTo>
                      <a:pt x="58010" y="45819"/>
                    </a:lnTo>
                    <a:lnTo>
                      <a:pt x="55541" y="47279"/>
                    </a:lnTo>
                    <a:lnTo>
                      <a:pt x="49568" y="37424"/>
                    </a:lnTo>
                    <a:lnTo>
                      <a:pt x="54213" y="16844"/>
                    </a:lnTo>
                    <a:lnTo>
                      <a:pt x="47327" y="27336"/>
                    </a:lnTo>
                    <a:lnTo>
                      <a:pt x="45998" y="43162"/>
                    </a:lnTo>
                    <a:lnTo>
                      <a:pt x="35629" y="38740"/>
                    </a:lnTo>
                    <a:lnTo>
                      <a:pt x="35740" y="35217"/>
                    </a:lnTo>
                    <a:lnTo>
                      <a:pt x="32536" y="36148"/>
                    </a:lnTo>
                    <a:lnTo>
                      <a:pt x="30646" y="34689"/>
                    </a:lnTo>
                    <a:lnTo>
                      <a:pt x="34451" y="29290"/>
                    </a:lnTo>
                    <a:lnTo>
                      <a:pt x="38204" y="27115"/>
                    </a:lnTo>
                    <a:lnTo>
                      <a:pt x="39179" y="25134"/>
                    </a:lnTo>
                    <a:lnTo>
                      <a:pt x="42175" y="23053"/>
                    </a:lnTo>
                    <a:lnTo>
                      <a:pt x="40802" y="20386"/>
                    </a:lnTo>
                    <a:lnTo>
                      <a:pt x="38991" y="21503"/>
                    </a:lnTo>
                    <a:lnTo>
                      <a:pt x="36653" y="18588"/>
                    </a:lnTo>
                    <a:lnTo>
                      <a:pt x="33462" y="16916"/>
                    </a:lnTo>
                    <a:lnTo>
                      <a:pt x="35638" y="14331"/>
                    </a:lnTo>
                    <a:lnTo>
                      <a:pt x="33945" y="12362"/>
                    </a:lnTo>
                    <a:lnTo>
                      <a:pt x="31671" y="11398"/>
                    </a:lnTo>
                    <a:lnTo>
                      <a:pt x="31366" y="8185"/>
                    </a:lnTo>
                    <a:lnTo>
                      <a:pt x="30450" y="4554"/>
                    </a:lnTo>
                    <a:lnTo>
                      <a:pt x="25745" y="2322"/>
                    </a:lnTo>
                    <a:lnTo>
                      <a:pt x="21750" y="4016"/>
                    </a:lnTo>
                    <a:lnTo>
                      <a:pt x="19222" y="5746"/>
                    </a:lnTo>
                    <a:lnTo>
                      <a:pt x="14425" y="4490"/>
                    </a:lnTo>
                    <a:lnTo>
                      <a:pt x="11200" y="6953"/>
                    </a:lnTo>
                    <a:lnTo>
                      <a:pt x="7414" y="7754"/>
                    </a:lnTo>
                    <a:lnTo>
                      <a:pt x="3440" y="10447"/>
                    </a:lnTo>
                    <a:lnTo>
                      <a:pt x="0" y="12516"/>
                    </a:lnTo>
                    <a:lnTo>
                      <a:pt x="4515" y="0"/>
                    </a:lnTo>
                    <a:lnTo>
                      <a:pt x="20630" y="864"/>
                    </a:lnTo>
                    <a:lnTo>
                      <a:pt x="26155" y="1109"/>
                    </a:lnTo>
                    <a:lnTo>
                      <a:pt x="38533" y="1634"/>
                    </a:lnTo>
                    <a:lnTo>
                      <a:pt x="53373" y="2502"/>
                    </a:lnTo>
                    <a:lnTo>
                      <a:pt x="68724" y="3199"/>
                    </a:lnTo>
                    <a:lnTo>
                      <a:pt x="59705" y="34655"/>
                    </a:lnTo>
                    <a:lnTo>
                      <a:pt x="71403" y="35226"/>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354" name="Polygon form 319"/>
              <p:cNvSpPr/>
              <p:nvPr/>
            </p:nvSpPr>
            <p:spPr>
              <a:xfrm>
                <a:off x="2626267" y="3103007"/>
                <a:ext cx="40050" cy="59243"/>
              </a:xfrm>
              <a:custGeom>
                <a:avLst/>
                <a:gdLst/>
                <a:ahLst/>
                <a:cxnLst/>
                <a:rect l="0" t="0" r="0" b="0"/>
                <a:pathLst>
                  <a:path w="40050" h="59243">
                    <a:moveTo>
                      <a:pt x="40050" y="10370"/>
                    </a:moveTo>
                    <a:lnTo>
                      <a:pt x="37636" y="15483"/>
                    </a:lnTo>
                    <a:lnTo>
                      <a:pt x="30080" y="22042"/>
                    </a:lnTo>
                    <a:lnTo>
                      <a:pt x="34809" y="23416"/>
                    </a:lnTo>
                    <a:lnTo>
                      <a:pt x="25232" y="40901"/>
                    </a:lnTo>
                    <a:lnTo>
                      <a:pt x="6366" y="59243"/>
                    </a:lnTo>
                    <a:lnTo>
                      <a:pt x="7113" y="52846"/>
                    </a:lnTo>
                    <a:lnTo>
                      <a:pt x="3691" y="51384"/>
                    </a:lnTo>
                    <a:lnTo>
                      <a:pt x="0" y="44942"/>
                    </a:lnTo>
                    <a:lnTo>
                      <a:pt x="1112" y="40177"/>
                    </a:lnTo>
                    <a:lnTo>
                      <a:pt x="4556" y="37738"/>
                    </a:lnTo>
                    <a:lnTo>
                      <a:pt x="8871" y="35660"/>
                    </a:lnTo>
                    <a:lnTo>
                      <a:pt x="10635" y="34185"/>
                    </a:lnTo>
                    <a:lnTo>
                      <a:pt x="15842" y="31132"/>
                    </a:lnTo>
                    <a:lnTo>
                      <a:pt x="18970" y="28561"/>
                    </a:lnTo>
                    <a:lnTo>
                      <a:pt x="15645" y="21926"/>
                    </a:lnTo>
                    <a:lnTo>
                      <a:pt x="16223" y="19308"/>
                    </a:lnTo>
                    <a:lnTo>
                      <a:pt x="14606" y="18446"/>
                    </a:lnTo>
                    <a:lnTo>
                      <a:pt x="16035" y="14495"/>
                    </a:lnTo>
                    <a:lnTo>
                      <a:pt x="19083" y="11590"/>
                    </a:lnTo>
                    <a:lnTo>
                      <a:pt x="19256" y="8344"/>
                    </a:lnTo>
                    <a:lnTo>
                      <a:pt x="22757" y="6323"/>
                    </a:lnTo>
                    <a:lnTo>
                      <a:pt x="27661" y="973"/>
                    </a:lnTo>
                    <a:lnTo>
                      <a:pt x="30139" y="0"/>
                    </a:lnTo>
                    <a:lnTo>
                      <a:pt x="40050" y="10370"/>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355" name="Polygon form 320"/>
              <p:cNvSpPr/>
              <p:nvPr/>
            </p:nvSpPr>
            <p:spPr>
              <a:xfrm>
                <a:off x="2574917" y="3013453"/>
                <a:ext cx="136261" cy="108517"/>
              </a:xfrm>
              <a:custGeom>
                <a:avLst/>
                <a:gdLst/>
                <a:ahLst/>
                <a:cxnLst/>
                <a:rect l="0" t="0" r="0" b="0"/>
                <a:pathLst>
                  <a:path w="136261" h="108517">
                    <a:moveTo>
                      <a:pt x="81489" y="89554"/>
                    </a:moveTo>
                    <a:lnTo>
                      <a:pt x="79310" y="87672"/>
                    </a:lnTo>
                    <a:lnTo>
                      <a:pt x="76969" y="85820"/>
                    </a:lnTo>
                    <a:lnTo>
                      <a:pt x="77104" y="82189"/>
                    </a:lnTo>
                    <a:lnTo>
                      <a:pt x="78504" y="79508"/>
                    </a:lnTo>
                    <a:lnTo>
                      <a:pt x="77240" y="77181"/>
                    </a:lnTo>
                    <a:lnTo>
                      <a:pt x="74873" y="73129"/>
                    </a:lnTo>
                    <a:lnTo>
                      <a:pt x="51613" y="71878"/>
                    </a:lnTo>
                    <a:lnTo>
                      <a:pt x="26670" y="70564"/>
                    </a:lnTo>
                    <a:lnTo>
                      <a:pt x="0" y="69110"/>
                    </a:lnTo>
                    <a:lnTo>
                      <a:pt x="4657" y="56806"/>
                    </a:lnTo>
                    <a:lnTo>
                      <a:pt x="4872" y="55642"/>
                    </a:lnTo>
                    <a:lnTo>
                      <a:pt x="22023" y="48643"/>
                    </a:lnTo>
                    <a:lnTo>
                      <a:pt x="23308" y="46165"/>
                    </a:lnTo>
                    <a:lnTo>
                      <a:pt x="24650" y="38590"/>
                    </a:lnTo>
                    <a:lnTo>
                      <a:pt x="23779" y="33614"/>
                    </a:lnTo>
                    <a:lnTo>
                      <a:pt x="27222" y="32280"/>
                    </a:lnTo>
                    <a:lnTo>
                      <a:pt x="30404" y="31051"/>
                    </a:lnTo>
                    <a:lnTo>
                      <a:pt x="32921" y="30143"/>
                    </a:lnTo>
                    <a:lnTo>
                      <a:pt x="65082" y="31826"/>
                    </a:lnTo>
                    <a:lnTo>
                      <a:pt x="68615" y="28110"/>
                    </a:lnTo>
                    <a:lnTo>
                      <a:pt x="71777" y="24799"/>
                    </a:lnTo>
                    <a:lnTo>
                      <a:pt x="74110" y="22563"/>
                    </a:lnTo>
                    <a:lnTo>
                      <a:pt x="76943" y="20770"/>
                    </a:lnTo>
                    <a:lnTo>
                      <a:pt x="101437" y="4098"/>
                    </a:lnTo>
                    <a:lnTo>
                      <a:pt x="110726" y="0"/>
                    </a:lnTo>
                    <a:lnTo>
                      <a:pt x="136261" y="1193"/>
                    </a:lnTo>
                    <a:lnTo>
                      <a:pt x="134069" y="6133"/>
                    </a:lnTo>
                    <a:lnTo>
                      <a:pt x="132235" y="9245"/>
                    </a:lnTo>
                    <a:lnTo>
                      <a:pt x="129955" y="16531"/>
                    </a:lnTo>
                    <a:lnTo>
                      <a:pt x="129516" y="20311"/>
                    </a:lnTo>
                    <a:lnTo>
                      <a:pt x="125970" y="25289"/>
                    </a:lnTo>
                    <a:lnTo>
                      <a:pt x="125198" y="31771"/>
                    </a:lnTo>
                    <a:lnTo>
                      <a:pt x="122841" y="35268"/>
                    </a:lnTo>
                    <a:lnTo>
                      <a:pt x="122819" y="36217"/>
                    </a:lnTo>
                    <a:lnTo>
                      <a:pt x="125187" y="36524"/>
                    </a:lnTo>
                    <a:lnTo>
                      <a:pt x="117295" y="56694"/>
                    </a:lnTo>
                    <a:lnTo>
                      <a:pt x="107715" y="73408"/>
                    </a:lnTo>
                    <a:lnTo>
                      <a:pt x="100339" y="92132"/>
                    </a:lnTo>
                    <a:lnTo>
                      <a:pt x="100983" y="94291"/>
                    </a:lnTo>
                    <a:lnTo>
                      <a:pt x="96421" y="96497"/>
                    </a:lnTo>
                    <a:lnTo>
                      <a:pt x="96032" y="99530"/>
                    </a:lnTo>
                    <a:lnTo>
                      <a:pt x="95934" y="100282"/>
                    </a:lnTo>
                    <a:lnTo>
                      <a:pt x="94665" y="100811"/>
                    </a:lnTo>
                    <a:lnTo>
                      <a:pt x="121594" y="97418"/>
                    </a:lnTo>
                    <a:lnTo>
                      <a:pt x="125188" y="102314"/>
                    </a:lnTo>
                    <a:lnTo>
                      <a:pt x="98514" y="108517"/>
                    </a:lnTo>
                    <a:lnTo>
                      <a:pt x="87458" y="108031"/>
                    </a:lnTo>
                    <a:lnTo>
                      <a:pt x="88985" y="105037"/>
                    </a:lnTo>
                    <a:lnTo>
                      <a:pt x="91400" y="99924"/>
                    </a:lnTo>
                    <a:lnTo>
                      <a:pt x="81489" y="89554"/>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356" name="Polygon form 321"/>
              <p:cNvSpPr/>
              <p:nvPr/>
            </p:nvSpPr>
            <p:spPr>
              <a:xfrm>
                <a:off x="2541280" y="3069111"/>
                <a:ext cx="115127" cy="73078"/>
              </a:xfrm>
              <a:custGeom>
                <a:avLst/>
                <a:gdLst/>
                <a:ahLst/>
                <a:cxnLst/>
                <a:rect l="0" t="0" r="0" b="0"/>
                <a:pathLst>
                  <a:path w="115127" h="73078">
                    <a:moveTo>
                      <a:pt x="100829" y="65028"/>
                    </a:moveTo>
                    <a:lnTo>
                      <a:pt x="95622" y="68081"/>
                    </a:lnTo>
                    <a:lnTo>
                      <a:pt x="93858" y="69556"/>
                    </a:lnTo>
                    <a:lnTo>
                      <a:pt x="89543" y="71634"/>
                    </a:lnTo>
                    <a:lnTo>
                      <a:pt x="86221" y="70173"/>
                    </a:lnTo>
                    <a:lnTo>
                      <a:pt x="84285" y="71203"/>
                    </a:lnTo>
                    <a:lnTo>
                      <a:pt x="82300" y="73078"/>
                    </a:lnTo>
                    <a:lnTo>
                      <a:pt x="66949" y="72381"/>
                    </a:lnTo>
                    <a:lnTo>
                      <a:pt x="52110" y="71512"/>
                    </a:lnTo>
                    <a:lnTo>
                      <a:pt x="39731" y="70987"/>
                    </a:lnTo>
                    <a:lnTo>
                      <a:pt x="34206" y="70742"/>
                    </a:lnTo>
                    <a:lnTo>
                      <a:pt x="18091" y="69878"/>
                    </a:lnTo>
                    <a:lnTo>
                      <a:pt x="0" y="68924"/>
                    </a:lnTo>
                    <a:lnTo>
                      <a:pt x="8193" y="46219"/>
                    </a:lnTo>
                    <a:lnTo>
                      <a:pt x="23760" y="4751"/>
                    </a:lnTo>
                    <a:lnTo>
                      <a:pt x="23765" y="4738"/>
                    </a:lnTo>
                    <a:lnTo>
                      <a:pt x="28735" y="3978"/>
                    </a:lnTo>
                    <a:lnTo>
                      <a:pt x="38515" y="0"/>
                    </a:lnTo>
                    <a:lnTo>
                      <a:pt x="38295" y="1148"/>
                    </a:lnTo>
                    <a:lnTo>
                      <a:pt x="33638" y="13452"/>
                    </a:lnTo>
                    <a:lnTo>
                      <a:pt x="60308" y="14906"/>
                    </a:lnTo>
                    <a:lnTo>
                      <a:pt x="85251" y="16220"/>
                    </a:lnTo>
                    <a:lnTo>
                      <a:pt x="108510" y="17471"/>
                    </a:lnTo>
                    <a:lnTo>
                      <a:pt x="110878" y="21523"/>
                    </a:lnTo>
                    <a:lnTo>
                      <a:pt x="112142" y="23850"/>
                    </a:lnTo>
                    <a:lnTo>
                      <a:pt x="110742" y="26531"/>
                    </a:lnTo>
                    <a:lnTo>
                      <a:pt x="110606" y="30163"/>
                    </a:lnTo>
                    <a:lnTo>
                      <a:pt x="112948" y="32014"/>
                    </a:lnTo>
                    <a:lnTo>
                      <a:pt x="115127" y="33896"/>
                    </a:lnTo>
                    <a:lnTo>
                      <a:pt x="112648" y="34869"/>
                    </a:lnTo>
                    <a:lnTo>
                      <a:pt x="107744" y="40219"/>
                    </a:lnTo>
                    <a:lnTo>
                      <a:pt x="104244" y="42240"/>
                    </a:lnTo>
                    <a:lnTo>
                      <a:pt x="104070" y="45486"/>
                    </a:lnTo>
                    <a:lnTo>
                      <a:pt x="101022" y="48391"/>
                    </a:lnTo>
                    <a:lnTo>
                      <a:pt x="99593" y="52342"/>
                    </a:lnTo>
                    <a:lnTo>
                      <a:pt x="101211" y="53204"/>
                    </a:lnTo>
                    <a:lnTo>
                      <a:pt x="100632" y="55822"/>
                    </a:lnTo>
                    <a:lnTo>
                      <a:pt x="103957" y="62457"/>
                    </a:lnTo>
                    <a:lnTo>
                      <a:pt x="100829" y="65028"/>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357" name="Polygon form 322"/>
              <p:cNvSpPr/>
              <p:nvPr/>
            </p:nvSpPr>
            <p:spPr>
              <a:xfrm>
                <a:off x="2736739" y="2958629"/>
                <a:ext cx="85566" cy="105417"/>
              </a:xfrm>
              <a:custGeom>
                <a:avLst/>
                <a:gdLst/>
                <a:ahLst/>
                <a:cxnLst/>
                <a:rect l="0" t="0" r="0" b="0"/>
                <a:pathLst>
                  <a:path w="85566" h="105417">
                    <a:moveTo>
                      <a:pt x="79902" y="58079"/>
                    </a:moveTo>
                    <a:lnTo>
                      <a:pt x="80094" y="66217"/>
                    </a:lnTo>
                    <a:lnTo>
                      <a:pt x="58050" y="77192"/>
                    </a:lnTo>
                    <a:lnTo>
                      <a:pt x="37779" y="84793"/>
                    </a:lnTo>
                    <a:lnTo>
                      <a:pt x="17379" y="91161"/>
                    </a:lnTo>
                    <a:lnTo>
                      <a:pt x="3389" y="105258"/>
                    </a:lnTo>
                    <a:lnTo>
                      <a:pt x="1510" y="105417"/>
                    </a:lnTo>
                    <a:lnTo>
                      <a:pt x="1886" y="101958"/>
                    </a:lnTo>
                    <a:lnTo>
                      <a:pt x="0" y="98176"/>
                    </a:lnTo>
                    <a:lnTo>
                      <a:pt x="1472" y="95798"/>
                    </a:lnTo>
                    <a:lnTo>
                      <a:pt x="15066" y="50704"/>
                    </a:lnTo>
                    <a:lnTo>
                      <a:pt x="23559" y="47281"/>
                    </a:lnTo>
                    <a:lnTo>
                      <a:pt x="33541" y="36482"/>
                    </a:lnTo>
                    <a:lnTo>
                      <a:pt x="45612" y="17748"/>
                    </a:lnTo>
                    <a:lnTo>
                      <a:pt x="65090" y="0"/>
                    </a:lnTo>
                    <a:lnTo>
                      <a:pt x="68190" y="6690"/>
                    </a:lnTo>
                    <a:lnTo>
                      <a:pt x="80793" y="3113"/>
                    </a:lnTo>
                    <a:lnTo>
                      <a:pt x="85566" y="10508"/>
                    </a:lnTo>
                    <a:lnTo>
                      <a:pt x="73697" y="43758"/>
                    </a:lnTo>
                    <a:lnTo>
                      <a:pt x="79902" y="58079"/>
                    </a:lnTo>
                    <a:close/>
                  </a:path>
                </a:pathLst>
              </a:custGeom>
              <a:solidFill>
                <a:srgbClr val="006D2C">
                  <a:alpha val="100000"/>
                </a:srgbClr>
              </a:solidFill>
              <a:ln w="5400">
                <a:solidFill>
                  <a:srgbClr val="7F7F7F">
                    <a:alpha val="100000"/>
                  </a:srgbClr>
                </a:solidFill>
                <a:prstDash val="solid"/>
                <a:round/>
              </a:ln>
            </p:spPr>
            <p:txBody>
              <a:bodyPr/>
              <a:lstStyle/>
              <a:p/>
            </p:txBody>
          </p:sp>
          <p:sp>
            <p:nvSpPr>
              <p:cNvPr id="358" name="Polygon form 323"/>
              <p:cNvSpPr/>
              <p:nvPr/>
            </p:nvSpPr>
            <p:spPr>
              <a:xfrm>
                <a:off x="2445179" y="2918873"/>
                <a:ext cx="115664" cy="167648"/>
              </a:xfrm>
              <a:custGeom>
                <a:avLst/>
                <a:gdLst/>
                <a:ahLst/>
                <a:cxnLst/>
                <a:rect l="0" t="0" r="0" b="0"/>
                <a:pathLst>
                  <a:path w="115664" h="167648">
                    <a:moveTo>
                      <a:pt x="578" y="39164"/>
                    </a:moveTo>
                    <a:lnTo>
                      <a:pt x="1958" y="37702"/>
                    </a:lnTo>
                    <a:lnTo>
                      <a:pt x="3930" y="35610"/>
                    </a:lnTo>
                    <a:lnTo>
                      <a:pt x="5905" y="33532"/>
                    </a:lnTo>
                    <a:lnTo>
                      <a:pt x="7879" y="31440"/>
                    </a:lnTo>
                    <a:lnTo>
                      <a:pt x="9862" y="29351"/>
                    </a:lnTo>
                    <a:lnTo>
                      <a:pt x="11838" y="27260"/>
                    </a:lnTo>
                    <a:lnTo>
                      <a:pt x="13814" y="25170"/>
                    </a:lnTo>
                    <a:lnTo>
                      <a:pt x="15793" y="23094"/>
                    </a:lnTo>
                    <a:lnTo>
                      <a:pt x="19801" y="18865"/>
                    </a:lnTo>
                    <a:lnTo>
                      <a:pt x="23805" y="14651"/>
                    </a:lnTo>
                    <a:lnTo>
                      <a:pt x="27804" y="10438"/>
                    </a:lnTo>
                    <a:lnTo>
                      <a:pt x="30992" y="7082"/>
                    </a:lnTo>
                    <a:lnTo>
                      <a:pt x="32204" y="5780"/>
                    </a:lnTo>
                    <a:lnTo>
                      <a:pt x="35744" y="5915"/>
                    </a:lnTo>
                    <a:lnTo>
                      <a:pt x="37487" y="5341"/>
                    </a:lnTo>
                    <a:lnTo>
                      <a:pt x="53603" y="0"/>
                    </a:lnTo>
                    <a:lnTo>
                      <a:pt x="63775" y="9343"/>
                    </a:lnTo>
                    <a:lnTo>
                      <a:pt x="67068" y="12432"/>
                    </a:lnTo>
                    <a:lnTo>
                      <a:pt x="70374" y="15521"/>
                    </a:lnTo>
                    <a:lnTo>
                      <a:pt x="73269" y="18219"/>
                    </a:lnTo>
                    <a:lnTo>
                      <a:pt x="75332" y="20110"/>
                    </a:lnTo>
                    <a:lnTo>
                      <a:pt x="76103" y="20844"/>
                    </a:lnTo>
                    <a:lnTo>
                      <a:pt x="78335" y="23013"/>
                    </a:lnTo>
                    <a:lnTo>
                      <a:pt x="80574" y="25180"/>
                    </a:lnTo>
                    <a:lnTo>
                      <a:pt x="82812" y="27348"/>
                    </a:lnTo>
                    <a:lnTo>
                      <a:pt x="85065" y="29515"/>
                    </a:lnTo>
                    <a:lnTo>
                      <a:pt x="87319" y="31694"/>
                    </a:lnTo>
                    <a:lnTo>
                      <a:pt x="89585" y="33861"/>
                    </a:lnTo>
                    <a:lnTo>
                      <a:pt x="91850" y="36025"/>
                    </a:lnTo>
                    <a:lnTo>
                      <a:pt x="94130" y="38190"/>
                    </a:lnTo>
                    <a:lnTo>
                      <a:pt x="93445" y="41510"/>
                    </a:lnTo>
                    <a:lnTo>
                      <a:pt x="92782" y="44738"/>
                    </a:lnTo>
                    <a:lnTo>
                      <a:pt x="95556" y="47400"/>
                    </a:lnTo>
                    <a:lnTo>
                      <a:pt x="95565" y="47400"/>
                    </a:lnTo>
                    <a:lnTo>
                      <a:pt x="93457" y="49764"/>
                    </a:lnTo>
                    <a:lnTo>
                      <a:pt x="97527" y="50803"/>
                    </a:lnTo>
                    <a:lnTo>
                      <a:pt x="101862" y="48472"/>
                    </a:lnTo>
                    <a:lnTo>
                      <a:pt x="101774" y="49187"/>
                    </a:lnTo>
                    <a:lnTo>
                      <a:pt x="100755" y="51964"/>
                    </a:lnTo>
                    <a:lnTo>
                      <a:pt x="100095" y="54329"/>
                    </a:lnTo>
                    <a:lnTo>
                      <a:pt x="101683" y="58426"/>
                    </a:lnTo>
                    <a:lnTo>
                      <a:pt x="103700" y="58754"/>
                    </a:lnTo>
                    <a:lnTo>
                      <a:pt x="105402" y="58515"/>
                    </a:lnTo>
                    <a:lnTo>
                      <a:pt x="106212" y="58712"/>
                    </a:lnTo>
                    <a:lnTo>
                      <a:pt x="107313" y="61862"/>
                    </a:lnTo>
                    <a:lnTo>
                      <a:pt x="103365" y="66095"/>
                    </a:lnTo>
                    <a:lnTo>
                      <a:pt x="105664" y="68453"/>
                    </a:lnTo>
                    <a:lnTo>
                      <a:pt x="108248" y="71041"/>
                    </a:lnTo>
                    <a:lnTo>
                      <a:pt x="111340" y="74124"/>
                    </a:lnTo>
                    <a:lnTo>
                      <a:pt x="113232" y="76014"/>
                    </a:lnTo>
                    <a:lnTo>
                      <a:pt x="115664" y="78681"/>
                    </a:lnTo>
                    <a:lnTo>
                      <a:pt x="114756" y="82236"/>
                    </a:lnTo>
                    <a:lnTo>
                      <a:pt x="114008" y="85215"/>
                    </a:lnTo>
                    <a:lnTo>
                      <a:pt x="112908" y="89385"/>
                    </a:lnTo>
                    <a:lnTo>
                      <a:pt x="111788" y="93647"/>
                    </a:lnTo>
                    <a:lnTo>
                      <a:pt x="110689" y="97885"/>
                    </a:lnTo>
                    <a:lnTo>
                      <a:pt x="109535" y="102385"/>
                    </a:lnTo>
                    <a:lnTo>
                      <a:pt x="108277" y="107320"/>
                    </a:lnTo>
                    <a:lnTo>
                      <a:pt x="107166" y="111703"/>
                    </a:lnTo>
                    <a:lnTo>
                      <a:pt x="105972" y="116496"/>
                    </a:lnTo>
                    <a:lnTo>
                      <a:pt x="104451" y="122735"/>
                    </a:lnTo>
                    <a:lnTo>
                      <a:pt x="102596" y="125063"/>
                    </a:lnTo>
                    <a:lnTo>
                      <a:pt x="94251" y="136074"/>
                    </a:lnTo>
                    <a:lnTo>
                      <a:pt x="93666" y="136987"/>
                    </a:lnTo>
                    <a:lnTo>
                      <a:pt x="80295" y="150060"/>
                    </a:lnTo>
                    <a:lnTo>
                      <a:pt x="73147" y="158475"/>
                    </a:lnTo>
                    <a:lnTo>
                      <a:pt x="72886" y="158740"/>
                    </a:lnTo>
                    <a:lnTo>
                      <a:pt x="71759" y="161023"/>
                    </a:lnTo>
                    <a:lnTo>
                      <a:pt x="63563" y="167648"/>
                    </a:lnTo>
                    <a:lnTo>
                      <a:pt x="57029" y="167496"/>
                    </a:lnTo>
                    <a:lnTo>
                      <a:pt x="49254" y="167041"/>
                    </a:lnTo>
                    <a:lnTo>
                      <a:pt x="40443" y="166709"/>
                    </a:lnTo>
                    <a:lnTo>
                      <a:pt x="41203" y="164776"/>
                    </a:lnTo>
                    <a:lnTo>
                      <a:pt x="25104" y="163936"/>
                    </a:lnTo>
                    <a:lnTo>
                      <a:pt x="6802" y="162709"/>
                    </a:lnTo>
                    <a:lnTo>
                      <a:pt x="6850" y="162591"/>
                    </a:lnTo>
                    <a:lnTo>
                      <a:pt x="5254" y="162493"/>
                    </a:lnTo>
                    <a:lnTo>
                      <a:pt x="88" y="162177"/>
                    </a:lnTo>
                    <a:lnTo>
                      <a:pt x="2724" y="157701"/>
                    </a:lnTo>
                    <a:lnTo>
                      <a:pt x="5367" y="153225"/>
                    </a:lnTo>
                    <a:lnTo>
                      <a:pt x="8012" y="148765"/>
                    </a:lnTo>
                    <a:lnTo>
                      <a:pt x="10668" y="144292"/>
                    </a:lnTo>
                    <a:lnTo>
                      <a:pt x="12986" y="137105"/>
                    </a:lnTo>
                    <a:lnTo>
                      <a:pt x="14995" y="130946"/>
                    </a:lnTo>
                    <a:lnTo>
                      <a:pt x="17415" y="123593"/>
                    </a:lnTo>
                    <a:lnTo>
                      <a:pt x="20172" y="117577"/>
                    </a:lnTo>
                    <a:lnTo>
                      <a:pt x="21148" y="115442"/>
                    </a:lnTo>
                    <a:lnTo>
                      <a:pt x="24612" y="109780"/>
                    </a:lnTo>
                    <a:lnTo>
                      <a:pt x="27619" y="104881"/>
                    </a:lnTo>
                    <a:lnTo>
                      <a:pt x="32433" y="98345"/>
                    </a:lnTo>
                    <a:lnTo>
                      <a:pt x="36526" y="92796"/>
                    </a:lnTo>
                    <a:lnTo>
                      <a:pt x="41089" y="86636"/>
                    </a:lnTo>
                    <a:lnTo>
                      <a:pt x="46193" y="82027"/>
                    </a:lnTo>
                    <a:lnTo>
                      <a:pt x="49426" y="79920"/>
                    </a:lnTo>
                    <a:lnTo>
                      <a:pt x="52725" y="77765"/>
                    </a:lnTo>
                    <a:lnTo>
                      <a:pt x="50185" y="75165"/>
                    </a:lnTo>
                    <a:lnTo>
                      <a:pt x="46766" y="71677"/>
                    </a:lnTo>
                    <a:lnTo>
                      <a:pt x="43982" y="71495"/>
                    </a:lnTo>
                    <a:lnTo>
                      <a:pt x="41120" y="71307"/>
                    </a:lnTo>
                    <a:lnTo>
                      <a:pt x="37178" y="75160"/>
                    </a:lnTo>
                    <a:lnTo>
                      <a:pt x="33102" y="77572"/>
                    </a:lnTo>
                    <a:lnTo>
                      <a:pt x="31159" y="80379"/>
                    </a:lnTo>
                    <a:lnTo>
                      <a:pt x="29083" y="79171"/>
                    </a:lnTo>
                    <a:lnTo>
                      <a:pt x="29048" y="79208"/>
                    </a:lnTo>
                    <a:lnTo>
                      <a:pt x="28152" y="76161"/>
                    </a:lnTo>
                    <a:lnTo>
                      <a:pt x="31175" y="72286"/>
                    </a:lnTo>
                    <a:lnTo>
                      <a:pt x="27634" y="71825"/>
                    </a:lnTo>
                    <a:lnTo>
                      <a:pt x="30212" y="67881"/>
                    </a:lnTo>
                    <a:lnTo>
                      <a:pt x="32123" y="65970"/>
                    </a:lnTo>
                    <a:lnTo>
                      <a:pt x="32250" y="62428"/>
                    </a:lnTo>
                    <a:lnTo>
                      <a:pt x="29074" y="60606"/>
                    </a:lnTo>
                    <a:lnTo>
                      <a:pt x="30044" y="56503"/>
                    </a:lnTo>
                    <a:lnTo>
                      <a:pt x="26987" y="55975"/>
                    </a:lnTo>
                    <a:lnTo>
                      <a:pt x="22360" y="55622"/>
                    </a:lnTo>
                    <a:lnTo>
                      <a:pt x="14970" y="50556"/>
                    </a:lnTo>
                    <a:lnTo>
                      <a:pt x="2728" y="45172"/>
                    </a:lnTo>
                    <a:lnTo>
                      <a:pt x="3543" y="40661"/>
                    </a:lnTo>
                    <a:lnTo>
                      <a:pt x="1366" y="39676"/>
                    </a:lnTo>
                    <a:lnTo>
                      <a:pt x="1386" y="39597"/>
                    </a:lnTo>
                    <a:lnTo>
                      <a:pt x="130" y="40032"/>
                    </a:lnTo>
                    <a:lnTo>
                      <a:pt x="0" y="39822"/>
                    </a:lnTo>
                    <a:lnTo>
                      <a:pt x="578" y="39164"/>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359" name="Polygon form 324"/>
              <p:cNvSpPr/>
              <p:nvPr/>
            </p:nvSpPr>
            <p:spPr>
              <a:xfrm>
                <a:off x="1902092" y="2853260"/>
                <a:ext cx="154353" cy="86330"/>
              </a:xfrm>
              <a:custGeom>
                <a:avLst/>
                <a:gdLst/>
                <a:ahLst/>
                <a:cxnLst/>
                <a:rect l="0" t="0" r="0" b="0"/>
                <a:pathLst>
                  <a:path w="154353" h="86330">
                    <a:moveTo>
                      <a:pt x="111230" y="75634"/>
                    </a:moveTo>
                    <a:lnTo>
                      <a:pt x="110270" y="79562"/>
                    </a:lnTo>
                    <a:lnTo>
                      <a:pt x="107332" y="83965"/>
                    </a:lnTo>
                    <a:lnTo>
                      <a:pt x="74431" y="80861"/>
                    </a:lnTo>
                    <a:lnTo>
                      <a:pt x="67062" y="82874"/>
                    </a:lnTo>
                    <a:lnTo>
                      <a:pt x="63722" y="81369"/>
                    </a:lnTo>
                    <a:lnTo>
                      <a:pt x="59310" y="83079"/>
                    </a:lnTo>
                    <a:lnTo>
                      <a:pt x="51644" y="85216"/>
                    </a:lnTo>
                    <a:lnTo>
                      <a:pt x="44694" y="84148"/>
                    </a:lnTo>
                    <a:lnTo>
                      <a:pt x="39768" y="85791"/>
                    </a:lnTo>
                    <a:lnTo>
                      <a:pt x="35866" y="86330"/>
                    </a:lnTo>
                    <a:lnTo>
                      <a:pt x="34226" y="84765"/>
                    </a:lnTo>
                    <a:lnTo>
                      <a:pt x="29264" y="83106"/>
                    </a:lnTo>
                    <a:lnTo>
                      <a:pt x="25146" y="83521"/>
                    </a:lnTo>
                    <a:lnTo>
                      <a:pt x="17278" y="85516"/>
                    </a:lnTo>
                    <a:lnTo>
                      <a:pt x="13335" y="85185"/>
                    </a:lnTo>
                    <a:lnTo>
                      <a:pt x="10299" y="83848"/>
                    </a:lnTo>
                    <a:lnTo>
                      <a:pt x="11448" y="80227"/>
                    </a:lnTo>
                    <a:lnTo>
                      <a:pt x="13817" y="76003"/>
                    </a:lnTo>
                    <a:lnTo>
                      <a:pt x="14079" y="70933"/>
                    </a:lnTo>
                    <a:lnTo>
                      <a:pt x="10466" y="69019"/>
                    </a:lnTo>
                    <a:lnTo>
                      <a:pt x="8181" y="66342"/>
                    </a:lnTo>
                    <a:lnTo>
                      <a:pt x="3467" y="65704"/>
                    </a:lnTo>
                    <a:lnTo>
                      <a:pt x="0" y="65299"/>
                    </a:lnTo>
                    <a:lnTo>
                      <a:pt x="8678" y="50696"/>
                    </a:lnTo>
                    <a:lnTo>
                      <a:pt x="18658" y="28937"/>
                    </a:lnTo>
                    <a:lnTo>
                      <a:pt x="22386" y="16946"/>
                    </a:lnTo>
                    <a:lnTo>
                      <a:pt x="27729" y="12331"/>
                    </a:lnTo>
                    <a:lnTo>
                      <a:pt x="43961" y="23213"/>
                    </a:lnTo>
                    <a:lnTo>
                      <a:pt x="35918" y="47498"/>
                    </a:lnTo>
                    <a:lnTo>
                      <a:pt x="44278" y="41368"/>
                    </a:lnTo>
                    <a:lnTo>
                      <a:pt x="55975" y="20803"/>
                    </a:lnTo>
                    <a:lnTo>
                      <a:pt x="65208" y="0"/>
                    </a:lnTo>
                    <a:lnTo>
                      <a:pt x="108664" y="4743"/>
                    </a:lnTo>
                    <a:lnTo>
                      <a:pt x="154353" y="9616"/>
                    </a:lnTo>
                    <a:lnTo>
                      <a:pt x="133232" y="41095"/>
                    </a:lnTo>
                    <a:lnTo>
                      <a:pt x="111230" y="75634"/>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360" name="Polygon form 325"/>
              <p:cNvSpPr/>
              <p:nvPr/>
            </p:nvSpPr>
            <p:spPr>
              <a:xfrm>
                <a:off x="1500187" y="2282908"/>
                <a:ext cx="715796" cy="415526"/>
              </a:xfrm>
              <a:custGeom>
                <a:avLst/>
                <a:gdLst/>
                <a:ahLst/>
                <a:cxnLst/>
                <a:rect l="0" t="0" r="0" b="0"/>
                <a:pathLst>
                  <a:path w="715796" h="415526">
                    <a:moveTo>
                      <a:pt x="715796" y="58649"/>
                    </a:moveTo>
                    <a:lnTo>
                      <a:pt x="715796" y="58649"/>
                    </a:lnTo>
                    <a:lnTo>
                      <a:pt x="610046" y="138624"/>
                    </a:lnTo>
                    <a:lnTo>
                      <a:pt x="458096" y="266430"/>
                    </a:lnTo>
                    <a:lnTo>
                      <a:pt x="469760" y="268995"/>
                    </a:lnTo>
                    <a:lnTo>
                      <a:pt x="475126" y="277223"/>
                    </a:lnTo>
                    <a:lnTo>
                      <a:pt x="473133" y="288666"/>
                    </a:lnTo>
                    <a:lnTo>
                      <a:pt x="468471" y="305607"/>
                    </a:lnTo>
                    <a:lnTo>
                      <a:pt x="494686" y="294447"/>
                    </a:lnTo>
                    <a:lnTo>
                      <a:pt x="515529" y="288797"/>
                    </a:lnTo>
                    <a:lnTo>
                      <a:pt x="509913" y="301791"/>
                    </a:lnTo>
                    <a:lnTo>
                      <a:pt x="508950" y="312579"/>
                    </a:lnTo>
                    <a:lnTo>
                      <a:pt x="510403" y="324810"/>
                    </a:lnTo>
                    <a:lnTo>
                      <a:pt x="502110" y="342811"/>
                    </a:lnTo>
                    <a:lnTo>
                      <a:pt x="490107" y="371656"/>
                    </a:lnTo>
                    <a:lnTo>
                      <a:pt x="499431" y="389890"/>
                    </a:lnTo>
                    <a:lnTo>
                      <a:pt x="486174" y="404999"/>
                    </a:lnTo>
                    <a:lnTo>
                      <a:pt x="468055" y="415526"/>
                    </a:lnTo>
                    <a:lnTo>
                      <a:pt x="468480" y="405510"/>
                    </a:lnTo>
                    <a:lnTo>
                      <a:pt x="463203" y="396263"/>
                    </a:lnTo>
                    <a:lnTo>
                      <a:pt x="478637" y="374978"/>
                    </a:lnTo>
                    <a:lnTo>
                      <a:pt x="479460" y="353435"/>
                    </a:lnTo>
                    <a:lnTo>
                      <a:pt x="494116" y="330211"/>
                    </a:lnTo>
                    <a:lnTo>
                      <a:pt x="482921" y="326907"/>
                    </a:lnTo>
                    <a:lnTo>
                      <a:pt x="462539" y="323340"/>
                    </a:lnTo>
                    <a:lnTo>
                      <a:pt x="454108" y="314384"/>
                    </a:lnTo>
                    <a:lnTo>
                      <a:pt x="452974" y="286313"/>
                    </a:lnTo>
                    <a:lnTo>
                      <a:pt x="445552" y="280084"/>
                    </a:lnTo>
                    <a:lnTo>
                      <a:pt x="432568" y="268469"/>
                    </a:lnTo>
                    <a:lnTo>
                      <a:pt x="412989" y="267701"/>
                    </a:lnTo>
                    <a:lnTo>
                      <a:pt x="400598" y="253281"/>
                    </a:lnTo>
                    <a:lnTo>
                      <a:pt x="397390" y="241212"/>
                    </a:lnTo>
                    <a:lnTo>
                      <a:pt x="378102" y="243771"/>
                    </a:lnTo>
                    <a:lnTo>
                      <a:pt x="361924" y="259998"/>
                    </a:lnTo>
                    <a:lnTo>
                      <a:pt x="353373" y="260326"/>
                    </a:lnTo>
                    <a:lnTo>
                      <a:pt x="333475" y="262685"/>
                    </a:lnTo>
                    <a:lnTo>
                      <a:pt x="313482" y="268546"/>
                    </a:lnTo>
                    <a:lnTo>
                      <a:pt x="294028" y="271048"/>
                    </a:lnTo>
                    <a:lnTo>
                      <a:pt x="308352" y="257302"/>
                    </a:lnTo>
                    <a:lnTo>
                      <a:pt x="340863" y="236021"/>
                    </a:lnTo>
                    <a:lnTo>
                      <a:pt x="362205" y="231278"/>
                    </a:lnTo>
                    <a:lnTo>
                      <a:pt x="365859" y="225067"/>
                    </a:lnTo>
                    <a:lnTo>
                      <a:pt x="335040" y="234974"/>
                    </a:lnTo>
                    <a:lnTo>
                      <a:pt x="308315" y="248583"/>
                    </a:lnTo>
                    <a:lnTo>
                      <a:pt x="271071" y="261647"/>
                    </a:lnTo>
                    <a:lnTo>
                      <a:pt x="266692" y="274321"/>
                    </a:lnTo>
                    <a:lnTo>
                      <a:pt x="235372" y="288731"/>
                    </a:lnTo>
                    <a:lnTo>
                      <a:pt x="210573" y="295976"/>
                    </a:lnTo>
                    <a:lnTo>
                      <a:pt x="189755" y="300756"/>
                    </a:lnTo>
                    <a:lnTo>
                      <a:pt x="174566" y="310435"/>
                    </a:lnTo>
                    <a:lnTo>
                      <a:pt x="140864" y="318816"/>
                    </a:lnTo>
                    <a:lnTo>
                      <a:pt x="124077" y="329009"/>
                    </a:lnTo>
                    <a:lnTo>
                      <a:pt x="97619" y="336227"/>
                    </a:lnTo>
                    <a:lnTo>
                      <a:pt x="91035" y="332790"/>
                    </a:lnTo>
                    <a:lnTo>
                      <a:pt x="71588" y="337062"/>
                    </a:lnTo>
                    <a:lnTo>
                      <a:pt x="49385" y="342567"/>
                    </a:lnTo>
                    <a:lnTo>
                      <a:pt x="29633" y="348370"/>
                    </a:lnTo>
                    <a:lnTo>
                      <a:pt x="0" y="350799"/>
                    </a:lnTo>
                    <a:lnTo>
                      <a:pt x="2702" y="346456"/>
                    </a:lnTo>
                    <a:lnTo>
                      <a:pt x="29496" y="338239"/>
                    </a:lnTo>
                    <a:lnTo>
                      <a:pt x="50378" y="333438"/>
                    </a:lnTo>
                    <a:lnTo>
                      <a:pt x="78945" y="323284"/>
                    </a:lnTo>
                    <a:lnTo>
                      <a:pt x="97618" y="323636"/>
                    </a:lnTo>
                    <a:lnTo>
                      <a:pt x="115128" y="315281"/>
                    </a:lnTo>
                    <a:lnTo>
                      <a:pt x="148975" y="304675"/>
                    </a:lnTo>
                    <a:lnTo>
                      <a:pt x="157293" y="300569"/>
                    </a:lnTo>
                    <a:lnTo>
                      <a:pt x="176226" y="294132"/>
                    </a:lnTo>
                    <a:lnTo>
                      <a:pt x="199453" y="277124"/>
                    </a:lnTo>
                    <a:lnTo>
                      <a:pt x="222210" y="264797"/>
                    </a:lnTo>
                    <a:lnTo>
                      <a:pt x="199662" y="269098"/>
                    </a:lnTo>
                    <a:lnTo>
                      <a:pt x="200610" y="264451"/>
                    </a:lnTo>
                    <a:lnTo>
                      <a:pt x="183750" y="271495"/>
                    </a:lnTo>
                    <a:lnTo>
                      <a:pt x="190286" y="258466"/>
                    </a:lnTo>
                    <a:lnTo>
                      <a:pt x="176786" y="265995"/>
                    </a:lnTo>
                    <a:lnTo>
                      <a:pt x="186578" y="253827"/>
                    </a:lnTo>
                    <a:lnTo>
                      <a:pt x="163072" y="260580"/>
                    </a:lnTo>
                    <a:lnTo>
                      <a:pt x="155744" y="259129"/>
                    </a:lnTo>
                    <a:lnTo>
                      <a:pt x="172022" y="245485"/>
                    </a:lnTo>
                    <a:lnTo>
                      <a:pt x="184881" y="237662"/>
                    </a:lnTo>
                    <a:lnTo>
                      <a:pt x="187806" y="228208"/>
                    </a:lnTo>
                    <a:lnTo>
                      <a:pt x="166957" y="229476"/>
                    </a:lnTo>
                    <a:lnTo>
                      <a:pt x="171215" y="217064"/>
                    </a:lnTo>
                    <a:lnTo>
                      <a:pt x="170604" y="210158"/>
                    </a:lnTo>
                    <a:lnTo>
                      <a:pt x="187764" y="197673"/>
                    </a:lnTo>
                    <a:lnTo>
                      <a:pt x="192134" y="186573"/>
                    </a:lnTo>
                    <a:lnTo>
                      <a:pt x="214196" y="174949"/>
                    </a:lnTo>
                    <a:lnTo>
                      <a:pt x="240511" y="164702"/>
                    </a:lnTo>
                    <a:lnTo>
                      <a:pt x="260371" y="154436"/>
                    </a:lnTo>
                    <a:lnTo>
                      <a:pt x="271542" y="154636"/>
                    </a:lnTo>
                    <a:lnTo>
                      <a:pt x="274183" y="159577"/>
                    </a:lnTo>
                    <a:lnTo>
                      <a:pt x="297960" y="150928"/>
                    </a:lnTo>
                    <a:lnTo>
                      <a:pt x="303343" y="154334"/>
                    </a:lnTo>
                    <a:lnTo>
                      <a:pt x="321285" y="149268"/>
                    </a:lnTo>
                    <a:lnTo>
                      <a:pt x="333264" y="139080"/>
                    </a:lnTo>
                    <a:lnTo>
                      <a:pt x="332700" y="134067"/>
                    </a:lnTo>
                    <a:lnTo>
                      <a:pt x="352718" y="127385"/>
                    </a:lnTo>
                    <a:lnTo>
                      <a:pt x="345693" y="126361"/>
                    </a:lnTo>
                    <a:lnTo>
                      <a:pt x="327402" y="128780"/>
                    </a:lnTo>
                    <a:lnTo>
                      <a:pt x="317208" y="132833"/>
                    </a:lnTo>
                    <a:lnTo>
                      <a:pt x="315572" y="126489"/>
                    </a:lnTo>
                    <a:lnTo>
                      <a:pt x="296817" y="125863"/>
                    </a:lnTo>
                    <a:lnTo>
                      <a:pt x="288800" y="117682"/>
                    </a:lnTo>
                    <a:lnTo>
                      <a:pt x="297255" y="108369"/>
                    </a:lnTo>
                    <a:lnTo>
                      <a:pt x="302843" y="93633"/>
                    </a:lnTo>
                    <a:lnTo>
                      <a:pt x="331006" y="87940"/>
                    </a:lnTo>
                    <a:lnTo>
                      <a:pt x="369944" y="82418"/>
                    </a:lnTo>
                    <a:lnTo>
                      <a:pt x="378500" y="84065"/>
                    </a:lnTo>
                    <a:lnTo>
                      <a:pt x="361081" y="94139"/>
                    </a:lnTo>
                    <a:lnTo>
                      <a:pt x="384593" y="97577"/>
                    </a:lnTo>
                    <a:lnTo>
                      <a:pt x="395728" y="83088"/>
                    </a:lnTo>
                    <a:lnTo>
                      <a:pt x="395177" y="72820"/>
                    </a:lnTo>
                    <a:lnTo>
                      <a:pt x="404083" y="61216"/>
                    </a:lnTo>
                    <a:lnTo>
                      <a:pt x="408294" y="50722"/>
                    </a:lnTo>
                    <a:lnTo>
                      <a:pt x="404940" y="41728"/>
                    </a:lnTo>
                    <a:lnTo>
                      <a:pt x="427921" y="32342"/>
                    </a:lnTo>
                    <a:lnTo>
                      <a:pt x="446664" y="35015"/>
                    </a:lnTo>
                    <a:lnTo>
                      <a:pt x="474279" y="28236"/>
                    </a:lnTo>
                    <a:lnTo>
                      <a:pt x="492700" y="18975"/>
                    </a:lnTo>
                    <a:lnTo>
                      <a:pt x="518499" y="11359"/>
                    </a:lnTo>
                    <a:lnTo>
                      <a:pt x="531900" y="10782"/>
                    </a:lnTo>
                    <a:lnTo>
                      <a:pt x="565236" y="5202"/>
                    </a:lnTo>
                    <a:lnTo>
                      <a:pt x="572184" y="8070"/>
                    </a:lnTo>
                    <a:lnTo>
                      <a:pt x="604811" y="0"/>
                    </a:lnTo>
                    <a:lnTo>
                      <a:pt x="613125" y="6640"/>
                    </a:lnTo>
                    <a:lnTo>
                      <a:pt x="605969" y="16894"/>
                    </a:lnTo>
                    <a:lnTo>
                      <a:pt x="616634" y="13714"/>
                    </a:lnTo>
                    <a:lnTo>
                      <a:pt x="631888" y="17662"/>
                    </a:lnTo>
                    <a:lnTo>
                      <a:pt x="624027" y="22236"/>
                    </a:lnTo>
                    <a:lnTo>
                      <a:pt x="634417" y="28189"/>
                    </a:lnTo>
                    <a:lnTo>
                      <a:pt x="648060" y="27785"/>
                    </a:lnTo>
                    <a:lnTo>
                      <a:pt x="660255" y="37672"/>
                    </a:lnTo>
                    <a:lnTo>
                      <a:pt x="677631" y="42689"/>
                    </a:lnTo>
                    <a:lnTo>
                      <a:pt x="681874" y="46622"/>
                    </a:lnTo>
                    <a:lnTo>
                      <a:pt x="700868" y="45315"/>
                    </a:lnTo>
                    <a:lnTo>
                      <a:pt x="708185" y="53999"/>
                    </a:lnTo>
                    <a:lnTo>
                      <a:pt x="715796" y="58649"/>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361" name="Polygon form 326"/>
              <p:cNvSpPr/>
              <p:nvPr/>
            </p:nvSpPr>
            <p:spPr>
              <a:xfrm>
                <a:off x="1700379" y="2577939"/>
                <a:ext cx="49399" cy="26884"/>
              </a:xfrm>
              <a:custGeom>
                <a:avLst/>
                <a:gdLst/>
                <a:ahLst/>
                <a:cxnLst/>
                <a:rect l="0" t="0" r="0" b="0"/>
                <a:pathLst>
                  <a:path w="49399" h="26884">
                    <a:moveTo>
                      <a:pt x="42893" y="0"/>
                    </a:moveTo>
                    <a:lnTo>
                      <a:pt x="49399" y="3015"/>
                    </a:lnTo>
                    <a:lnTo>
                      <a:pt x="46441" y="11122"/>
                    </a:lnTo>
                    <a:lnTo>
                      <a:pt x="22836" y="20244"/>
                    </a:lnTo>
                    <a:lnTo>
                      <a:pt x="0" y="26884"/>
                    </a:lnTo>
                    <a:lnTo>
                      <a:pt x="417" y="19733"/>
                    </a:lnTo>
                    <a:lnTo>
                      <a:pt x="11096" y="8528"/>
                    </a:lnTo>
                    <a:lnTo>
                      <a:pt x="32092" y="2339"/>
                    </a:lnTo>
                    <a:lnTo>
                      <a:pt x="42893" y="0"/>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362" name="Polygon form 327"/>
              <p:cNvSpPr/>
              <p:nvPr/>
            </p:nvSpPr>
            <p:spPr>
              <a:xfrm>
                <a:off x="1690556" y="2407840"/>
                <a:ext cx="29903" cy="22011"/>
              </a:xfrm>
              <a:custGeom>
                <a:avLst/>
                <a:gdLst/>
                <a:ahLst/>
                <a:cxnLst/>
                <a:rect l="0" t="0" r="0" b="0"/>
                <a:pathLst>
                  <a:path w="29903" h="22011">
                    <a:moveTo>
                      <a:pt x="13216" y="0"/>
                    </a:moveTo>
                    <a:lnTo>
                      <a:pt x="13532" y="5394"/>
                    </a:lnTo>
                    <a:lnTo>
                      <a:pt x="23451" y="4644"/>
                    </a:lnTo>
                    <a:lnTo>
                      <a:pt x="23542" y="12032"/>
                    </a:lnTo>
                    <a:lnTo>
                      <a:pt x="29903" y="17102"/>
                    </a:lnTo>
                    <a:lnTo>
                      <a:pt x="25545" y="19230"/>
                    </a:lnTo>
                    <a:lnTo>
                      <a:pt x="10642" y="22011"/>
                    </a:lnTo>
                    <a:lnTo>
                      <a:pt x="9448" y="15660"/>
                    </a:lnTo>
                    <a:lnTo>
                      <a:pt x="11231" y="10958"/>
                    </a:lnTo>
                    <a:lnTo>
                      <a:pt x="0" y="10167"/>
                    </a:lnTo>
                    <a:lnTo>
                      <a:pt x="338" y="7768"/>
                    </a:lnTo>
                    <a:lnTo>
                      <a:pt x="13216" y="0"/>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363" name="Polygon form 328"/>
              <p:cNvSpPr/>
              <p:nvPr/>
            </p:nvSpPr>
            <p:spPr>
              <a:xfrm>
                <a:off x="1636432" y="2493164"/>
                <a:ext cx="24130" cy="14604"/>
              </a:xfrm>
              <a:custGeom>
                <a:avLst/>
                <a:gdLst/>
                <a:ahLst/>
                <a:cxnLst/>
                <a:rect l="0" t="0" r="0" b="0"/>
                <a:pathLst>
                  <a:path w="24130" h="14604">
                    <a:moveTo>
                      <a:pt x="17810" y="0"/>
                    </a:moveTo>
                    <a:lnTo>
                      <a:pt x="24130" y="3865"/>
                    </a:lnTo>
                    <a:lnTo>
                      <a:pt x="13646" y="12598"/>
                    </a:lnTo>
                    <a:lnTo>
                      <a:pt x="1881" y="14604"/>
                    </a:lnTo>
                    <a:lnTo>
                      <a:pt x="0" y="8894"/>
                    </a:lnTo>
                    <a:lnTo>
                      <a:pt x="1343" y="1441"/>
                    </a:lnTo>
                    <a:lnTo>
                      <a:pt x="17810" y="0"/>
                    </a:lnTo>
                    <a:close/>
                  </a:path>
                </a:pathLst>
              </a:custGeom>
              <a:solidFill>
                <a:srgbClr val="238B45">
                  <a:alpha val="100000"/>
                </a:srgbClr>
              </a:solidFill>
              <a:ln w="5400">
                <a:solidFill>
                  <a:srgbClr val="7F7F7F">
                    <a:alpha val="100000"/>
                  </a:srgbClr>
                </a:solidFill>
                <a:prstDash val="solid"/>
                <a:round/>
              </a:ln>
            </p:spPr>
            <p:txBody>
              <a:bodyPr/>
              <a:lstStyle/>
              <a:p/>
            </p:txBody>
          </p:sp>
          <p:sp>
            <p:nvSpPr>
              <p:cNvPr id="364" name="Polygon form 329"/>
              <p:cNvSpPr/>
              <p:nvPr/>
            </p:nvSpPr>
            <p:spPr>
              <a:xfrm>
                <a:off x="1866982" y="3167946"/>
                <a:ext cx="151283" cy="150345"/>
              </a:xfrm>
              <a:custGeom>
                <a:avLst/>
                <a:gdLst/>
                <a:ahLst/>
                <a:cxnLst/>
                <a:rect l="0" t="0" r="0" b="0"/>
                <a:pathLst>
                  <a:path w="151283" h="150345">
                    <a:moveTo>
                      <a:pt x="151283" y="6505"/>
                    </a:moveTo>
                    <a:lnTo>
                      <a:pt x="91294" y="150345"/>
                    </a:lnTo>
                    <a:lnTo>
                      <a:pt x="55577" y="148214"/>
                    </a:lnTo>
                    <a:lnTo>
                      <a:pt x="21806" y="127407"/>
                    </a:lnTo>
                    <a:lnTo>
                      <a:pt x="0" y="113039"/>
                    </a:lnTo>
                    <a:lnTo>
                      <a:pt x="3767" y="108143"/>
                    </a:lnTo>
                    <a:lnTo>
                      <a:pt x="6058" y="108428"/>
                    </a:lnTo>
                    <a:lnTo>
                      <a:pt x="10176" y="103442"/>
                    </a:lnTo>
                    <a:lnTo>
                      <a:pt x="8541" y="99690"/>
                    </a:lnTo>
                    <a:lnTo>
                      <a:pt x="9548" y="95807"/>
                    </a:lnTo>
                    <a:lnTo>
                      <a:pt x="10565" y="91228"/>
                    </a:lnTo>
                    <a:lnTo>
                      <a:pt x="16548" y="85602"/>
                    </a:lnTo>
                    <a:lnTo>
                      <a:pt x="23052" y="73997"/>
                    </a:lnTo>
                    <a:lnTo>
                      <a:pt x="30702" y="69148"/>
                    </a:lnTo>
                    <a:lnTo>
                      <a:pt x="29547" y="63992"/>
                    </a:lnTo>
                    <a:lnTo>
                      <a:pt x="29413" y="59009"/>
                    </a:lnTo>
                    <a:lnTo>
                      <a:pt x="29971" y="54427"/>
                    </a:lnTo>
                    <a:lnTo>
                      <a:pt x="30567" y="50896"/>
                    </a:lnTo>
                    <a:lnTo>
                      <a:pt x="31248" y="48587"/>
                    </a:lnTo>
                    <a:lnTo>
                      <a:pt x="34601" y="43660"/>
                    </a:lnTo>
                    <a:lnTo>
                      <a:pt x="36027" y="38600"/>
                    </a:lnTo>
                    <a:lnTo>
                      <a:pt x="37941" y="33635"/>
                    </a:lnTo>
                    <a:lnTo>
                      <a:pt x="40494" y="28148"/>
                    </a:lnTo>
                    <a:lnTo>
                      <a:pt x="40567" y="24535"/>
                    </a:lnTo>
                    <a:lnTo>
                      <a:pt x="43224" y="21488"/>
                    </a:lnTo>
                    <a:lnTo>
                      <a:pt x="46883" y="21775"/>
                    </a:lnTo>
                    <a:lnTo>
                      <a:pt x="49370" y="23841"/>
                    </a:lnTo>
                    <a:lnTo>
                      <a:pt x="51274" y="25037"/>
                    </a:lnTo>
                    <a:lnTo>
                      <a:pt x="54232" y="21247"/>
                    </a:lnTo>
                    <a:lnTo>
                      <a:pt x="55373" y="20457"/>
                    </a:lnTo>
                    <a:lnTo>
                      <a:pt x="64925" y="0"/>
                    </a:lnTo>
                    <a:lnTo>
                      <a:pt x="92985" y="1808"/>
                    </a:lnTo>
                    <a:lnTo>
                      <a:pt x="126217" y="4423"/>
                    </a:lnTo>
                    <a:lnTo>
                      <a:pt x="151283" y="6505"/>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365" name="Polygon form 330"/>
              <p:cNvSpPr/>
              <p:nvPr/>
            </p:nvSpPr>
            <p:spPr>
              <a:xfrm>
                <a:off x="1788347" y="3025636"/>
                <a:ext cx="110028" cy="252098"/>
              </a:xfrm>
              <a:custGeom>
                <a:avLst/>
                <a:gdLst/>
                <a:ahLst/>
                <a:cxnLst/>
                <a:rect l="0" t="0" r="0" b="0"/>
                <a:pathLst>
                  <a:path w="110028" h="252098">
                    <a:moveTo>
                      <a:pt x="108182" y="206302"/>
                    </a:moveTo>
                    <a:lnTo>
                      <a:pt x="109337" y="211457"/>
                    </a:lnTo>
                    <a:lnTo>
                      <a:pt x="101687" y="216307"/>
                    </a:lnTo>
                    <a:lnTo>
                      <a:pt x="95183" y="227912"/>
                    </a:lnTo>
                    <a:lnTo>
                      <a:pt x="89200" y="233538"/>
                    </a:lnTo>
                    <a:lnTo>
                      <a:pt x="88183" y="238117"/>
                    </a:lnTo>
                    <a:lnTo>
                      <a:pt x="87176" y="242000"/>
                    </a:lnTo>
                    <a:lnTo>
                      <a:pt x="88811" y="245751"/>
                    </a:lnTo>
                    <a:lnTo>
                      <a:pt x="84693" y="250738"/>
                    </a:lnTo>
                    <a:lnTo>
                      <a:pt x="82401" y="250453"/>
                    </a:lnTo>
                    <a:lnTo>
                      <a:pt x="58644" y="251595"/>
                    </a:lnTo>
                    <a:lnTo>
                      <a:pt x="37587" y="252098"/>
                    </a:lnTo>
                    <a:lnTo>
                      <a:pt x="40277" y="238742"/>
                    </a:lnTo>
                    <a:lnTo>
                      <a:pt x="35348" y="223101"/>
                    </a:lnTo>
                    <a:lnTo>
                      <a:pt x="28504" y="219391"/>
                    </a:lnTo>
                    <a:lnTo>
                      <a:pt x="29922" y="211874"/>
                    </a:lnTo>
                    <a:lnTo>
                      <a:pt x="20653" y="209809"/>
                    </a:lnTo>
                    <a:lnTo>
                      <a:pt x="17583" y="202363"/>
                    </a:lnTo>
                    <a:lnTo>
                      <a:pt x="2502" y="198515"/>
                    </a:lnTo>
                    <a:lnTo>
                      <a:pt x="0" y="194005"/>
                    </a:lnTo>
                    <a:lnTo>
                      <a:pt x="4610" y="179750"/>
                    </a:lnTo>
                    <a:lnTo>
                      <a:pt x="498" y="152551"/>
                    </a:lnTo>
                    <a:lnTo>
                      <a:pt x="4548" y="115710"/>
                    </a:lnTo>
                    <a:lnTo>
                      <a:pt x="8290" y="109842"/>
                    </a:lnTo>
                    <a:lnTo>
                      <a:pt x="5307" y="100727"/>
                    </a:lnTo>
                    <a:lnTo>
                      <a:pt x="3943" y="78142"/>
                    </a:lnTo>
                    <a:lnTo>
                      <a:pt x="13328" y="57160"/>
                    </a:lnTo>
                    <a:lnTo>
                      <a:pt x="12450" y="42419"/>
                    </a:lnTo>
                    <a:lnTo>
                      <a:pt x="28460" y="21743"/>
                    </a:lnTo>
                    <a:lnTo>
                      <a:pt x="40946" y="0"/>
                    </a:lnTo>
                    <a:lnTo>
                      <a:pt x="110028" y="6987"/>
                    </a:lnTo>
                    <a:lnTo>
                      <a:pt x="67399" y="82820"/>
                    </a:lnTo>
                    <a:lnTo>
                      <a:pt x="81495" y="119986"/>
                    </a:lnTo>
                    <a:lnTo>
                      <a:pt x="95753" y="156234"/>
                    </a:lnTo>
                    <a:lnTo>
                      <a:pt x="109883" y="190896"/>
                    </a:lnTo>
                    <a:lnTo>
                      <a:pt x="109201" y="193206"/>
                    </a:lnTo>
                    <a:lnTo>
                      <a:pt x="108606" y="196737"/>
                    </a:lnTo>
                    <a:lnTo>
                      <a:pt x="108048" y="201319"/>
                    </a:lnTo>
                    <a:lnTo>
                      <a:pt x="108182" y="206302"/>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366" name="Polygon form 331"/>
              <p:cNvSpPr/>
              <p:nvPr/>
            </p:nvSpPr>
            <p:spPr>
              <a:xfrm>
                <a:off x="2018266" y="3073648"/>
                <a:ext cx="166830" cy="109681"/>
              </a:xfrm>
              <a:custGeom>
                <a:avLst/>
                <a:gdLst/>
                <a:ahLst/>
                <a:cxnLst/>
                <a:rect l="0" t="0" r="0" b="0"/>
                <a:pathLst>
                  <a:path w="166830" h="109681">
                    <a:moveTo>
                      <a:pt x="155028" y="34215"/>
                    </a:moveTo>
                    <a:lnTo>
                      <a:pt x="137735" y="72820"/>
                    </a:lnTo>
                    <a:lnTo>
                      <a:pt x="121757" y="109681"/>
                    </a:lnTo>
                    <a:lnTo>
                      <a:pt x="105015" y="108454"/>
                    </a:lnTo>
                    <a:lnTo>
                      <a:pt x="84171" y="106982"/>
                    </a:lnTo>
                    <a:lnTo>
                      <a:pt x="54602" y="104862"/>
                    </a:lnTo>
                    <a:lnTo>
                      <a:pt x="27169" y="102810"/>
                    </a:lnTo>
                    <a:lnTo>
                      <a:pt x="0" y="100804"/>
                    </a:lnTo>
                    <a:lnTo>
                      <a:pt x="48610" y="0"/>
                    </a:lnTo>
                    <a:lnTo>
                      <a:pt x="65477" y="1352"/>
                    </a:lnTo>
                    <a:lnTo>
                      <a:pt x="82337" y="2700"/>
                    </a:lnTo>
                    <a:lnTo>
                      <a:pt x="116129" y="5320"/>
                    </a:lnTo>
                    <a:lnTo>
                      <a:pt x="133053" y="6607"/>
                    </a:lnTo>
                    <a:lnTo>
                      <a:pt x="166830" y="9150"/>
                    </a:lnTo>
                    <a:lnTo>
                      <a:pt x="155402" y="33408"/>
                    </a:lnTo>
                    <a:lnTo>
                      <a:pt x="155028" y="34215"/>
                    </a:lnTo>
                    <a:close/>
                  </a:path>
                </a:pathLst>
              </a:custGeom>
              <a:solidFill>
                <a:srgbClr val="00441B">
                  <a:alpha val="100000"/>
                </a:srgbClr>
              </a:solidFill>
              <a:ln w="5400">
                <a:solidFill>
                  <a:srgbClr val="7F7F7F">
                    <a:alpha val="100000"/>
                  </a:srgbClr>
                </a:solidFill>
                <a:prstDash val="solid"/>
                <a:round/>
              </a:ln>
            </p:spPr>
            <p:txBody>
              <a:bodyPr/>
              <a:lstStyle/>
              <a:p/>
            </p:txBody>
          </p:sp>
          <p:sp>
            <p:nvSpPr>
              <p:cNvPr id="367" name="Polygon form 332"/>
              <p:cNvSpPr/>
              <p:nvPr/>
            </p:nvSpPr>
            <p:spPr>
              <a:xfrm>
                <a:off x="1855746" y="3032623"/>
                <a:ext cx="141188" cy="183909"/>
              </a:xfrm>
              <a:custGeom>
                <a:avLst/>
                <a:gdLst/>
                <a:ahLst/>
                <a:cxnLst/>
                <a:rect l="0" t="0" r="0" b="0"/>
                <a:pathLst>
                  <a:path w="141188" h="183909">
                    <a:moveTo>
                      <a:pt x="76161" y="135322"/>
                    </a:moveTo>
                    <a:lnTo>
                      <a:pt x="66608" y="155780"/>
                    </a:lnTo>
                    <a:lnTo>
                      <a:pt x="65467" y="156570"/>
                    </a:lnTo>
                    <a:lnTo>
                      <a:pt x="62510" y="160359"/>
                    </a:lnTo>
                    <a:lnTo>
                      <a:pt x="60606" y="159164"/>
                    </a:lnTo>
                    <a:lnTo>
                      <a:pt x="58119" y="157098"/>
                    </a:lnTo>
                    <a:lnTo>
                      <a:pt x="54460" y="156810"/>
                    </a:lnTo>
                    <a:lnTo>
                      <a:pt x="51803" y="159857"/>
                    </a:lnTo>
                    <a:lnTo>
                      <a:pt x="51730" y="163470"/>
                    </a:lnTo>
                    <a:lnTo>
                      <a:pt x="49177" y="168957"/>
                    </a:lnTo>
                    <a:lnTo>
                      <a:pt x="47262" y="173923"/>
                    </a:lnTo>
                    <a:lnTo>
                      <a:pt x="45836" y="178983"/>
                    </a:lnTo>
                    <a:lnTo>
                      <a:pt x="42484" y="183909"/>
                    </a:lnTo>
                    <a:lnTo>
                      <a:pt x="28354" y="149246"/>
                    </a:lnTo>
                    <a:lnTo>
                      <a:pt x="14096" y="112999"/>
                    </a:lnTo>
                    <a:lnTo>
                      <a:pt x="0" y="75832"/>
                    </a:lnTo>
                    <a:lnTo>
                      <a:pt x="42628" y="0"/>
                    </a:lnTo>
                    <a:lnTo>
                      <a:pt x="91690" y="4488"/>
                    </a:lnTo>
                    <a:lnTo>
                      <a:pt x="91728" y="4421"/>
                    </a:lnTo>
                    <a:lnTo>
                      <a:pt x="141188" y="9080"/>
                    </a:lnTo>
                    <a:lnTo>
                      <a:pt x="76161" y="135322"/>
                    </a:lnTo>
                    <a:close/>
                  </a:path>
                </a:pathLst>
              </a:custGeom>
              <a:solidFill>
                <a:srgbClr val="006D2C">
                  <a:alpha val="100000"/>
                </a:srgbClr>
              </a:solidFill>
              <a:ln w="5400">
                <a:solidFill>
                  <a:srgbClr val="7F7F7F">
                    <a:alpha val="100000"/>
                  </a:srgbClr>
                </a:solidFill>
                <a:prstDash val="solid"/>
                <a:round/>
              </a:ln>
            </p:spPr>
            <p:txBody>
              <a:bodyPr/>
              <a:lstStyle/>
              <a:p/>
            </p:txBody>
          </p:sp>
        </p:grpSp>
      </p:grpSp>
      <p:sp>
        <p:nvSpPr>
          <p:cNvPr id="418" name="Title Texts6"/>
          <p:cNvSpPr>
            <a:spLocks noGrp="1"/>
          </p:cNvSpPr>
          <p:nvPr>
            <p:ph idx="4294967295"/>
          </p:nvPr>
        </p:nvSpPr>
        <p:spPr>
          <a:xfrm>
            <a:off x="-13951" y="3596640"/>
            <a:ext cx="2078714" cy="2497350"/>
          </a:xfrm>
          <a:solidFill>
            <a:schemeClr val="accent2"/>
          </a:solidFill>
        </p:spPr>
        <p:txBody>
          <a:bodyPr lIns="274320" rIns="182880" anchor="ctr">
            <a:noAutofit/>
          </a:bodyPr>
          <a:lstStyle>
            <a:lvl1pPr marL="0" indent="0" algn="l">
              <a:buNone/>
              <a:defRPr sz="1200" b="0"/>
            </a:lvl1pPr>
          </a:lstStyle>
          <a:p>
            <a:pPr>
              <a:lnSpc>
                <a:spcPct val="150000"/>
              </a:lnSpc>
            </a:pPr>
            <a:r>
              <a:rPr lang="zh-CN" altLang="en-US" dirty="0">
                <a:solidFill>
                  <a:schemeClr val="bg1"/>
                </a:solidFill>
              </a:rPr>
              <a:t>在过去</a:t>
            </a:r>
            <a:r>
              <a:rPr lang="en-US" altLang="zh-CN" dirty="0">
                <a:solidFill>
                  <a:schemeClr val="bg1"/>
                </a:solidFill>
              </a:rPr>
              <a:t>5</a:t>
            </a:r>
            <a:r>
              <a:rPr lang="zh-CN" altLang="en-US" dirty="0">
                <a:solidFill>
                  <a:schemeClr val="bg1"/>
                </a:solidFill>
              </a:rPr>
              <a:t>年，发表在</a:t>
            </a:r>
            <a:r>
              <a:rPr lang="en-US" altLang="zh-CN" dirty="0">
                <a:solidFill>
                  <a:schemeClr val="bg1"/>
                </a:solidFill>
              </a:rPr>
              <a:t>Elsevier</a:t>
            </a:r>
            <a:r>
              <a:rPr lang="zh-CN" altLang="en-US" dirty="0">
                <a:solidFill>
                  <a:schemeClr val="bg1"/>
                </a:solidFill>
              </a:rPr>
              <a:t>的期刊被来自</a:t>
            </a:r>
            <a:r>
              <a:rPr lang="en-US" altLang="zh-CN" dirty="0">
                <a:solidFill>
                  <a:schemeClr val="bg1"/>
                </a:solidFill>
              </a:rPr>
              <a:t>132</a:t>
            </a:r>
            <a:r>
              <a:rPr lang="zh-CN" altLang="en-US" dirty="0">
                <a:solidFill>
                  <a:schemeClr val="bg1"/>
                </a:solidFill>
              </a:rPr>
              <a:t>哥国家的研究人员下载了</a:t>
            </a:r>
            <a:r>
              <a:rPr dirty="0">
                <a:solidFill>
                  <a:schemeClr val="bg1"/>
                </a:solidFill>
              </a:rPr>
              <a:t>3,301,570,065 </a:t>
            </a:r>
            <a:r>
              <a:rPr lang="zh-CN" altLang="en-US" dirty="0">
                <a:solidFill>
                  <a:schemeClr val="bg1"/>
                </a:solidFill>
              </a:rPr>
              <a:t>此</a:t>
            </a:r>
            <a:r>
              <a:rPr dirty="0">
                <a:solidFill>
                  <a:schemeClr val="bg1"/>
                </a:solidFill>
              </a:rPr>
              <a:t>(</a:t>
            </a:r>
            <a:r>
              <a:rPr lang="zh-CN" altLang="en-US" dirty="0">
                <a:solidFill>
                  <a:schemeClr val="bg1"/>
                </a:solidFill>
              </a:rPr>
              <a:t>除</a:t>
            </a:r>
            <a:r>
              <a:rPr dirty="0">
                <a:solidFill>
                  <a:schemeClr val="bg1"/>
                </a:solidFill>
              </a:rPr>
              <a:t>“Research4Life” </a:t>
            </a:r>
            <a:r>
              <a:rPr lang="zh-CN" altLang="en-US" dirty="0">
                <a:solidFill>
                  <a:schemeClr val="bg1"/>
                </a:solidFill>
              </a:rPr>
              <a:t>项目</a:t>
            </a:r>
            <a:r>
              <a:rPr dirty="0">
                <a:solidFill>
                  <a:schemeClr val="bg1"/>
                </a:solidFill>
              </a:rPr>
              <a:t>.)</a:t>
            </a:r>
            <a:endParaRPr dirty="0">
              <a:solidFill>
                <a:schemeClr val="bg1"/>
              </a:solidFill>
            </a:endParaRPr>
          </a:p>
        </p:txBody>
      </p:sp>
      <p:graphicFrame>
        <p:nvGraphicFramePr>
          <p:cNvPr id="419" name="nvGraphicFrame 7"/>
          <p:cNvGraphicFramePr>
            <a:graphicFrameLocks noGrp="1"/>
          </p:cNvGraphicFramePr>
          <p:nvPr/>
        </p:nvGraphicFramePr>
        <p:xfrm>
          <a:off x="7001149" y="1784893"/>
          <a:ext cx="1828800" cy="3988864"/>
        </p:xfrm>
        <a:graphic>
          <a:graphicData uri="http://schemas.openxmlformats.org/drawingml/2006/table">
            <a:tbl>
              <a:tblPr/>
              <a:tblGrid>
                <a:gridCol w="1143000"/>
                <a:gridCol w="685800"/>
              </a:tblGrid>
              <a:tr h="362624">
                <a:tc gridSpan="2">
                  <a:txBody>
                    <a:bodyPr/>
                    <a:lstStyle/>
                    <a:p>
                      <a:pPr marL="25400" marR="25400" indent="0" algn="ctr">
                        <a:spcBef>
                          <a:spcPts val="200"/>
                        </a:spcBef>
                        <a:spcAft>
                          <a:spcPts val="200"/>
                        </a:spcAft>
                        <a:buNone/>
                      </a:pPr>
                      <a:r>
                        <a:rPr sz="1100" b="1" dirty="0">
                          <a:solidFill>
                            <a:srgbClr val="FFFFFF"/>
                          </a:solidFill>
                          <a:latin typeface="Helvetica"/>
                          <a:ea typeface="Helvetica"/>
                          <a:cs typeface="Helvetica"/>
                        </a:rPr>
                        <a:t>Top 20 Downloading Countries</a:t>
                      </a:r>
                      <a:endParaRPr sz="1100" b="1" dirty="0">
                        <a:solidFill>
                          <a:srgbClr val="FFFFFF"/>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8C00"/>
                    </a:solidFill>
                  </a:tcPr>
                </a:tc>
                <a:tc hMerge="1">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United States</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9.40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China</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6.03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United Kingdom</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7.40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India</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95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Japan</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75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Australia</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62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Germany</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38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Canada</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01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Korea</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a:solidFill>
                            <a:schemeClr val="tx1"/>
                          </a:solidFill>
                          <a:latin typeface="Helvetica"/>
                          <a:ea typeface="Helvetica"/>
                          <a:cs typeface="Helvetica"/>
                        </a:rPr>
                        <a:t>2.98 %</a:t>
                      </a:r>
                      <a:endParaRPr sz="110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France</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2.80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Brazil</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2.53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Taiwan</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2.46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81312">
                <a:tc>
                  <a:txBody>
                    <a:bodyPr/>
                    <a:lstStyle/>
                    <a:p>
                      <a:pPr marL="25400" marR="25400" indent="0" algn="r">
                        <a:spcBef>
                          <a:spcPts val="200"/>
                        </a:spcBef>
                        <a:spcAft>
                          <a:spcPts val="200"/>
                        </a:spcAft>
                        <a:buNone/>
                      </a:pPr>
                      <a:r>
                        <a:rPr sz="1100">
                          <a:solidFill>
                            <a:schemeClr val="tx1"/>
                          </a:solidFill>
                          <a:latin typeface="Helvetica"/>
                          <a:ea typeface="Helvetica"/>
                          <a:cs typeface="Helvetica"/>
                        </a:rPr>
                        <a:t>Italy</a:t>
                      </a:r>
                      <a:endParaRPr sz="110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92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Spain</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91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81312">
                <a:tc>
                  <a:txBody>
                    <a:bodyPr/>
                    <a:lstStyle/>
                    <a:p>
                      <a:pPr marL="25400" marR="25400" indent="0" algn="r">
                        <a:spcBef>
                          <a:spcPts val="200"/>
                        </a:spcBef>
                        <a:spcAft>
                          <a:spcPts val="200"/>
                        </a:spcAft>
                        <a:buNone/>
                      </a:pPr>
                      <a:r>
                        <a:rPr sz="1100">
                          <a:solidFill>
                            <a:schemeClr val="tx1"/>
                          </a:solidFill>
                          <a:latin typeface="Helvetica"/>
                          <a:ea typeface="Helvetica"/>
                          <a:cs typeface="Helvetica"/>
                        </a:rPr>
                        <a:t>Netherlands</a:t>
                      </a:r>
                      <a:endParaRPr sz="110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87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Iran</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81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Turkey</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76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Thailand</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65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81312">
                <a:tc>
                  <a:txBody>
                    <a:bodyPr/>
                    <a:lstStyle/>
                    <a:p>
                      <a:pPr marL="25400" marR="25400" indent="0" algn="r">
                        <a:spcBef>
                          <a:spcPts val="200"/>
                        </a:spcBef>
                        <a:spcAft>
                          <a:spcPts val="200"/>
                        </a:spcAft>
                        <a:buNone/>
                      </a:pPr>
                      <a:r>
                        <a:rPr sz="1100">
                          <a:solidFill>
                            <a:schemeClr val="tx1"/>
                          </a:solidFill>
                          <a:latin typeface="Helvetica"/>
                          <a:ea typeface="Helvetica"/>
                          <a:cs typeface="Helvetica"/>
                        </a:rPr>
                        <a:t>Malaysia</a:t>
                      </a:r>
                      <a:endParaRPr sz="110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58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81312">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Switzerland</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11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bl>
          </a:graphicData>
        </a:graphic>
      </p:graphicFrame>
      <p:grpSp>
        <p:nvGrpSpPr>
          <p:cNvPr id="332" name="Group 331"/>
          <p:cNvGrpSpPr/>
          <p:nvPr/>
        </p:nvGrpSpPr>
        <p:grpSpPr>
          <a:xfrm>
            <a:off x="2336532" y="5428334"/>
            <a:ext cx="4101757" cy="583233"/>
            <a:chOff x="282496" y="5569309"/>
            <a:chExt cx="4101757" cy="583233"/>
          </a:xfrm>
        </p:grpSpPr>
        <p:sp>
          <p:nvSpPr>
            <p:cNvPr id="333" name="Rectangle 335"/>
            <p:cNvSpPr/>
            <p:nvPr/>
          </p:nvSpPr>
          <p:spPr>
            <a:xfrm>
              <a:off x="282496" y="5569309"/>
              <a:ext cx="201727" cy="201727"/>
            </a:xfrm>
            <a:prstGeom prst="rect">
              <a:avLst/>
            </a:prstGeom>
            <a:solidFill>
              <a:srgbClr val="F7FCF5">
                <a:alpha val="100000"/>
              </a:srgbClr>
            </a:solidFill>
            <a:ln w="9525">
              <a:solidFill>
                <a:srgbClr val="7F7F7F">
                  <a:alpha val="100000"/>
                </a:srgbClr>
              </a:solidFill>
              <a:prstDash val="solid"/>
              <a:round/>
            </a:ln>
          </p:spPr>
          <p:txBody>
            <a:bodyPr/>
            <a:lstStyle/>
            <a:p/>
          </p:txBody>
        </p:sp>
        <p:sp>
          <p:nvSpPr>
            <p:cNvPr id="334" name="Rectangle 339"/>
            <p:cNvSpPr/>
            <p:nvPr/>
          </p:nvSpPr>
          <p:spPr>
            <a:xfrm>
              <a:off x="509439" y="5569309"/>
              <a:ext cx="201727" cy="201727"/>
            </a:xfrm>
            <a:prstGeom prst="rect">
              <a:avLst/>
            </a:prstGeom>
            <a:solidFill>
              <a:srgbClr val="E5F5E0">
                <a:alpha val="100000"/>
              </a:srgbClr>
            </a:solidFill>
            <a:ln w="9525">
              <a:solidFill>
                <a:srgbClr val="7F7F7F">
                  <a:alpha val="100000"/>
                </a:srgbClr>
              </a:solidFill>
              <a:prstDash val="solid"/>
              <a:round/>
            </a:ln>
          </p:spPr>
          <p:txBody>
            <a:bodyPr/>
            <a:lstStyle/>
            <a:p/>
          </p:txBody>
        </p:sp>
        <p:sp>
          <p:nvSpPr>
            <p:cNvPr id="335" name="Rectangle 343"/>
            <p:cNvSpPr/>
            <p:nvPr/>
          </p:nvSpPr>
          <p:spPr>
            <a:xfrm>
              <a:off x="736381" y="5569309"/>
              <a:ext cx="220914" cy="201727"/>
            </a:xfrm>
            <a:prstGeom prst="rect">
              <a:avLst/>
            </a:prstGeom>
            <a:solidFill>
              <a:srgbClr val="C7E9C0">
                <a:alpha val="100000"/>
              </a:srgbClr>
            </a:solidFill>
            <a:ln w="9525">
              <a:solidFill>
                <a:srgbClr val="7F7F7F">
                  <a:alpha val="100000"/>
                </a:srgbClr>
              </a:solidFill>
              <a:prstDash val="solid"/>
              <a:round/>
            </a:ln>
          </p:spPr>
          <p:txBody>
            <a:bodyPr/>
            <a:lstStyle/>
            <a:p/>
          </p:txBody>
        </p:sp>
        <p:sp>
          <p:nvSpPr>
            <p:cNvPr id="336" name="Rectangle 347"/>
            <p:cNvSpPr/>
            <p:nvPr/>
          </p:nvSpPr>
          <p:spPr>
            <a:xfrm>
              <a:off x="982511" y="5569309"/>
              <a:ext cx="292756" cy="201727"/>
            </a:xfrm>
            <a:prstGeom prst="rect">
              <a:avLst/>
            </a:prstGeom>
            <a:solidFill>
              <a:srgbClr val="A1D99B">
                <a:alpha val="100000"/>
              </a:srgbClr>
            </a:solidFill>
            <a:ln w="9525">
              <a:solidFill>
                <a:srgbClr val="7F7F7F">
                  <a:alpha val="100000"/>
                </a:srgbClr>
              </a:solidFill>
              <a:prstDash val="solid"/>
              <a:round/>
            </a:ln>
          </p:spPr>
          <p:txBody>
            <a:bodyPr/>
            <a:lstStyle/>
            <a:p/>
          </p:txBody>
        </p:sp>
        <p:sp>
          <p:nvSpPr>
            <p:cNvPr id="368" name="Rectangle 351"/>
            <p:cNvSpPr/>
            <p:nvPr/>
          </p:nvSpPr>
          <p:spPr>
            <a:xfrm>
              <a:off x="1300484" y="5569309"/>
              <a:ext cx="337658" cy="201727"/>
            </a:xfrm>
            <a:prstGeom prst="rect">
              <a:avLst/>
            </a:prstGeom>
            <a:solidFill>
              <a:srgbClr val="74C476">
                <a:alpha val="100000"/>
              </a:srgbClr>
            </a:solidFill>
            <a:ln w="9525">
              <a:solidFill>
                <a:srgbClr val="7F7F7F">
                  <a:alpha val="100000"/>
                </a:srgbClr>
              </a:solidFill>
              <a:prstDash val="solid"/>
              <a:round/>
            </a:ln>
          </p:spPr>
          <p:txBody>
            <a:bodyPr/>
            <a:lstStyle/>
            <a:p/>
          </p:txBody>
        </p:sp>
        <p:sp>
          <p:nvSpPr>
            <p:cNvPr id="369" name="Rectangle 355"/>
            <p:cNvSpPr/>
            <p:nvPr/>
          </p:nvSpPr>
          <p:spPr>
            <a:xfrm>
              <a:off x="1663357" y="5569309"/>
              <a:ext cx="382559" cy="201727"/>
            </a:xfrm>
            <a:prstGeom prst="rect">
              <a:avLst/>
            </a:prstGeom>
            <a:solidFill>
              <a:srgbClr val="41AB5D">
                <a:alpha val="100000"/>
              </a:srgbClr>
            </a:solidFill>
            <a:ln w="9525">
              <a:solidFill>
                <a:srgbClr val="7F7F7F">
                  <a:alpha val="100000"/>
                </a:srgbClr>
              </a:solidFill>
              <a:prstDash val="solid"/>
              <a:round/>
            </a:ln>
          </p:spPr>
          <p:txBody>
            <a:bodyPr/>
            <a:lstStyle/>
            <a:p/>
          </p:txBody>
        </p:sp>
        <p:sp>
          <p:nvSpPr>
            <p:cNvPr id="370" name="Rectangle 359"/>
            <p:cNvSpPr/>
            <p:nvPr/>
          </p:nvSpPr>
          <p:spPr>
            <a:xfrm>
              <a:off x="2071132" y="5569309"/>
              <a:ext cx="454401" cy="201727"/>
            </a:xfrm>
            <a:prstGeom prst="rect">
              <a:avLst/>
            </a:prstGeom>
            <a:solidFill>
              <a:srgbClr val="238B45">
                <a:alpha val="100000"/>
              </a:srgbClr>
            </a:solidFill>
            <a:ln w="9525">
              <a:solidFill>
                <a:srgbClr val="7F7F7F">
                  <a:alpha val="100000"/>
                </a:srgbClr>
              </a:solidFill>
              <a:prstDash val="solid"/>
              <a:round/>
            </a:ln>
          </p:spPr>
          <p:txBody>
            <a:bodyPr/>
            <a:lstStyle/>
            <a:p/>
          </p:txBody>
        </p:sp>
        <p:sp>
          <p:nvSpPr>
            <p:cNvPr id="371" name="Rectangle 363"/>
            <p:cNvSpPr/>
            <p:nvPr/>
          </p:nvSpPr>
          <p:spPr>
            <a:xfrm>
              <a:off x="2550749" y="5569309"/>
              <a:ext cx="499302" cy="201727"/>
            </a:xfrm>
            <a:prstGeom prst="rect">
              <a:avLst/>
            </a:prstGeom>
            <a:solidFill>
              <a:srgbClr val="006D2C">
                <a:alpha val="100000"/>
              </a:srgbClr>
            </a:solidFill>
            <a:ln w="9525">
              <a:solidFill>
                <a:srgbClr val="7F7F7F">
                  <a:alpha val="100000"/>
                </a:srgbClr>
              </a:solidFill>
              <a:prstDash val="solid"/>
              <a:round/>
            </a:ln>
          </p:spPr>
          <p:txBody>
            <a:bodyPr/>
            <a:lstStyle/>
            <a:p/>
          </p:txBody>
        </p:sp>
        <p:sp>
          <p:nvSpPr>
            <p:cNvPr id="372" name="Rectangle 367"/>
            <p:cNvSpPr/>
            <p:nvPr/>
          </p:nvSpPr>
          <p:spPr>
            <a:xfrm>
              <a:off x="3075267" y="5569309"/>
              <a:ext cx="544204" cy="201727"/>
            </a:xfrm>
            <a:prstGeom prst="rect">
              <a:avLst/>
            </a:prstGeom>
            <a:solidFill>
              <a:srgbClr val="00441B">
                <a:alpha val="100000"/>
              </a:srgbClr>
            </a:solidFill>
            <a:ln w="9525">
              <a:solidFill>
                <a:srgbClr val="7F7F7F">
                  <a:alpha val="100000"/>
                </a:srgbClr>
              </a:solidFill>
              <a:prstDash val="solid"/>
              <a:round/>
            </a:ln>
          </p:spPr>
          <p:txBody>
            <a:bodyPr/>
            <a:lstStyle/>
            <a:p/>
          </p:txBody>
        </p:sp>
        <p:sp>
          <p:nvSpPr>
            <p:cNvPr id="373" name="Rectangle 369"/>
            <p:cNvSpPr/>
            <p:nvPr/>
          </p:nvSpPr>
          <p:spPr>
            <a:xfrm>
              <a:off x="3644686" y="5569309"/>
              <a:ext cx="616046" cy="201727"/>
            </a:xfrm>
            <a:prstGeom prst="rect">
              <a:avLst/>
            </a:prstGeom>
            <a:ln w="9525">
              <a:solidFill>
                <a:srgbClr val="7F7F7F">
                  <a:alpha val="100000"/>
                </a:srgbClr>
              </a:solidFill>
              <a:prstDash val="solid"/>
              <a:round/>
            </a:ln>
          </p:spPr>
          <p:txBody>
            <a:bodyPr/>
            <a:lstStyle/>
            <a:p/>
          </p:txBody>
        </p:sp>
        <p:sp>
          <p:nvSpPr>
            <p:cNvPr id="374" name="Text 373"/>
            <p:cNvSpPr/>
            <p:nvPr/>
          </p:nvSpPr>
          <p:spPr>
            <a:xfrm rot="18900000">
              <a:off x="290297" y="5839241"/>
              <a:ext cx="1270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dirty="0">
                  <a:solidFill>
                    <a:srgbClr val="000000">
                      <a:alpha val="100000"/>
                    </a:srgbClr>
                  </a:solidFill>
                  <a:cs typeface="Helvetica"/>
                </a:rPr>
                <a:t>0</a:t>
              </a:r>
              <a:endParaRPr sz="800" dirty="0">
                <a:solidFill>
                  <a:srgbClr val="000000">
                    <a:alpha val="100000"/>
                  </a:srgbClr>
                </a:solidFill>
                <a:cs typeface="Helvetica"/>
              </a:endParaRPr>
            </a:p>
          </p:txBody>
        </p:sp>
        <p:sp>
          <p:nvSpPr>
            <p:cNvPr id="375" name="Text 374"/>
            <p:cNvSpPr/>
            <p:nvPr/>
          </p:nvSpPr>
          <p:spPr>
            <a:xfrm rot="18900000">
              <a:off x="485489" y="5861691"/>
              <a:ext cx="1905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cs typeface="Helvetica"/>
                </a:rPr>
                <a:t>10</a:t>
              </a:r>
              <a:endParaRPr sz="800">
                <a:solidFill>
                  <a:srgbClr val="000000">
                    <a:alpha val="100000"/>
                  </a:srgbClr>
                </a:solidFill>
                <a:cs typeface="Helvetica"/>
              </a:endParaRPr>
            </a:p>
          </p:txBody>
        </p:sp>
        <p:sp>
          <p:nvSpPr>
            <p:cNvPr id="376" name="Text 375"/>
            <p:cNvSpPr/>
            <p:nvPr/>
          </p:nvSpPr>
          <p:spPr>
            <a:xfrm rot="18900000">
              <a:off x="626776" y="5871168"/>
              <a:ext cx="3810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dirty="0">
                  <a:solidFill>
                    <a:srgbClr val="000000">
                      <a:alpha val="100000"/>
                    </a:srgbClr>
                  </a:solidFill>
                  <a:cs typeface="Helvetica"/>
                </a:rPr>
                <a:t>100</a:t>
              </a:r>
              <a:endParaRPr sz="800" dirty="0">
                <a:solidFill>
                  <a:srgbClr val="000000">
                    <a:alpha val="100000"/>
                  </a:srgbClr>
                </a:solidFill>
                <a:cs typeface="Helvetica"/>
              </a:endParaRPr>
            </a:p>
          </p:txBody>
        </p:sp>
        <p:sp>
          <p:nvSpPr>
            <p:cNvPr id="377" name="Text 376"/>
            <p:cNvSpPr/>
            <p:nvPr/>
          </p:nvSpPr>
          <p:spPr>
            <a:xfrm rot="18900000">
              <a:off x="865647" y="5901701"/>
              <a:ext cx="46736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cs typeface="Helvetica"/>
                </a:rPr>
                <a:t>1,000</a:t>
              </a:r>
              <a:endParaRPr sz="800">
                <a:solidFill>
                  <a:srgbClr val="000000">
                    <a:alpha val="100000"/>
                  </a:srgbClr>
                </a:solidFill>
                <a:cs typeface="Helvetica"/>
              </a:endParaRPr>
            </a:p>
          </p:txBody>
        </p:sp>
        <p:sp>
          <p:nvSpPr>
            <p:cNvPr id="378" name="Text 377"/>
            <p:cNvSpPr/>
            <p:nvPr/>
          </p:nvSpPr>
          <p:spPr>
            <a:xfrm rot="18900000">
              <a:off x="1173050" y="5925050"/>
              <a:ext cx="5334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dirty="0">
                  <a:solidFill>
                    <a:srgbClr val="000000">
                      <a:alpha val="100000"/>
                    </a:srgbClr>
                  </a:solidFill>
                  <a:cs typeface="Helvetica"/>
                </a:rPr>
                <a:t>10,000</a:t>
              </a:r>
              <a:endParaRPr sz="800" dirty="0">
                <a:solidFill>
                  <a:srgbClr val="000000">
                    <a:alpha val="100000"/>
                  </a:srgbClr>
                </a:solidFill>
                <a:cs typeface="Helvetica"/>
              </a:endParaRPr>
            </a:p>
          </p:txBody>
        </p:sp>
        <p:sp>
          <p:nvSpPr>
            <p:cNvPr id="379" name="Text 378"/>
            <p:cNvSpPr/>
            <p:nvPr/>
          </p:nvSpPr>
          <p:spPr>
            <a:xfrm rot="18900000">
              <a:off x="1525717" y="5936567"/>
              <a:ext cx="598714"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dirty="0">
                  <a:solidFill>
                    <a:srgbClr val="000000">
                      <a:alpha val="100000"/>
                    </a:srgbClr>
                  </a:solidFill>
                  <a:cs typeface="Helvetica"/>
                </a:rPr>
                <a:t>100,000</a:t>
              </a:r>
              <a:endParaRPr sz="800" dirty="0">
                <a:solidFill>
                  <a:srgbClr val="000000">
                    <a:alpha val="100000"/>
                  </a:srgbClr>
                </a:solidFill>
                <a:cs typeface="Helvetica"/>
              </a:endParaRPr>
            </a:p>
          </p:txBody>
        </p:sp>
        <p:sp>
          <p:nvSpPr>
            <p:cNvPr id="380" name="Text 379"/>
            <p:cNvSpPr/>
            <p:nvPr/>
          </p:nvSpPr>
          <p:spPr>
            <a:xfrm rot="18900000">
              <a:off x="1921636" y="5970350"/>
              <a:ext cx="694267"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dirty="0">
                  <a:solidFill>
                    <a:srgbClr val="000000">
                      <a:alpha val="100000"/>
                    </a:srgbClr>
                  </a:solidFill>
                  <a:cs typeface="Helvetica"/>
                </a:rPr>
                <a:t>1,000,000</a:t>
              </a:r>
              <a:endParaRPr sz="800" dirty="0">
                <a:solidFill>
                  <a:srgbClr val="000000">
                    <a:alpha val="100000"/>
                  </a:srgbClr>
                </a:solidFill>
                <a:cs typeface="Helvetica"/>
              </a:endParaRPr>
            </a:p>
          </p:txBody>
        </p:sp>
        <p:sp>
          <p:nvSpPr>
            <p:cNvPr id="381" name="Text 380"/>
            <p:cNvSpPr/>
            <p:nvPr/>
          </p:nvSpPr>
          <p:spPr>
            <a:xfrm rot="18900000">
              <a:off x="2391107" y="5993399"/>
              <a:ext cx="75946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cs typeface="Helvetica"/>
                </a:rPr>
                <a:t>10,000,000</a:t>
              </a:r>
              <a:endParaRPr sz="800">
                <a:solidFill>
                  <a:srgbClr val="000000">
                    <a:alpha val="100000"/>
                  </a:srgbClr>
                </a:solidFill>
                <a:cs typeface="Helvetica"/>
              </a:endParaRPr>
            </a:p>
          </p:txBody>
        </p:sp>
        <p:sp>
          <p:nvSpPr>
            <p:cNvPr id="382" name="Text 381"/>
            <p:cNvSpPr/>
            <p:nvPr/>
          </p:nvSpPr>
          <p:spPr>
            <a:xfrm rot="18900000">
              <a:off x="2905633" y="6016339"/>
              <a:ext cx="824345"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cs typeface="Helvetica"/>
                </a:rPr>
                <a:t>100,000,000</a:t>
              </a:r>
              <a:endParaRPr sz="800">
                <a:solidFill>
                  <a:srgbClr val="000000">
                    <a:alpha val="100000"/>
                  </a:srgbClr>
                </a:solidFill>
                <a:cs typeface="Helvetica"/>
              </a:endParaRPr>
            </a:p>
          </p:txBody>
        </p:sp>
        <p:sp>
          <p:nvSpPr>
            <p:cNvPr id="383" name="Text 382"/>
            <p:cNvSpPr/>
            <p:nvPr/>
          </p:nvSpPr>
          <p:spPr>
            <a:xfrm rot="18900000">
              <a:off x="3462038" y="6050942"/>
              <a:ext cx="922215"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cs typeface="Helvetica"/>
                </a:rPr>
                <a:t>1,000,000,000</a:t>
              </a:r>
              <a:endParaRPr sz="800">
                <a:solidFill>
                  <a:srgbClr val="000000">
                    <a:alpha val="100000"/>
                  </a:srgbClr>
                </a:solidFill>
                <a:cs typeface="Helvetica"/>
              </a:endParaRPr>
            </a:p>
          </p:txBody>
        </p:sp>
      </p:gr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418">
                                            <p:bg/>
                                          </p:spTgt>
                                        </p:tgtEl>
                                        <p:attrNameLst>
                                          <p:attrName>style.visibility</p:attrName>
                                        </p:attrNameLst>
                                      </p:cBhvr>
                                      <p:to>
                                        <p:strVal val="visible"/>
                                      </p:to>
                                    </p:set>
                                    <p:animEffect transition="in" filter="fade">
                                      <p:cBhvr>
                                        <p:cTn id="7" dur="1000"/>
                                        <p:tgtEl>
                                          <p:spTgt spid="418">
                                            <p:bg/>
                                          </p:spTgt>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418">
                                            <p:txEl>
                                              <p:pRg st="0" end="0"/>
                                            </p:txEl>
                                          </p:spTgt>
                                        </p:tgtEl>
                                        <p:attrNameLst>
                                          <p:attrName>style.visibility</p:attrName>
                                        </p:attrNameLst>
                                      </p:cBhvr>
                                      <p:to>
                                        <p:strVal val="visible"/>
                                      </p:to>
                                    </p:set>
                                    <p:animEffect transition="in" filter="fade">
                                      <p:cBhvr>
                                        <p:cTn id="10" dur="1000"/>
                                        <p:tgtEl>
                                          <p:spTgt spid="41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8" grpId="0" animBg="1" build="p"/>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52755" y="464102"/>
            <a:ext cx="8238319" cy="564281"/>
          </a:xfrm>
        </p:spPr>
        <p:txBody>
          <a:bodyPr/>
          <a:lstStyle/>
          <a:p>
            <a:pPr lvl="0"/>
            <a:r>
              <a:rPr lang="en-US" dirty="0"/>
              <a:t>ScienceDirect </a:t>
            </a:r>
            <a:r>
              <a:rPr lang="zh-CN" altLang="en-US" dirty="0"/>
              <a:t>确保世界研究可见</a:t>
            </a:r>
            <a:endParaRPr lang="en-US" dirty="0"/>
          </a:p>
        </p:txBody>
      </p:sp>
      <p:sp>
        <p:nvSpPr>
          <p:cNvPr id="23" name="Title Texts2"/>
          <p:cNvSpPr>
            <a:spLocks noGrp="1"/>
          </p:cNvSpPr>
          <p:nvPr>
            <p:ph idx="4294967295"/>
          </p:nvPr>
        </p:nvSpPr>
        <p:spPr>
          <a:xfrm>
            <a:off x="187958" y="6478853"/>
            <a:ext cx="3362612" cy="219387"/>
          </a:xfrm>
        </p:spPr>
        <p:txBody>
          <a:bodyPr>
            <a:normAutofit/>
          </a:bodyPr>
          <a:lstStyle>
            <a:lvl1pPr marL="0" indent="0">
              <a:buNone/>
              <a:defRPr sz="800" baseline="0">
                <a:solidFill>
                  <a:schemeClr val="tx1">
                    <a:lumMod val="75000"/>
                  </a:schemeClr>
                </a:solidFill>
              </a:defRPr>
            </a:lvl1pPr>
          </a:lstStyle>
          <a:p>
            <a:r>
              <a:rPr sz="700" dirty="0"/>
              <a:t>Source: Elsevier Web Analytics Department, Scopus Data 2011–2015</a:t>
            </a:r>
            <a:endParaRPr sz="700" dirty="0"/>
          </a:p>
        </p:txBody>
      </p:sp>
      <p:sp>
        <p:nvSpPr>
          <p:cNvPr id="24" name="Title Texts3"/>
          <p:cNvSpPr>
            <a:spLocks noGrp="1"/>
          </p:cNvSpPr>
          <p:nvPr>
            <p:ph idx="4294967295"/>
          </p:nvPr>
        </p:nvSpPr>
        <p:spPr>
          <a:xfrm>
            <a:off x="364699" y="1010089"/>
            <a:ext cx="8686800" cy="614879"/>
          </a:xfrm>
        </p:spPr>
        <p:txBody>
          <a:bodyPr>
            <a:noAutofit/>
          </a:bodyPr>
          <a:lstStyle>
            <a:lvl1pPr marL="0" indent="0" algn="ctr">
              <a:buNone/>
              <a:defRPr sz="1400"/>
            </a:lvl1pPr>
          </a:lstStyle>
          <a:p>
            <a:pPr algn="l"/>
            <a:r>
              <a:rPr sz="1600" dirty="0"/>
              <a:t>Where articles authored by World affiliated researchers and published on ScienceDirect have been cited in the world?</a:t>
            </a:r>
            <a:endParaRPr sz="1600" dirty="0"/>
          </a:p>
        </p:txBody>
      </p:sp>
      <p:grpSp>
        <p:nvGrpSpPr>
          <p:cNvPr id="5" name="Group 4"/>
          <p:cNvGrpSpPr/>
          <p:nvPr/>
        </p:nvGrpSpPr>
        <p:grpSpPr>
          <a:xfrm>
            <a:off x="1631168" y="2167508"/>
            <a:ext cx="5282595" cy="3235632"/>
            <a:chOff x="1500187" y="2024526"/>
            <a:chExt cx="5537646" cy="3391853"/>
          </a:xfrm>
        </p:grpSpPr>
        <p:sp>
          <p:nvSpPr>
            <p:cNvPr id="26" name="Polygon form 7"/>
            <p:cNvSpPr/>
            <p:nvPr/>
          </p:nvSpPr>
          <p:spPr>
            <a:xfrm>
              <a:off x="5066073" y="3090986"/>
              <a:ext cx="240271" cy="231034"/>
            </a:xfrm>
            <a:custGeom>
              <a:avLst/>
              <a:gdLst/>
              <a:ahLst/>
              <a:cxnLst/>
              <a:rect l="0" t="0" r="0" b="0"/>
              <a:pathLst>
                <a:path w="240271" h="231034">
                  <a:moveTo>
                    <a:pt x="1272" y="76368"/>
                  </a:moveTo>
                  <a:lnTo>
                    <a:pt x="21826" y="85025"/>
                  </a:lnTo>
                  <a:lnTo>
                    <a:pt x="34606" y="81270"/>
                  </a:lnTo>
                  <a:lnTo>
                    <a:pt x="35641" y="70019"/>
                  </a:lnTo>
                  <a:lnTo>
                    <a:pt x="48871" y="65799"/>
                  </a:lnTo>
                  <a:lnTo>
                    <a:pt x="57068" y="57959"/>
                  </a:lnTo>
                  <a:lnTo>
                    <a:pt x="55543" y="38201"/>
                  </a:lnTo>
                  <a:lnTo>
                    <a:pt x="69272" y="32871"/>
                  </a:lnTo>
                  <a:lnTo>
                    <a:pt x="69699" y="24027"/>
                  </a:lnTo>
                  <a:lnTo>
                    <a:pt x="79849" y="30254"/>
                  </a:lnTo>
                  <a:lnTo>
                    <a:pt x="85404" y="30801"/>
                  </a:lnTo>
                  <a:lnTo>
                    <a:pt x="95341" y="30565"/>
                  </a:lnTo>
                  <a:lnTo>
                    <a:pt x="110165" y="35206"/>
                  </a:lnTo>
                  <a:lnTo>
                    <a:pt x="116424" y="37979"/>
                  </a:lnTo>
                  <a:lnTo>
                    <a:pt x="127077" y="29552"/>
                  </a:lnTo>
                  <a:lnTo>
                    <a:pt x="134395" y="34052"/>
                  </a:lnTo>
                  <a:lnTo>
                    <a:pt x="136912" y="22554"/>
                  </a:lnTo>
                  <a:lnTo>
                    <a:pt x="147644" y="22613"/>
                  </a:lnTo>
                  <a:lnTo>
                    <a:pt x="149319" y="18882"/>
                  </a:lnTo>
                  <a:lnTo>
                    <a:pt x="148278" y="8886"/>
                  </a:lnTo>
                  <a:lnTo>
                    <a:pt x="153317" y="0"/>
                  </a:lnTo>
                  <a:lnTo>
                    <a:pt x="164530" y="5168"/>
                  </a:lnTo>
                  <a:lnTo>
                    <a:pt x="164861" y="12771"/>
                  </a:lnTo>
                  <a:lnTo>
                    <a:pt x="170550" y="13703"/>
                  </a:lnTo>
                  <a:lnTo>
                    <a:pt x="174990" y="34453"/>
                  </a:lnTo>
                  <a:lnTo>
                    <a:pt x="184363" y="42213"/>
                  </a:lnTo>
                  <a:lnTo>
                    <a:pt x="189048" y="36768"/>
                  </a:lnTo>
                  <a:lnTo>
                    <a:pt x="196208" y="33976"/>
                  </a:lnTo>
                  <a:lnTo>
                    <a:pt x="203953" y="22454"/>
                  </a:lnTo>
                  <a:lnTo>
                    <a:pt x="216686" y="23718"/>
                  </a:lnTo>
                  <a:lnTo>
                    <a:pt x="234940" y="22920"/>
                  </a:lnTo>
                  <a:lnTo>
                    <a:pt x="240271" y="29853"/>
                  </a:lnTo>
                  <a:lnTo>
                    <a:pt x="230799" y="33093"/>
                  </a:lnTo>
                  <a:lnTo>
                    <a:pt x="223152" y="38055"/>
                  </a:lnTo>
                  <a:lnTo>
                    <a:pt x="203615" y="41826"/>
                  </a:lnTo>
                  <a:lnTo>
                    <a:pt x="186014" y="47834"/>
                  </a:lnTo>
                  <a:lnTo>
                    <a:pt x="178651" y="59008"/>
                  </a:lnTo>
                  <a:lnTo>
                    <a:pt x="185801" y="69274"/>
                  </a:lnTo>
                  <a:lnTo>
                    <a:pt x="191241" y="81449"/>
                  </a:lnTo>
                  <a:lnTo>
                    <a:pt x="185104" y="92174"/>
                  </a:lnTo>
                  <a:lnTo>
                    <a:pt x="188391" y="101619"/>
                  </a:lnTo>
                  <a:lnTo>
                    <a:pt x="185769" y="110698"/>
                  </a:lnTo>
                  <a:lnTo>
                    <a:pt x="168374" y="110604"/>
                  </a:lnTo>
                  <a:lnTo>
                    <a:pt x="179675" y="126642"/>
                  </a:lnTo>
                  <a:lnTo>
                    <a:pt x="169694" y="133325"/>
                  </a:lnTo>
                  <a:lnTo>
                    <a:pt x="165638" y="148501"/>
                  </a:lnTo>
                  <a:lnTo>
                    <a:pt x="170217" y="163278"/>
                  </a:lnTo>
                  <a:lnTo>
                    <a:pt x="164705" y="170475"/>
                  </a:lnTo>
                  <a:lnTo>
                    <a:pt x="157396" y="168421"/>
                  </a:lnTo>
                  <a:lnTo>
                    <a:pt x="144149" y="172132"/>
                  </a:lnTo>
                  <a:lnTo>
                    <a:pt x="143727" y="179100"/>
                  </a:lnTo>
                  <a:lnTo>
                    <a:pt x="130057" y="179529"/>
                  </a:lnTo>
                  <a:lnTo>
                    <a:pt x="122914" y="193825"/>
                  </a:lnTo>
                  <a:lnTo>
                    <a:pt x="126797" y="214820"/>
                  </a:lnTo>
                  <a:lnTo>
                    <a:pt x="104896" y="225835"/>
                  </a:lnTo>
                  <a:lnTo>
                    <a:pt x="91558" y="224074"/>
                  </a:lnTo>
                  <a:lnTo>
                    <a:pt x="88901" y="229588"/>
                  </a:lnTo>
                  <a:lnTo>
                    <a:pt x="77195" y="226789"/>
                  </a:lnTo>
                  <a:lnTo>
                    <a:pt x="59383" y="231034"/>
                  </a:lnTo>
                  <a:lnTo>
                    <a:pt x="25894" y="219401"/>
                  </a:lnTo>
                  <a:lnTo>
                    <a:pt x="38215" y="196621"/>
                  </a:lnTo>
                  <a:lnTo>
                    <a:pt x="33456" y="180854"/>
                  </a:lnTo>
                  <a:lnTo>
                    <a:pt x="18689" y="177149"/>
                  </a:lnTo>
                  <a:lnTo>
                    <a:pt x="14004" y="161610"/>
                  </a:lnTo>
                  <a:lnTo>
                    <a:pt x="3850" y="142212"/>
                  </a:lnTo>
                  <a:lnTo>
                    <a:pt x="8708" y="128528"/>
                  </a:lnTo>
                  <a:lnTo>
                    <a:pt x="0" y="125167"/>
                  </a:lnTo>
                  <a:lnTo>
                    <a:pt x="999" y="107161"/>
                  </a:lnTo>
                  <a:lnTo>
                    <a:pt x="1272" y="76368"/>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27" name="Polygon form 8"/>
            <p:cNvSpPr/>
            <p:nvPr/>
          </p:nvSpPr>
          <p:spPr>
            <a:xfrm>
              <a:off x="4186056" y="4187738"/>
              <a:ext cx="245144" cy="292158"/>
            </a:xfrm>
            <a:custGeom>
              <a:avLst/>
              <a:gdLst/>
              <a:ahLst/>
              <a:cxnLst/>
              <a:rect l="0" t="0" r="0" b="0"/>
              <a:pathLst>
                <a:path w="245144" h="292158">
                  <a:moveTo>
                    <a:pt x="95813" y="398"/>
                  </a:moveTo>
                  <a:lnTo>
                    <a:pt x="100482" y="18414"/>
                  </a:lnTo>
                  <a:lnTo>
                    <a:pt x="105960" y="32915"/>
                  </a:lnTo>
                  <a:lnTo>
                    <a:pt x="110381" y="40740"/>
                  </a:lnTo>
                  <a:lnTo>
                    <a:pt x="117739" y="53393"/>
                  </a:lnTo>
                  <a:lnTo>
                    <a:pt x="130769" y="51467"/>
                  </a:lnTo>
                  <a:lnTo>
                    <a:pt x="137307" y="48081"/>
                  </a:lnTo>
                  <a:lnTo>
                    <a:pt x="148121" y="51521"/>
                  </a:lnTo>
                  <a:lnTo>
                    <a:pt x="151160" y="45481"/>
                  </a:lnTo>
                  <a:lnTo>
                    <a:pt x="156302" y="31401"/>
                  </a:lnTo>
                  <a:lnTo>
                    <a:pt x="168520" y="30483"/>
                  </a:lnTo>
                  <a:lnTo>
                    <a:pt x="169641" y="26295"/>
                  </a:lnTo>
                  <a:lnTo>
                    <a:pt x="179684" y="26226"/>
                  </a:lnTo>
                  <a:lnTo>
                    <a:pt x="177841" y="34937"/>
                  </a:lnTo>
                  <a:lnTo>
                    <a:pt x="201717" y="34783"/>
                  </a:lnTo>
                  <a:lnTo>
                    <a:pt x="201821" y="50008"/>
                  </a:lnTo>
                  <a:lnTo>
                    <a:pt x="205637" y="59355"/>
                  </a:lnTo>
                  <a:lnTo>
                    <a:pt x="202461" y="73932"/>
                  </a:lnTo>
                  <a:lnTo>
                    <a:pt x="203597" y="88817"/>
                  </a:lnTo>
                  <a:lnTo>
                    <a:pt x="209946" y="97818"/>
                  </a:lnTo>
                  <a:lnTo>
                    <a:pt x="208213" y="126610"/>
                  </a:lnTo>
                  <a:lnTo>
                    <a:pt x="213118" y="124409"/>
                  </a:lnTo>
                  <a:lnTo>
                    <a:pt x="221615" y="125036"/>
                  </a:lnTo>
                  <a:lnTo>
                    <a:pt x="233845" y="121459"/>
                  </a:lnTo>
                  <a:lnTo>
                    <a:pt x="242731" y="122923"/>
                  </a:lnTo>
                  <a:lnTo>
                    <a:pt x="244597" y="130448"/>
                  </a:lnTo>
                  <a:lnTo>
                    <a:pt x="242039" y="142179"/>
                  </a:lnTo>
                  <a:lnTo>
                    <a:pt x="245144" y="153549"/>
                  </a:lnTo>
                  <a:lnTo>
                    <a:pt x="241956" y="162604"/>
                  </a:lnTo>
                  <a:lnTo>
                    <a:pt x="243359" y="170969"/>
                  </a:lnTo>
                  <a:lnTo>
                    <a:pt x="202696" y="170475"/>
                  </a:lnTo>
                  <a:lnTo>
                    <a:pt x="199291" y="247453"/>
                  </a:lnTo>
                  <a:lnTo>
                    <a:pt x="211633" y="267323"/>
                  </a:lnTo>
                  <a:lnTo>
                    <a:pt x="223661" y="282517"/>
                  </a:lnTo>
                  <a:lnTo>
                    <a:pt x="187700" y="292158"/>
                  </a:lnTo>
                  <a:lnTo>
                    <a:pt x="140998" y="288474"/>
                  </a:lnTo>
                  <a:lnTo>
                    <a:pt x="127975" y="276823"/>
                  </a:lnTo>
                  <a:lnTo>
                    <a:pt x="49434" y="277524"/>
                  </a:lnTo>
                  <a:lnTo>
                    <a:pt x="46463" y="279210"/>
                  </a:lnTo>
                  <a:lnTo>
                    <a:pt x="35179" y="268247"/>
                  </a:lnTo>
                  <a:lnTo>
                    <a:pt x="22629" y="267483"/>
                  </a:lnTo>
                  <a:lnTo>
                    <a:pt x="10936" y="271557"/>
                  </a:lnTo>
                  <a:lnTo>
                    <a:pt x="1514" y="276120"/>
                  </a:lnTo>
                  <a:lnTo>
                    <a:pt x="0" y="260934"/>
                  </a:lnTo>
                  <a:lnTo>
                    <a:pt x="3102" y="239712"/>
                  </a:lnTo>
                  <a:lnTo>
                    <a:pt x="10229" y="217626"/>
                  </a:lnTo>
                  <a:lnTo>
                    <a:pt x="11432" y="207266"/>
                  </a:lnTo>
                  <a:lnTo>
                    <a:pt x="18144" y="185517"/>
                  </a:lnTo>
                  <a:lnTo>
                    <a:pt x="22968" y="175633"/>
                  </a:lnTo>
                  <a:lnTo>
                    <a:pt x="34461" y="159862"/>
                  </a:lnTo>
                  <a:lnTo>
                    <a:pt x="40916" y="149131"/>
                  </a:lnTo>
                  <a:lnTo>
                    <a:pt x="43263" y="131245"/>
                  </a:lnTo>
                  <a:lnTo>
                    <a:pt x="42449" y="117554"/>
                  </a:lnTo>
                  <a:lnTo>
                    <a:pt x="36712" y="108906"/>
                  </a:lnTo>
                  <a:lnTo>
                    <a:pt x="31687" y="94244"/>
                  </a:lnTo>
                  <a:lnTo>
                    <a:pt x="27047" y="79746"/>
                  </a:lnTo>
                  <a:lnTo>
                    <a:pt x="28161" y="74729"/>
                  </a:lnTo>
                  <a:lnTo>
                    <a:pt x="34312" y="65165"/>
                  </a:lnTo>
                  <a:lnTo>
                    <a:pt x="28599" y="41824"/>
                  </a:lnTo>
                  <a:lnTo>
                    <a:pt x="24723" y="25652"/>
                  </a:lnTo>
                  <a:lnTo>
                    <a:pt x="14989" y="10362"/>
                  </a:lnTo>
                  <a:lnTo>
                    <a:pt x="16898" y="5671"/>
                  </a:lnTo>
                  <a:lnTo>
                    <a:pt x="25053" y="2435"/>
                  </a:lnTo>
                  <a:lnTo>
                    <a:pt x="30755" y="2893"/>
                  </a:lnTo>
                  <a:lnTo>
                    <a:pt x="37687" y="0"/>
                  </a:lnTo>
                  <a:lnTo>
                    <a:pt x="95813" y="398"/>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28" name="Polygon form 9"/>
            <p:cNvSpPr/>
            <p:nvPr/>
          </p:nvSpPr>
          <p:spPr>
            <a:xfrm>
              <a:off x="4195102" y="4153279"/>
              <a:ext cx="21338" cy="32637"/>
            </a:xfrm>
            <a:custGeom>
              <a:avLst/>
              <a:gdLst/>
              <a:ahLst/>
              <a:cxnLst/>
              <a:rect l="0" t="0" r="0" b="0"/>
              <a:pathLst>
                <a:path w="21338" h="32637">
                  <a:moveTo>
                    <a:pt x="10177" y="30092"/>
                  </a:moveTo>
                  <a:lnTo>
                    <a:pt x="5148" y="32637"/>
                  </a:lnTo>
                  <a:lnTo>
                    <a:pt x="0" y="14475"/>
                  </a:lnTo>
                  <a:lnTo>
                    <a:pt x="8019" y="4057"/>
                  </a:lnTo>
                  <a:lnTo>
                    <a:pt x="13999" y="0"/>
                  </a:lnTo>
                  <a:lnTo>
                    <a:pt x="21338" y="8292"/>
                  </a:lnTo>
                  <a:lnTo>
                    <a:pt x="14132" y="13360"/>
                  </a:lnTo>
                  <a:lnTo>
                    <a:pt x="10867" y="19565"/>
                  </a:lnTo>
                  <a:lnTo>
                    <a:pt x="10177" y="30092"/>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29" name="Polygon form 10"/>
            <p:cNvSpPr/>
            <p:nvPr/>
          </p:nvSpPr>
          <p:spPr>
            <a:xfrm>
              <a:off x="4749206" y="3024408"/>
              <a:ext cx="100030" cy="86155"/>
            </a:xfrm>
            <a:custGeom>
              <a:avLst/>
              <a:gdLst/>
              <a:ahLst/>
              <a:cxnLst/>
              <a:rect l="0" t="0" r="0" b="0"/>
              <a:pathLst>
                <a:path w="100030" h="86155">
                  <a:moveTo>
                    <a:pt x="42061" y="15070"/>
                  </a:moveTo>
                  <a:lnTo>
                    <a:pt x="50142" y="16497"/>
                  </a:lnTo>
                  <a:lnTo>
                    <a:pt x="51789" y="10222"/>
                  </a:lnTo>
                  <a:lnTo>
                    <a:pt x="60011" y="103"/>
                  </a:lnTo>
                  <a:lnTo>
                    <a:pt x="72030" y="12620"/>
                  </a:lnTo>
                  <a:lnTo>
                    <a:pt x="84755" y="29597"/>
                  </a:lnTo>
                  <a:lnTo>
                    <a:pt x="93168" y="30480"/>
                  </a:lnTo>
                  <a:lnTo>
                    <a:pt x="100030" y="36871"/>
                  </a:lnTo>
                  <a:lnTo>
                    <a:pt x="86006" y="39280"/>
                  </a:lnTo>
                  <a:lnTo>
                    <a:pt x="87021" y="58273"/>
                  </a:lnTo>
                  <a:lnTo>
                    <a:pt x="85786" y="66890"/>
                  </a:lnTo>
                  <a:lnTo>
                    <a:pt x="80483" y="72771"/>
                  </a:lnTo>
                  <a:lnTo>
                    <a:pt x="83435" y="84813"/>
                  </a:lnTo>
                  <a:lnTo>
                    <a:pt x="79261" y="86155"/>
                  </a:lnTo>
                  <a:lnTo>
                    <a:pt x="65607" y="73731"/>
                  </a:lnTo>
                  <a:lnTo>
                    <a:pt x="69232" y="61515"/>
                  </a:lnTo>
                  <a:lnTo>
                    <a:pt x="62534" y="54529"/>
                  </a:lnTo>
                  <a:lnTo>
                    <a:pt x="56292" y="56519"/>
                  </a:lnTo>
                  <a:lnTo>
                    <a:pt x="39047" y="75058"/>
                  </a:lnTo>
                  <a:lnTo>
                    <a:pt x="35304" y="58204"/>
                  </a:lnTo>
                  <a:lnTo>
                    <a:pt x="26584" y="54444"/>
                  </a:lnTo>
                  <a:lnTo>
                    <a:pt x="17784" y="48043"/>
                  </a:lnTo>
                  <a:lnTo>
                    <a:pt x="21190" y="40163"/>
                  </a:lnTo>
                  <a:lnTo>
                    <a:pt x="10152" y="32093"/>
                  </a:lnTo>
                  <a:lnTo>
                    <a:pt x="12441" y="25899"/>
                  </a:lnTo>
                  <a:lnTo>
                    <a:pt x="4919" y="21885"/>
                  </a:lnTo>
                  <a:lnTo>
                    <a:pt x="0" y="15605"/>
                  </a:lnTo>
                  <a:lnTo>
                    <a:pt x="3462" y="11516"/>
                  </a:lnTo>
                  <a:lnTo>
                    <a:pt x="17918" y="18127"/>
                  </a:lnTo>
                  <a:lnTo>
                    <a:pt x="27639" y="19296"/>
                  </a:lnTo>
                  <a:lnTo>
                    <a:pt x="29419" y="16377"/>
                  </a:lnTo>
                  <a:lnTo>
                    <a:pt x="18050" y="3483"/>
                  </a:lnTo>
                  <a:lnTo>
                    <a:pt x="21851" y="0"/>
                  </a:lnTo>
                  <a:lnTo>
                    <a:pt x="26914" y="669"/>
                  </a:lnTo>
                  <a:lnTo>
                    <a:pt x="42061" y="15070"/>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30" name="Polygon form 11"/>
            <p:cNvSpPr/>
            <p:nvPr/>
          </p:nvSpPr>
          <p:spPr>
            <a:xfrm>
              <a:off x="4753504" y="3076636"/>
              <a:ext cx="28469" cy="23722"/>
            </a:xfrm>
            <a:custGeom>
              <a:avLst/>
              <a:gdLst/>
              <a:ahLst/>
              <a:cxnLst/>
              <a:rect l="0" t="0" r="0" b="0"/>
              <a:pathLst>
                <a:path w="28469" h="23722">
                  <a:moveTo>
                    <a:pt x="3540" y="0"/>
                  </a:moveTo>
                  <a:lnTo>
                    <a:pt x="10040" y="6375"/>
                  </a:lnTo>
                  <a:lnTo>
                    <a:pt x="17831" y="6104"/>
                  </a:lnTo>
                  <a:lnTo>
                    <a:pt x="18489" y="9857"/>
                  </a:lnTo>
                  <a:lnTo>
                    <a:pt x="28469" y="23722"/>
                  </a:lnTo>
                  <a:lnTo>
                    <a:pt x="15682" y="20824"/>
                  </a:lnTo>
                  <a:lnTo>
                    <a:pt x="4579" y="9847"/>
                  </a:lnTo>
                  <a:lnTo>
                    <a:pt x="0" y="757"/>
                  </a:lnTo>
                  <a:lnTo>
                    <a:pt x="3540" y="0"/>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31" name="Polygon form 12"/>
            <p:cNvSpPr/>
            <p:nvPr/>
          </p:nvSpPr>
          <p:spPr>
            <a:xfrm>
              <a:off x="4405647" y="2872429"/>
              <a:ext cx="63756" cy="71760"/>
            </a:xfrm>
            <a:custGeom>
              <a:avLst/>
              <a:gdLst/>
              <a:ahLst/>
              <a:cxnLst/>
              <a:rect l="0" t="0" r="0" b="0"/>
              <a:pathLst>
                <a:path w="63756" h="71760">
                  <a:moveTo>
                    <a:pt x="0" y="6241"/>
                  </a:moveTo>
                  <a:lnTo>
                    <a:pt x="3462" y="2603"/>
                  </a:lnTo>
                  <a:lnTo>
                    <a:pt x="14187" y="0"/>
                  </a:lnTo>
                  <a:lnTo>
                    <a:pt x="27623" y="7286"/>
                  </a:lnTo>
                  <a:lnTo>
                    <a:pt x="34632" y="8052"/>
                  </a:lnTo>
                  <a:lnTo>
                    <a:pt x="43199" y="14401"/>
                  </a:lnTo>
                  <a:lnTo>
                    <a:pt x="43271" y="22615"/>
                  </a:lnTo>
                  <a:lnTo>
                    <a:pt x="50002" y="26444"/>
                  </a:lnTo>
                  <a:lnTo>
                    <a:pt x="54008" y="36500"/>
                  </a:lnTo>
                  <a:lnTo>
                    <a:pt x="60855" y="42524"/>
                  </a:lnTo>
                  <a:lnTo>
                    <a:pt x="60223" y="46152"/>
                  </a:lnTo>
                  <a:lnTo>
                    <a:pt x="63756" y="48538"/>
                  </a:lnTo>
                  <a:lnTo>
                    <a:pt x="59555" y="50418"/>
                  </a:lnTo>
                  <a:lnTo>
                    <a:pt x="49472" y="49911"/>
                  </a:lnTo>
                  <a:lnTo>
                    <a:pt x="47299" y="46598"/>
                  </a:lnTo>
                  <a:lnTo>
                    <a:pt x="44052" y="48597"/>
                  </a:lnTo>
                  <a:lnTo>
                    <a:pt x="45897" y="52902"/>
                  </a:lnTo>
                  <a:lnTo>
                    <a:pt x="42396" y="60701"/>
                  </a:lnTo>
                  <a:lnTo>
                    <a:pt x="40633" y="69052"/>
                  </a:lnTo>
                  <a:lnTo>
                    <a:pt x="36723" y="71760"/>
                  </a:lnTo>
                  <a:lnTo>
                    <a:pt x="32095" y="60787"/>
                  </a:lnTo>
                  <a:lnTo>
                    <a:pt x="32392" y="50433"/>
                  </a:lnTo>
                  <a:lnTo>
                    <a:pt x="30297" y="39835"/>
                  </a:lnTo>
                  <a:lnTo>
                    <a:pt x="18473" y="25651"/>
                  </a:lnTo>
                  <a:lnTo>
                    <a:pt x="11660" y="15565"/>
                  </a:lnTo>
                  <a:lnTo>
                    <a:pt x="5433" y="8499"/>
                  </a:lnTo>
                  <a:lnTo>
                    <a:pt x="0" y="6241"/>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32" name="Polygon form 13"/>
            <p:cNvSpPr/>
            <p:nvPr/>
          </p:nvSpPr>
          <p:spPr>
            <a:xfrm>
              <a:off x="4787595" y="4341079"/>
              <a:ext cx="154350" cy="330411"/>
            </a:xfrm>
            <a:custGeom>
              <a:avLst/>
              <a:gdLst/>
              <a:ahLst/>
              <a:cxnLst/>
              <a:rect l="0" t="0" r="0" b="0"/>
              <a:pathLst>
                <a:path w="154350" h="330411">
                  <a:moveTo>
                    <a:pt x="141003" y="10580"/>
                  </a:moveTo>
                  <a:lnTo>
                    <a:pt x="145510" y="21054"/>
                  </a:lnTo>
                  <a:lnTo>
                    <a:pt x="149236" y="37285"/>
                  </a:lnTo>
                  <a:lnTo>
                    <a:pt x="150207" y="66793"/>
                  </a:lnTo>
                  <a:lnTo>
                    <a:pt x="154350" y="78312"/>
                  </a:lnTo>
                  <a:lnTo>
                    <a:pt x="151470" y="90036"/>
                  </a:lnTo>
                  <a:lnTo>
                    <a:pt x="147443" y="97198"/>
                  </a:lnTo>
                  <a:lnTo>
                    <a:pt x="142016" y="82763"/>
                  </a:lnTo>
                  <a:lnTo>
                    <a:pt x="137784" y="89964"/>
                  </a:lnTo>
                  <a:lnTo>
                    <a:pt x="139980" y="108152"/>
                  </a:lnTo>
                  <a:lnTo>
                    <a:pt x="137367" y="118511"/>
                  </a:lnTo>
                  <a:lnTo>
                    <a:pt x="131530" y="124093"/>
                  </a:lnTo>
                  <a:lnTo>
                    <a:pt x="128446" y="144809"/>
                  </a:lnTo>
                  <a:lnTo>
                    <a:pt x="118145" y="173222"/>
                  </a:lnTo>
                  <a:lnTo>
                    <a:pt x="105272" y="206782"/>
                  </a:lnTo>
                  <a:lnTo>
                    <a:pt x="88451" y="252899"/>
                  </a:lnTo>
                  <a:lnTo>
                    <a:pt x="77240" y="286741"/>
                  </a:lnTo>
                  <a:lnTo>
                    <a:pt x="65247" y="314902"/>
                  </a:lnTo>
                  <a:lnTo>
                    <a:pt x="49156" y="320397"/>
                  </a:lnTo>
                  <a:lnTo>
                    <a:pt x="31402" y="330411"/>
                  </a:lnTo>
                  <a:lnTo>
                    <a:pt x="21277" y="323986"/>
                  </a:lnTo>
                  <a:lnTo>
                    <a:pt x="7291" y="314998"/>
                  </a:lnTo>
                  <a:lnTo>
                    <a:pt x="3529" y="302045"/>
                  </a:lnTo>
                  <a:lnTo>
                    <a:pt x="4654" y="280412"/>
                  </a:lnTo>
                  <a:lnTo>
                    <a:pt x="0" y="260871"/>
                  </a:lnTo>
                  <a:lnTo>
                    <a:pt x="32" y="243304"/>
                  </a:lnTo>
                  <a:lnTo>
                    <a:pt x="5181" y="225778"/>
                  </a:lnTo>
                  <a:lnTo>
                    <a:pt x="14406" y="221685"/>
                  </a:lnTo>
                  <a:lnTo>
                    <a:pt x="15237" y="213568"/>
                  </a:lnTo>
                  <a:lnTo>
                    <a:pt x="26148" y="195206"/>
                  </a:lnTo>
                  <a:lnTo>
                    <a:pt x="29298" y="179689"/>
                  </a:lnTo>
                  <a:lnTo>
                    <a:pt x="25852" y="168075"/>
                  </a:lnTo>
                  <a:lnTo>
                    <a:pt x="23512" y="152640"/>
                  </a:lnTo>
                  <a:lnTo>
                    <a:pt x="23801" y="130136"/>
                  </a:lnTo>
                  <a:lnTo>
                    <a:pt x="31633" y="116565"/>
                  </a:lnTo>
                  <a:lnTo>
                    <a:pt x="35407" y="101113"/>
                  </a:lnTo>
                  <a:lnTo>
                    <a:pt x="45142" y="100325"/>
                  </a:lnTo>
                  <a:lnTo>
                    <a:pt x="56342" y="95444"/>
                  </a:lnTo>
                  <a:lnTo>
                    <a:pt x="63860" y="91108"/>
                  </a:lnTo>
                  <a:lnTo>
                    <a:pt x="72413" y="90879"/>
                  </a:lnTo>
                  <a:lnTo>
                    <a:pt x="84524" y="77079"/>
                  </a:lnTo>
                  <a:lnTo>
                    <a:pt x="101626" y="62200"/>
                  </a:lnTo>
                  <a:lnTo>
                    <a:pt x="108341" y="49958"/>
                  </a:lnTo>
                  <a:lnTo>
                    <a:pt x="106406" y="39474"/>
                  </a:lnTo>
                  <a:lnTo>
                    <a:pt x="114486" y="42503"/>
                  </a:lnTo>
                  <a:lnTo>
                    <a:pt x="126382" y="25608"/>
                  </a:lnTo>
                  <a:lnTo>
                    <a:pt x="127691" y="10890"/>
                  </a:lnTo>
                  <a:lnTo>
                    <a:pt x="134842" y="0"/>
                  </a:lnTo>
                  <a:lnTo>
                    <a:pt x="141003" y="10580"/>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33" name="Polygon form 14"/>
            <p:cNvSpPr/>
            <p:nvPr/>
          </p:nvSpPr>
          <p:spPr>
            <a:xfrm>
              <a:off x="1814918" y="3190361"/>
              <a:ext cx="484315" cy="484942"/>
            </a:xfrm>
            <a:custGeom>
              <a:avLst/>
              <a:gdLst/>
              <a:ahLst/>
              <a:cxnLst/>
              <a:rect l="0" t="0" r="0" b="0"/>
              <a:pathLst>
                <a:path w="484315" h="484942">
                  <a:moveTo>
                    <a:pt x="316498" y="193502"/>
                  </a:moveTo>
                  <a:lnTo>
                    <a:pt x="303268" y="215482"/>
                  </a:lnTo>
                  <a:lnTo>
                    <a:pt x="295227" y="233647"/>
                  </a:lnTo>
                  <a:lnTo>
                    <a:pt x="285354" y="267704"/>
                  </a:lnTo>
                  <a:lnTo>
                    <a:pt x="280556" y="280076"/>
                  </a:lnTo>
                  <a:lnTo>
                    <a:pt x="280590" y="294115"/>
                  </a:lnTo>
                  <a:lnTo>
                    <a:pt x="283647" y="306776"/>
                  </a:lnTo>
                  <a:lnTo>
                    <a:pt x="283096" y="326698"/>
                  </a:lnTo>
                  <a:lnTo>
                    <a:pt x="291756" y="346140"/>
                  </a:lnTo>
                  <a:lnTo>
                    <a:pt x="293272" y="360845"/>
                  </a:lnTo>
                  <a:lnTo>
                    <a:pt x="298301" y="373651"/>
                  </a:lnTo>
                  <a:lnTo>
                    <a:pt x="317371" y="381073"/>
                  </a:lnTo>
                  <a:lnTo>
                    <a:pt x="323331" y="391978"/>
                  </a:lnTo>
                  <a:lnTo>
                    <a:pt x="341476" y="385388"/>
                  </a:lnTo>
                  <a:lnTo>
                    <a:pt x="356583" y="383274"/>
                  </a:lnTo>
                  <a:lnTo>
                    <a:pt x="371786" y="379153"/>
                  </a:lnTo>
                  <a:lnTo>
                    <a:pt x="384658" y="375174"/>
                  </a:lnTo>
                  <a:lnTo>
                    <a:pt x="398762" y="365207"/>
                  </a:lnTo>
                  <a:lnTo>
                    <a:pt x="406117" y="350574"/>
                  </a:lnTo>
                  <a:lnTo>
                    <a:pt x="411851" y="329356"/>
                  </a:lnTo>
                  <a:lnTo>
                    <a:pt x="416634" y="322068"/>
                  </a:lnTo>
                  <a:lnTo>
                    <a:pt x="430872" y="315881"/>
                  </a:lnTo>
                  <a:lnTo>
                    <a:pt x="452181" y="310701"/>
                  </a:lnTo>
                  <a:lnTo>
                    <a:pt x="468847" y="312143"/>
                  </a:lnTo>
                  <a:lnTo>
                    <a:pt x="480812" y="310389"/>
                  </a:lnTo>
                  <a:lnTo>
                    <a:pt x="484315" y="315883"/>
                  </a:lnTo>
                  <a:lnTo>
                    <a:pt x="481300" y="328003"/>
                  </a:lnTo>
                  <a:lnTo>
                    <a:pt x="468185" y="342672"/>
                  </a:lnTo>
                  <a:lnTo>
                    <a:pt x="460784" y="357901"/>
                  </a:lnTo>
                  <a:lnTo>
                    <a:pt x="463512" y="362404"/>
                  </a:lnTo>
                  <a:lnTo>
                    <a:pt x="458686" y="373234"/>
                  </a:lnTo>
                  <a:lnTo>
                    <a:pt x="450449" y="392810"/>
                  </a:lnTo>
                  <a:lnTo>
                    <a:pt x="446694" y="386178"/>
                  </a:lnTo>
                  <a:lnTo>
                    <a:pt x="442599" y="386483"/>
                  </a:lnTo>
                  <a:lnTo>
                    <a:pt x="438891" y="386710"/>
                  </a:lnTo>
                  <a:lnTo>
                    <a:pt x="429389" y="401784"/>
                  </a:lnTo>
                  <a:lnTo>
                    <a:pt x="426405" y="398690"/>
                  </a:lnTo>
                  <a:lnTo>
                    <a:pt x="423878" y="399789"/>
                  </a:lnTo>
                  <a:lnTo>
                    <a:pt x="423398" y="403519"/>
                  </a:lnTo>
                  <a:lnTo>
                    <a:pt x="405650" y="402734"/>
                  </a:lnTo>
                  <a:lnTo>
                    <a:pt x="387681" y="402260"/>
                  </a:lnTo>
                  <a:lnTo>
                    <a:pt x="385244" y="416543"/>
                  </a:lnTo>
                  <a:lnTo>
                    <a:pt x="376530" y="416361"/>
                  </a:lnTo>
                  <a:lnTo>
                    <a:pt x="382303" y="425033"/>
                  </a:lnTo>
                  <a:lnTo>
                    <a:pt x="388488" y="431091"/>
                  </a:lnTo>
                  <a:lnTo>
                    <a:pt x="389753" y="436648"/>
                  </a:lnTo>
                  <a:lnTo>
                    <a:pt x="392639" y="438271"/>
                  </a:lnTo>
                  <a:lnTo>
                    <a:pt x="390798" y="446899"/>
                  </a:lnTo>
                  <a:lnTo>
                    <a:pt x="365974" y="446324"/>
                  </a:lnTo>
                  <a:lnTo>
                    <a:pt x="353494" y="466809"/>
                  </a:lnTo>
                  <a:lnTo>
                    <a:pt x="355541" y="471632"/>
                  </a:lnTo>
                  <a:lnTo>
                    <a:pt x="352421" y="477541"/>
                  </a:lnTo>
                  <a:lnTo>
                    <a:pt x="350882" y="484942"/>
                  </a:lnTo>
                  <a:lnTo>
                    <a:pt x="333022" y="456978"/>
                  </a:lnTo>
                  <a:lnTo>
                    <a:pt x="324346" y="448438"/>
                  </a:lnTo>
                  <a:lnTo>
                    <a:pt x="309640" y="441356"/>
                  </a:lnTo>
                  <a:lnTo>
                    <a:pt x="298547" y="442909"/>
                  </a:lnTo>
                  <a:lnTo>
                    <a:pt x="281465" y="452085"/>
                  </a:lnTo>
                  <a:lnTo>
                    <a:pt x="271312" y="454336"/>
                  </a:lnTo>
                  <a:lnTo>
                    <a:pt x="258759" y="447212"/>
                  </a:lnTo>
                  <a:lnTo>
                    <a:pt x="245094" y="441926"/>
                  </a:lnTo>
                  <a:lnTo>
                    <a:pt x="229075" y="429637"/>
                  </a:lnTo>
                  <a:lnTo>
                    <a:pt x="215255" y="425602"/>
                  </a:lnTo>
                  <a:lnTo>
                    <a:pt x="195620" y="412981"/>
                  </a:lnTo>
                  <a:lnTo>
                    <a:pt x="181852" y="400171"/>
                  </a:lnTo>
                  <a:lnTo>
                    <a:pt x="178337" y="393142"/>
                  </a:lnTo>
                  <a:lnTo>
                    <a:pt x="167898" y="391240"/>
                  </a:lnTo>
                  <a:lnTo>
                    <a:pt x="149915" y="382406"/>
                  </a:lnTo>
                  <a:lnTo>
                    <a:pt x="144365" y="370364"/>
                  </a:lnTo>
                  <a:lnTo>
                    <a:pt x="126957" y="354968"/>
                  </a:lnTo>
                  <a:lnTo>
                    <a:pt x="121027" y="338332"/>
                  </a:lnTo>
                  <a:lnTo>
                    <a:pt x="119386" y="325581"/>
                  </a:lnTo>
                  <a:lnTo>
                    <a:pt x="126318" y="323323"/>
                  </a:lnTo>
                  <a:lnTo>
                    <a:pt x="126095" y="315892"/>
                  </a:lnTo>
                  <a:lnTo>
                    <a:pt x="132055" y="309391"/>
                  </a:lnTo>
                  <a:lnTo>
                    <a:pt x="134305" y="300488"/>
                  </a:lnTo>
                  <a:lnTo>
                    <a:pt x="130777" y="288652"/>
                  </a:lnTo>
                  <a:lnTo>
                    <a:pt x="131661" y="278332"/>
                  </a:lnTo>
                  <a:lnTo>
                    <a:pt x="128698" y="265057"/>
                  </a:lnTo>
                  <a:lnTo>
                    <a:pt x="119026" y="238696"/>
                  </a:lnTo>
                  <a:lnTo>
                    <a:pt x="105895" y="217661"/>
                  </a:lnTo>
                  <a:lnTo>
                    <a:pt x="101537" y="201147"/>
                  </a:lnTo>
                  <a:lnTo>
                    <a:pt x="88748" y="189794"/>
                  </a:lnTo>
                  <a:lnTo>
                    <a:pt x="87272" y="183319"/>
                  </a:lnTo>
                  <a:lnTo>
                    <a:pt x="95086" y="167559"/>
                  </a:lnTo>
                  <a:lnTo>
                    <a:pt x="87578" y="161034"/>
                  </a:lnTo>
                  <a:lnTo>
                    <a:pt x="80763" y="147910"/>
                  </a:lnTo>
                  <a:lnTo>
                    <a:pt x="82193" y="129687"/>
                  </a:lnTo>
                  <a:lnTo>
                    <a:pt x="73037" y="127011"/>
                  </a:lnTo>
                  <a:lnTo>
                    <a:pt x="67110" y="112815"/>
                  </a:lnTo>
                  <a:lnTo>
                    <a:pt x="63008" y="99770"/>
                  </a:lnTo>
                  <a:lnTo>
                    <a:pt x="65124" y="91682"/>
                  </a:lnTo>
                  <a:lnTo>
                    <a:pt x="62540" y="71662"/>
                  </a:lnTo>
                  <a:lnTo>
                    <a:pt x="63658" y="51564"/>
                  </a:lnTo>
                  <a:lnTo>
                    <a:pt x="67782" y="41720"/>
                  </a:lnTo>
                  <a:lnTo>
                    <a:pt x="58840" y="30654"/>
                  </a:lnTo>
                  <a:lnTo>
                    <a:pt x="52404" y="31360"/>
                  </a:lnTo>
                  <a:lnTo>
                    <a:pt x="45047" y="23573"/>
                  </a:lnTo>
                  <a:lnTo>
                    <a:pt x="37943" y="33807"/>
                  </a:lnTo>
                  <a:lnTo>
                    <a:pt x="35985" y="46353"/>
                  </a:lnTo>
                  <a:lnTo>
                    <a:pt x="30191" y="65803"/>
                  </a:lnTo>
                  <a:lnTo>
                    <a:pt x="32345" y="76833"/>
                  </a:lnTo>
                  <a:lnTo>
                    <a:pt x="39220" y="95452"/>
                  </a:lnTo>
                  <a:lnTo>
                    <a:pt x="40013" y="101710"/>
                  </a:lnTo>
                  <a:lnTo>
                    <a:pt x="42121" y="103724"/>
                  </a:lnTo>
                  <a:lnTo>
                    <a:pt x="41357" y="112729"/>
                  </a:lnTo>
                  <a:lnTo>
                    <a:pt x="44733" y="112571"/>
                  </a:lnTo>
                  <a:lnTo>
                    <a:pt x="42575" y="129427"/>
                  </a:lnTo>
                  <a:lnTo>
                    <a:pt x="45893" y="136323"/>
                  </a:lnTo>
                  <a:lnTo>
                    <a:pt x="46713" y="145690"/>
                  </a:lnTo>
                  <a:lnTo>
                    <a:pt x="53941" y="159490"/>
                  </a:lnTo>
                  <a:lnTo>
                    <a:pt x="52375" y="183846"/>
                  </a:lnTo>
                  <a:lnTo>
                    <a:pt x="54368" y="195457"/>
                  </a:lnTo>
                  <a:lnTo>
                    <a:pt x="55855" y="207837"/>
                  </a:lnTo>
                  <a:lnTo>
                    <a:pt x="52824" y="221520"/>
                  </a:lnTo>
                  <a:lnTo>
                    <a:pt x="61585" y="222836"/>
                  </a:lnTo>
                  <a:lnTo>
                    <a:pt x="65698" y="234953"/>
                  </a:lnTo>
                  <a:lnTo>
                    <a:pt x="69245" y="246825"/>
                  </a:lnTo>
                  <a:lnTo>
                    <a:pt x="67504" y="251430"/>
                  </a:lnTo>
                  <a:lnTo>
                    <a:pt x="56981" y="260546"/>
                  </a:lnTo>
                  <a:lnTo>
                    <a:pt x="53682" y="260262"/>
                  </a:lnTo>
                  <a:lnTo>
                    <a:pt x="53099" y="244294"/>
                  </a:lnTo>
                  <a:lnTo>
                    <a:pt x="45066" y="228934"/>
                  </a:lnTo>
                  <a:lnTo>
                    <a:pt x="35288" y="215727"/>
                  </a:lnTo>
                  <a:lnTo>
                    <a:pt x="27735" y="208647"/>
                  </a:lnTo>
                  <a:lnTo>
                    <a:pt x="34201" y="189748"/>
                  </a:lnTo>
                  <a:lnTo>
                    <a:pt x="35836" y="175582"/>
                  </a:lnTo>
                  <a:lnTo>
                    <a:pt x="29615" y="167070"/>
                  </a:lnTo>
                  <a:lnTo>
                    <a:pt x="20743" y="154798"/>
                  </a:lnTo>
                  <a:lnTo>
                    <a:pt x="17194" y="157984"/>
                  </a:lnTo>
                  <a:lnTo>
                    <a:pt x="14809" y="150970"/>
                  </a:lnTo>
                  <a:lnTo>
                    <a:pt x="5589" y="144031"/>
                  </a:lnTo>
                  <a:lnTo>
                    <a:pt x="0" y="128346"/>
                  </a:lnTo>
                  <a:lnTo>
                    <a:pt x="2026" y="126477"/>
                  </a:lnTo>
                  <a:lnTo>
                    <a:pt x="9057" y="128409"/>
                  </a:lnTo>
                  <a:lnTo>
                    <a:pt x="19266" y="119176"/>
                  </a:lnTo>
                  <a:lnTo>
                    <a:pt x="24123" y="107571"/>
                  </a:lnTo>
                  <a:lnTo>
                    <a:pt x="16874" y="88264"/>
                  </a:lnTo>
                  <a:lnTo>
                    <a:pt x="8916" y="80420"/>
                  </a:lnTo>
                  <a:lnTo>
                    <a:pt x="8446" y="63862"/>
                  </a:lnTo>
                  <a:lnTo>
                    <a:pt x="8442" y="46497"/>
                  </a:lnTo>
                  <a:lnTo>
                    <a:pt x="8517" y="25320"/>
                  </a:lnTo>
                  <a:lnTo>
                    <a:pt x="11016" y="1644"/>
                  </a:lnTo>
                  <a:lnTo>
                    <a:pt x="32067" y="1147"/>
                  </a:lnTo>
                  <a:lnTo>
                    <a:pt x="55831" y="0"/>
                  </a:lnTo>
                  <a:lnTo>
                    <a:pt x="52060" y="4895"/>
                  </a:lnTo>
                  <a:lnTo>
                    <a:pt x="73873" y="19260"/>
                  </a:lnTo>
                  <a:lnTo>
                    <a:pt x="107645" y="40069"/>
                  </a:lnTo>
                  <a:lnTo>
                    <a:pt x="143515" y="42211"/>
                  </a:lnTo>
                  <a:lnTo>
                    <a:pt x="157807" y="43115"/>
                  </a:lnTo>
                  <a:lnTo>
                    <a:pt x="161834" y="32589"/>
                  </a:lnTo>
                  <a:lnTo>
                    <a:pt x="192990" y="34576"/>
                  </a:lnTo>
                  <a:lnTo>
                    <a:pt x="196201" y="44014"/>
                  </a:lnTo>
                  <a:lnTo>
                    <a:pt x="202486" y="52630"/>
                  </a:lnTo>
                  <a:lnTo>
                    <a:pt x="209219" y="64477"/>
                  </a:lnTo>
                  <a:lnTo>
                    <a:pt x="210563" y="78134"/>
                  </a:lnTo>
                  <a:lnTo>
                    <a:pt x="210278" y="92404"/>
                  </a:lnTo>
                  <a:lnTo>
                    <a:pt x="217123" y="100635"/>
                  </a:lnTo>
                  <a:lnTo>
                    <a:pt x="229779" y="109122"/>
                  </a:lnTo>
                  <a:lnTo>
                    <a:pt x="247962" y="89657"/>
                  </a:lnTo>
                  <a:lnTo>
                    <a:pt x="263044" y="89997"/>
                  </a:lnTo>
                  <a:lnTo>
                    <a:pt x="272592" y="100827"/>
                  </a:lnTo>
                  <a:lnTo>
                    <a:pt x="276217" y="118708"/>
                  </a:lnTo>
                  <a:lnTo>
                    <a:pt x="277940" y="133932"/>
                  </a:lnTo>
                  <a:lnTo>
                    <a:pt x="284435" y="148969"/>
                  </a:lnTo>
                  <a:lnTo>
                    <a:pt x="283267" y="166965"/>
                  </a:lnTo>
                  <a:lnTo>
                    <a:pt x="285035" y="179167"/>
                  </a:lnTo>
                  <a:lnTo>
                    <a:pt x="297332" y="187731"/>
                  </a:lnTo>
                  <a:lnTo>
                    <a:pt x="309019" y="193932"/>
                  </a:lnTo>
                  <a:lnTo>
                    <a:pt x="316498" y="193502"/>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4" name="Polygon form 15"/>
            <p:cNvSpPr/>
            <p:nvPr/>
          </p:nvSpPr>
          <p:spPr>
            <a:xfrm>
              <a:off x="4319274" y="3022421"/>
              <a:ext cx="44070" cy="36021"/>
            </a:xfrm>
            <a:custGeom>
              <a:avLst/>
              <a:gdLst/>
              <a:ahLst/>
              <a:cxnLst/>
              <a:rect l="0" t="0" r="0" b="0"/>
              <a:pathLst>
                <a:path w="44070" h="36021">
                  <a:moveTo>
                    <a:pt x="1455" y="11652"/>
                  </a:moveTo>
                  <a:lnTo>
                    <a:pt x="3697" y="11824"/>
                  </a:lnTo>
                  <a:lnTo>
                    <a:pt x="4009" y="6867"/>
                  </a:lnTo>
                  <a:lnTo>
                    <a:pt x="13955" y="2988"/>
                  </a:lnTo>
                  <a:lnTo>
                    <a:pt x="17770" y="2007"/>
                  </a:lnTo>
                  <a:lnTo>
                    <a:pt x="23565" y="514"/>
                  </a:lnTo>
                  <a:lnTo>
                    <a:pt x="31604" y="0"/>
                  </a:lnTo>
                  <a:lnTo>
                    <a:pt x="41156" y="7631"/>
                  </a:lnTo>
                  <a:lnTo>
                    <a:pt x="44070" y="23595"/>
                  </a:lnTo>
                  <a:lnTo>
                    <a:pt x="40809" y="24444"/>
                  </a:lnTo>
                  <a:lnTo>
                    <a:pt x="38352" y="28697"/>
                  </a:lnTo>
                  <a:lnTo>
                    <a:pt x="28786" y="28359"/>
                  </a:lnTo>
                  <a:lnTo>
                    <a:pt x="22603" y="33731"/>
                  </a:lnTo>
                  <a:lnTo>
                    <a:pt x="11297" y="36021"/>
                  </a:lnTo>
                  <a:lnTo>
                    <a:pt x="3453" y="30231"/>
                  </a:lnTo>
                  <a:lnTo>
                    <a:pt x="0" y="19901"/>
                  </a:lnTo>
                  <a:lnTo>
                    <a:pt x="1455" y="11652"/>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35" name="Polygon form 16"/>
            <p:cNvSpPr/>
            <p:nvPr/>
          </p:nvSpPr>
          <p:spPr>
            <a:xfrm>
              <a:off x="3723199" y="3443527"/>
              <a:ext cx="319865" cy="358957"/>
            </a:xfrm>
            <a:custGeom>
              <a:avLst/>
              <a:gdLst/>
              <a:ahLst/>
              <a:cxnLst/>
              <a:rect l="0" t="0" r="0" b="0"/>
              <a:pathLst>
                <a:path w="319865" h="358957">
                  <a:moveTo>
                    <a:pt x="0" y="249634"/>
                  </a:moveTo>
                  <a:lnTo>
                    <a:pt x="6633" y="245251"/>
                  </a:lnTo>
                  <a:lnTo>
                    <a:pt x="10164" y="231037"/>
                  </a:lnTo>
                  <a:lnTo>
                    <a:pt x="16339" y="230497"/>
                  </a:lnTo>
                  <a:lnTo>
                    <a:pt x="29807" y="237256"/>
                  </a:lnTo>
                  <a:lnTo>
                    <a:pt x="40856" y="232510"/>
                  </a:lnTo>
                  <a:lnTo>
                    <a:pt x="48351" y="234130"/>
                  </a:lnTo>
                  <a:lnTo>
                    <a:pt x="51350" y="228768"/>
                  </a:lnTo>
                  <a:lnTo>
                    <a:pt x="129378" y="228543"/>
                  </a:lnTo>
                  <a:lnTo>
                    <a:pt x="133850" y="211654"/>
                  </a:lnTo>
                  <a:lnTo>
                    <a:pt x="130513" y="208676"/>
                  </a:lnTo>
                  <a:lnTo>
                    <a:pt x="122328" y="104527"/>
                  </a:lnTo>
                  <a:lnTo>
                    <a:pt x="114644" y="371"/>
                  </a:lnTo>
                  <a:lnTo>
                    <a:pt x="143679" y="0"/>
                  </a:lnTo>
                  <a:lnTo>
                    <a:pt x="207458" y="52717"/>
                  </a:lnTo>
                  <a:lnTo>
                    <a:pt x="272096" y="105350"/>
                  </a:lnTo>
                  <a:lnTo>
                    <a:pt x="276714" y="116652"/>
                  </a:lnTo>
                  <a:lnTo>
                    <a:pt x="288731" y="123543"/>
                  </a:lnTo>
                  <a:lnTo>
                    <a:pt x="297672" y="127459"/>
                  </a:lnTo>
                  <a:lnTo>
                    <a:pt x="297990" y="142808"/>
                  </a:lnTo>
                  <a:lnTo>
                    <a:pt x="319371" y="140422"/>
                  </a:lnTo>
                  <a:lnTo>
                    <a:pt x="319865" y="195987"/>
                  </a:lnTo>
                  <a:lnTo>
                    <a:pt x="309364" y="212113"/>
                  </a:lnTo>
                  <a:lnTo>
                    <a:pt x="307798" y="226980"/>
                  </a:lnTo>
                  <a:lnTo>
                    <a:pt x="290545" y="230820"/>
                  </a:lnTo>
                  <a:lnTo>
                    <a:pt x="264012" y="232907"/>
                  </a:lnTo>
                  <a:lnTo>
                    <a:pt x="256833" y="241482"/>
                  </a:lnTo>
                  <a:lnTo>
                    <a:pt x="244359" y="242432"/>
                  </a:lnTo>
                  <a:lnTo>
                    <a:pt x="231877" y="242543"/>
                  </a:lnTo>
                  <a:lnTo>
                    <a:pt x="227022" y="237914"/>
                  </a:lnTo>
                  <a:lnTo>
                    <a:pt x="216304" y="241346"/>
                  </a:lnTo>
                  <a:lnTo>
                    <a:pt x="198080" y="251347"/>
                  </a:lnTo>
                  <a:lnTo>
                    <a:pt x="194339" y="258886"/>
                  </a:lnTo>
                  <a:lnTo>
                    <a:pt x="179170" y="269692"/>
                  </a:lnTo>
                  <a:lnTo>
                    <a:pt x="176490" y="275888"/>
                  </a:lnTo>
                  <a:lnTo>
                    <a:pt x="168287" y="280794"/>
                  </a:lnTo>
                  <a:lnTo>
                    <a:pt x="158864" y="277534"/>
                  </a:lnTo>
                  <a:lnTo>
                    <a:pt x="153481" y="283418"/>
                  </a:lnTo>
                  <a:lnTo>
                    <a:pt x="150519" y="299961"/>
                  </a:lnTo>
                  <a:lnTo>
                    <a:pt x="134874" y="319944"/>
                  </a:lnTo>
                  <a:lnTo>
                    <a:pt x="135276" y="328117"/>
                  </a:lnTo>
                  <a:lnTo>
                    <a:pt x="129871" y="338340"/>
                  </a:lnTo>
                  <a:lnTo>
                    <a:pt x="131087" y="352348"/>
                  </a:lnTo>
                  <a:lnTo>
                    <a:pt x="122974" y="355916"/>
                  </a:lnTo>
                  <a:lnTo>
                    <a:pt x="118375" y="358957"/>
                  </a:lnTo>
                  <a:lnTo>
                    <a:pt x="115407" y="348634"/>
                  </a:lnTo>
                  <a:lnTo>
                    <a:pt x="109727" y="351349"/>
                  </a:lnTo>
                  <a:lnTo>
                    <a:pt x="106348" y="350875"/>
                  </a:lnTo>
                  <a:lnTo>
                    <a:pt x="102689" y="357913"/>
                  </a:lnTo>
                  <a:lnTo>
                    <a:pt x="87543" y="357696"/>
                  </a:lnTo>
                  <a:lnTo>
                    <a:pt x="82143" y="354066"/>
                  </a:lnTo>
                  <a:lnTo>
                    <a:pt x="79568" y="356255"/>
                  </a:lnTo>
                  <a:lnTo>
                    <a:pt x="73639" y="349290"/>
                  </a:lnTo>
                  <a:lnTo>
                    <a:pt x="74743" y="342105"/>
                  </a:lnTo>
                  <a:lnTo>
                    <a:pt x="72320" y="339286"/>
                  </a:lnTo>
                  <a:lnTo>
                    <a:pt x="68124" y="341654"/>
                  </a:lnTo>
                  <a:lnTo>
                    <a:pt x="68964" y="333803"/>
                  </a:lnTo>
                  <a:lnTo>
                    <a:pt x="73039" y="327596"/>
                  </a:lnTo>
                  <a:lnTo>
                    <a:pt x="65120" y="317473"/>
                  </a:lnTo>
                  <a:lnTo>
                    <a:pt x="62861" y="310813"/>
                  </a:lnTo>
                  <a:lnTo>
                    <a:pt x="58574" y="305503"/>
                  </a:lnTo>
                  <a:lnTo>
                    <a:pt x="54668" y="304863"/>
                  </a:lnTo>
                  <a:lnTo>
                    <a:pt x="49929" y="308235"/>
                  </a:lnTo>
                  <a:lnTo>
                    <a:pt x="43571" y="311452"/>
                  </a:lnTo>
                  <a:lnTo>
                    <a:pt x="38141" y="316665"/>
                  </a:lnTo>
                  <a:lnTo>
                    <a:pt x="29791" y="314721"/>
                  </a:lnTo>
                  <a:lnTo>
                    <a:pt x="24441" y="308580"/>
                  </a:lnTo>
                  <a:lnTo>
                    <a:pt x="21211" y="307768"/>
                  </a:lnTo>
                  <a:lnTo>
                    <a:pt x="16061" y="310975"/>
                  </a:lnTo>
                  <a:lnTo>
                    <a:pt x="12958" y="310996"/>
                  </a:lnTo>
                  <a:lnTo>
                    <a:pt x="11956" y="302153"/>
                  </a:lnTo>
                  <a:lnTo>
                    <a:pt x="12967" y="294634"/>
                  </a:lnTo>
                  <a:lnTo>
                    <a:pt x="11439" y="285294"/>
                  </a:lnTo>
                  <a:lnTo>
                    <a:pt x="4240" y="278495"/>
                  </a:lnTo>
                  <a:lnTo>
                    <a:pt x="626" y="264658"/>
                  </a:lnTo>
                  <a:lnTo>
                    <a:pt x="0" y="249634"/>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36" name="Polygon form 17"/>
            <p:cNvSpPr/>
            <p:nvPr/>
          </p:nvSpPr>
          <p:spPr>
            <a:xfrm>
              <a:off x="5724987" y="3320614"/>
              <a:ext cx="182007" cy="469866"/>
            </a:xfrm>
            <a:custGeom>
              <a:avLst/>
              <a:gdLst/>
              <a:ahLst/>
              <a:cxnLst/>
              <a:rect l="0" t="0" r="0" b="0"/>
              <a:pathLst>
                <a:path w="182007" h="469866">
                  <a:moveTo>
                    <a:pt x="144837" y="206263"/>
                  </a:moveTo>
                  <a:lnTo>
                    <a:pt x="136064" y="217763"/>
                  </a:lnTo>
                  <a:lnTo>
                    <a:pt x="122823" y="219390"/>
                  </a:lnTo>
                  <a:lnTo>
                    <a:pt x="119663" y="247325"/>
                  </a:lnTo>
                  <a:lnTo>
                    <a:pt x="112472" y="252236"/>
                  </a:lnTo>
                  <a:lnTo>
                    <a:pt x="125970" y="274373"/>
                  </a:lnTo>
                  <a:lnTo>
                    <a:pt x="141561" y="292685"/>
                  </a:lnTo>
                  <a:lnTo>
                    <a:pt x="152405" y="309363"/>
                  </a:lnTo>
                  <a:lnTo>
                    <a:pt x="149027" y="331856"/>
                  </a:lnTo>
                  <a:lnTo>
                    <a:pt x="143098" y="336777"/>
                  </a:lnTo>
                  <a:lnTo>
                    <a:pt x="149728" y="349515"/>
                  </a:lnTo>
                  <a:lnTo>
                    <a:pt x="165720" y="369570"/>
                  </a:lnTo>
                  <a:lnTo>
                    <a:pt x="169991" y="383853"/>
                  </a:lnTo>
                  <a:lnTo>
                    <a:pt x="171329" y="395796"/>
                  </a:lnTo>
                  <a:lnTo>
                    <a:pt x="182007" y="419069"/>
                  </a:lnTo>
                  <a:lnTo>
                    <a:pt x="174176" y="443268"/>
                  </a:lnTo>
                  <a:lnTo>
                    <a:pt x="167591" y="469866"/>
                  </a:lnTo>
                  <a:lnTo>
                    <a:pt x="163652" y="450825"/>
                  </a:lnTo>
                  <a:lnTo>
                    <a:pt x="167379" y="431020"/>
                  </a:lnTo>
                  <a:lnTo>
                    <a:pt x="158951" y="415961"/>
                  </a:lnTo>
                  <a:lnTo>
                    <a:pt x="156851" y="387955"/>
                  </a:lnTo>
                  <a:lnTo>
                    <a:pt x="147098" y="374853"/>
                  </a:lnTo>
                  <a:lnTo>
                    <a:pt x="136220" y="344334"/>
                  </a:lnTo>
                  <a:lnTo>
                    <a:pt x="127515" y="312078"/>
                  </a:lnTo>
                  <a:lnTo>
                    <a:pt x="115536" y="291135"/>
                  </a:lnTo>
                  <a:lnTo>
                    <a:pt x="105040" y="304331"/>
                  </a:lnTo>
                  <a:lnTo>
                    <a:pt x="86075" y="323159"/>
                  </a:lnTo>
                  <a:lnTo>
                    <a:pt x="74865" y="321181"/>
                  </a:lnTo>
                  <a:lnTo>
                    <a:pt x="61931" y="315529"/>
                  </a:lnTo>
                  <a:lnTo>
                    <a:pt x="63296" y="283753"/>
                  </a:lnTo>
                  <a:lnTo>
                    <a:pt x="55022" y="260024"/>
                  </a:lnTo>
                  <a:lnTo>
                    <a:pt x="34469" y="231169"/>
                  </a:lnTo>
                  <a:lnTo>
                    <a:pt x="35016" y="221929"/>
                  </a:lnTo>
                  <a:lnTo>
                    <a:pt x="23193" y="219044"/>
                  </a:lnTo>
                  <a:lnTo>
                    <a:pt x="5491" y="198796"/>
                  </a:lnTo>
                  <a:lnTo>
                    <a:pt x="0" y="178437"/>
                  </a:lnTo>
                  <a:lnTo>
                    <a:pt x="7448" y="182041"/>
                  </a:lnTo>
                  <a:lnTo>
                    <a:pt x="3922" y="163842"/>
                  </a:lnTo>
                  <a:lnTo>
                    <a:pt x="11946" y="157482"/>
                  </a:lnTo>
                  <a:lnTo>
                    <a:pt x="7522" y="146791"/>
                  </a:lnTo>
                  <a:lnTo>
                    <a:pt x="9819" y="137995"/>
                  </a:lnTo>
                  <a:lnTo>
                    <a:pt x="4350" y="111744"/>
                  </a:lnTo>
                  <a:lnTo>
                    <a:pt x="20453" y="116924"/>
                  </a:lnTo>
                  <a:lnTo>
                    <a:pt x="23674" y="95677"/>
                  </a:lnTo>
                  <a:lnTo>
                    <a:pt x="21479" y="83287"/>
                  </a:lnTo>
                  <a:lnTo>
                    <a:pt x="26209" y="61584"/>
                  </a:lnTo>
                  <a:lnTo>
                    <a:pt x="21716" y="47115"/>
                  </a:lnTo>
                  <a:lnTo>
                    <a:pt x="40847" y="28497"/>
                  </a:lnTo>
                  <a:lnTo>
                    <a:pt x="55402" y="32452"/>
                  </a:lnTo>
                  <a:lnTo>
                    <a:pt x="49370" y="16926"/>
                  </a:lnTo>
                  <a:lnTo>
                    <a:pt x="54479" y="11959"/>
                  </a:lnTo>
                  <a:lnTo>
                    <a:pt x="50225" y="2422"/>
                  </a:lnTo>
                  <a:lnTo>
                    <a:pt x="60434" y="0"/>
                  </a:lnTo>
                  <a:lnTo>
                    <a:pt x="71077" y="14624"/>
                  </a:lnTo>
                  <a:lnTo>
                    <a:pt x="80937" y="20277"/>
                  </a:lnTo>
                  <a:lnTo>
                    <a:pt x="87148" y="39691"/>
                  </a:lnTo>
                  <a:lnTo>
                    <a:pt x="92322" y="60697"/>
                  </a:lnTo>
                  <a:lnTo>
                    <a:pt x="80407" y="82739"/>
                  </a:lnTo>
                  <a:lnTo>
                    <a:pt x="85966" y="113015"/>
                  </a:lnTo>
                  <a:lnTo>
                    <a:pt x="104727" y="107940"/>
                  </a:lnTo>
                  <a:lnTo>
                    <a:pt x="115128" y="131217"/>
                  </a:lnTo>
                  <a:lnTo>
                    <a:pt x="128291" y="135660"/>
                  </a:lnTo>
                  <a:lnTo>
                    <a:pt x="127917" y="157099"/>
                  </a:lnTo>
                  <a:lnTo>
                    <a:pt x="144240" y="166128"/>
                  </a:lnTo>
                  <a:lnTo>
                    <a:pt x="153551" y="170509"/>
                  </a:lnTo>
                  <a:lnTo>
                    <a:pt x="165692" y="162495"/>
                  </a:lnTo>
                  <a:lnTo>
                    <a:pt x="168761" y="173059"/>
                  </a:lnTo>
                  <a:lnTo>
                    <a:pt x="156419" y="190352"/>
                  </a:lnTo>
                  <a:lnTo>
                    <a:pt x="154458" y="199936"/>
                  </a:lnTo>
                  <a:lnTo>
                    <a:pt x="144837" y="206263"/>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37" name="Polygon form 18"/>
            <p:cNvSpPr/>
            <p:nvPr/>
          </p:nvSpPr>
          <p:spPr>
            <a:xfrm>
              <a:off x="4282003" y="2994074"/>
              <a:ext cx="31962" cy="39729"/>
            </a:xfrm>
            <a:custGeom>
              <a:avLst/>
              <a:gdLst/>
              <a:ahLst/>
              <a:cxnLst/>
              <a:rect l="0" t="0" r="0" b="0"/>
              <a:pathLst>
                <a:path w="31962" h="39729">
                  <a:moveTo>
                    <a:pt x="23505" y="24600"/>
                  </a:moveTo>
                  <a:lnTo>
                    <a:pt x="21978" y="20069"/>
                  </a:lnTo>
                  <a:lnTo>
                    <a:pt x="15504" y="32058"/>
                  </a:lnTo>
                  <a:lnTo>
                    <a:pt x="17365" y="39729"/>
                  </a:lnTo>
                  <a:lnTo>
                    <a:pt x="13539" y="37902"/>
                  </a:lnTo>
                  <a:lnTo>
                    <a:pt x="7951" y="30075"/>
                  </a:lnTo>
                  <a:lnTo>
                    <a:pt x="0" y="25369"/>
                  </a:lnTo>
                  <a:lnTo>
                    <a:pt x="1561" y="21241"/>
                  </a:lnTo>
                  <a:lnTo>
                    <a:pt x="2937" y="7926"/>
                  </a:lnTo>
                  <a:lnTo>
                    <a:pt x="8067" y="2245"/>
                  </a:lnTo>
                  <a:lnTo>
                    <a:pt x="11099" y="0"/>
                  </a:lnTo>
                  <a:lnTo>
                    <a:pt x="16078" y="4086"/>
                  </a:lnTo>
                  <a:lnTo>
                    <a:pt x="18922" y="7399"/>
                  </a:lnTo>
                  <a:lnTo>
                    <a:pt x="24865" y="9930"/>
                  </a:lnTo>
                  <a:lnTo>
                    <a:pt x="31962" y="14857"/>
                  </a:lnTo>
                  <a:lnTo>
                    <a:pt x="30731" y="16947"/>
                  </a:lnTo>
                  <a:lnTo>
                    <a:pt x="27992" y="22402"/>
                  </a:lnTo>
                  <a:lnTo>
                    <a:pt x="23505" y="24600"/>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38" name="Polygon form 19"/>
            <p:cNvSpPr/>
            <p:nvPr/>
          </p:nvSpPr>
          <p:spPr>
            <a:xfrm>
              <a:off x="5399558" y="2729002"/>
              <a:ext cx="543889" cy="249504"/>
            </a:xfrm>
            <a:custGeom>
              <a:avLst/>
              <a:gdLst/>
              <a:ahLst/>
              <a:cxnLst/>
              <a:rect l="0" t="0" r="0" b="0"/>
              <a:pathLst>
                <a:path w="543889" h="249504">
                  <a:moveTo>
                    <a:pt x="0" y="80545"/>
                  </a:moveTo>
                  <a:lnTo>
                    <a:pt x="14664" y="75118"/>
                  </a:lnTo>
                  <a:lnTo>
                    <a:pt x="33894" y="51890"/>
                  </a:lnTo>
                  <a:lnTo>
                    <a:pt x="51564" y="38618"/>
                  </a:lnTo>
                  <a:lnTo>
                    <a:pt x="69318" y="45050"/>
                  </a:lnTo>
                  <a:lnTo>
                    <a:pt x="85881" y="44137"/>
                  </a:lnTo>
                  <a:lnTo>
                    <a:pt x="102734" y="54714"/>
                  </a:lnTo>
                  <a:lnTo>
                    <a:pt x="118925" y="54350"/>
                  </a:lnTo>
                  <a:lnTo>
                    <a:pt x="145137" y="58669"/>
                  </a:lnTo>
                  <a:lnTo>
                    <a:pt x="150571" y="40409"/>
                  </a:lnTo>
                  <a:lnTo>
                    <a:pt x="135823" y="26575"/>
                  </a:lnTo>
                  <a:lnTo>
                    <a:pt x="136640" y="0"/>
                  </a:lnTo>
                  <a:lnTo>
                    <a:pt x="159999" y="8583"/>
                  </a:lnTo>
                  <a:lnTo>
                    <a:pt x="175712" y="10228"/>
                  </a:lnTo>
                  <a:lnTo>
                    <a:pt x="197678" y="14904"/>
                  </a:lnTo>
                  <a:lnTo>
                    <a:pt x="211897" y="32928"/>
                  </a:lnTo>
                  <a:lnTo>
                    <a:pt x="240262" y="41264"/>
                  </a:lnTo>
                  <a:lnTo>
                    <a:pt x="252128" y="35422"/>
                  </a:lnTo>
                  <a:lnTo>
                    <a:pt x="269697" y="30450"/>
                  </a:lnTo>
                  <a:lnTo>
                    <a:pt x="287231" y="32243"/>
                  </a:lnTo>
                  <a:lnTo>
                    <a:pt x="309894" y="42597"/>
                  </a:lnTo>
                  <a:lnTo>
                    <a:pt x="327288" y="54248"/>
                  </a:lnTo>
                  <a:lnTo>
                    <a:pt x="341560" y="52637"/>
                  </a:lnTo>
                  <a:lnTo>
                    <a:pt x="363718" y="54771"/>
                  </a:lnTo>
                  <a:lnTo>
                    <a:pt x="374033" y="47308"/>
                  </a:lnTo>
                  <a:lnTo>
                    <a:pt x="391705" y="41245"/>
                  </a:lnTo>
                  <a:lnTo>
                    <a:pt x="402506" y="21708"/>
                  </a:lnTo>
                  <a:lnTo>
                    <a:pt x="413493" y="23417"/>
                  </a:lnTo>
                  <a:lnTo>
                    <a:pt x="427166" y="30806"/>
                  </a:lnTo>
                  <a:lnTo>
                    <a:pt x="444011" y="26868"/>
                  </a:lnTo>
                  <a:lnTo>
                    <a:pt x="449294" y="46157"/>
                  </a:lnTo>
                  <a:lnTo>
                    <a:pt x="454829" y="71878"/>
                  </a:lnTo>
                  <a:lnTo>
                    <a:pt x="465487" y="81566"/>
                  </a:lnTo>
                  <a:lnTo>
                    <a:pt x="472285" y="77541"/>
                  </a:lnTo>
                  <a:lnTo>
                    <a:pt x="490252" y="79820"/>
                  </a:lnTo>
                  <a:lnTo>
                    <a:pt x="496133" y="69471"/>
                  </a:lnTo>
                  <a:lnTo>
                    <a:pt x="513956" y="76069"/>
                  </a:lnTo>
                  <a:lnTo>
                    <a:pt x="539746" y="91894"/>
                  </a:lnTo>
                  <a:lnTo>
                    <a:pt x="543889" y="100887"/>
                  </a:lnTo>
                  <a:lnTo>
                    <a:pt x="529626" y="99372"/>
                  </a:lnTo>
                  <a:lnTo>
                    <a:pt x="508874" y="104994"/>
                  </a:lnTo>
                  <a:lnTo>
                    <a:pt x="502274" y="113166"/>
                  </a:lnTo>
                  <a:lnTo>
                    <a:pt x="500967" y="130730"/>
                  </a:lnTo>
                  <a:lnTo>
                    <a:pt x="482463" y="142712"/>
                  </a:lnTo>
                  <a:lnTo>
                    <a:pt x="474333" y="157432"/>
                  </a:lnTo>
                  <a:lnTo>
                    <a:pt x="454726" y="153921"/>
                  </a:lnTo>
                  <a:lnTo>
                    <a:pt x="444304" y="152506"/>
                  </a:lnTo>
                  <a:lnTo>
                    <a:pt x="445129" y="169315"/>
                  </a:lnTo>
                  <a:lnTo>
                    <a:pt x="455826" y="178421"/>
                  </a:lnTo>
                  <a:lnTo>
                    <a:pt x="463161" y="186415"/>
                  </a:lnTo>
                  <a:lnTo>
                    <a:pt x="456408" y="195823"/>
                  </a:lnTo>
                  <a:lnTo>
                    <a:pt x="451976" y="210228"/>
                  </a:lnTo>
                  <a:lnTo>
                    <a:pt x="437379" y="220667"/>
                  </a:lnTo>
                  <a:lnTo>
                    <a:pt x="412983" y="223691"/>
                  </a:lnTo>
                  <a:lnTo>
                    <a:pt x="390560" y="234551"/>
                  </a:lnTo>
                  <a:lnTo>
                    <a:pt x="377837" y="249504"/>
                  </a:lnTo>
                  <a:lnTo>
                    <a:pt x="366525" y="242322"/>
                  </a:lnTo>
                  <a:lnTo>
                    <a:pt x="346237" y="243918"/>
                  </a:lnTo>
                  <a:lnTo>
                    <a:pt x="313963" y="230688"/>
                  </a:lnTo>
                  <a:lnTo>
                    <a:pt x="295626" y="228237"/>
                  </a:lnTo>
                  <a:lnTo>
                    <a:pt x="275046" y="233360"/>
                  </a:lnTo>
                  <a:lnTo>
                    <a:pt x="237782" y="230323"/>
                  </a:lnTo>
                  <a:lnTo>
                    <a:pt x="219565" y="232225"/>
                  </a:lnTo>
                  <a:lnTo>
                    <a:pt x="202802" y="218210"/>
                  </a:lnTo>
                  <a:lnTo>
                    <a:pt x="184313" y="195948"/>
                  </a:lnTo>
                  <a:lnTo>
                    <a:pt x="172743" y="193942"/>
                  </a:lnTo>
                  <a:lnTo>
                    <a:pt x="145344" y="179990"/>
                  </a:lnTo>
                  <a:lnTo>
                    <a:pt x="121455" y="178120"/>
                  </a:lnTo>
                  <a:lnTo>
                    <a:pt x="99837" y="175274"/>
                  </a:lnTo>
                  <a:lnTo>
                    <a:pt x="88854" y="165013"/>
                  </a:lnTo>
                  <a:lnTo>
                    <a:pt x="81267" y="135856"/>
                  </a:lnTo>
                  <a:lnTo>
                    <a:pt x="60291" y="116896"/>
                  </a:lnTo>
                  <a:lnTo>
                    <a:pt x="32685" y="109327"/>
                  </a:lnTo>
                  <a:lnTo>
                    <a:pt x="12724" y="97300"/>
                  </a:lnTo>
                  <a:lnTo>
                    <a:pt x="0" y="80545"/>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39" name="Polygon form 20"/>
            <p:cNvSpPr/>
            <p:nvPr/>
          </p:nvSpPr>
          <p:spPr>
            <a:xfrm>
              <a:off x="4547832" y="4297581"/>
              <a:ext cx="206369" cy="397845"/>
            </a:xfrm>
            <a:custGeom>
              <a:avLst/>
              <a:gdLst/>
              <a:ahLst/>
              <a:cxnLst/>
              <a:rect l="0" t="0" r="0" b="0"/>
              <a:pathLst>
                <a:path w="206369" h="397845">
                  <a:moveTo>
                    <a:pt x="88978" y="28543"/>
                  </a:moveTo>
                  <a:lnTo>
                    <a:pt x="103786" y="26671"/>
                  </a:lnTo>
                  <a:lnTo>
                    <a:pt x="127010" y="33678"/>
                  </a:lnTo>
                  <a:lnTo>
                    <a:pt x="132253" y="30638"/>
                  </a:lnTo>
                  <a:lnTo>
                    <a:pt x="145904" y="30104"/>
                  </a:lnTo>
                  <a:lnTo>
                    <a:pt x="153201" y="22851"/>
                  </a:lnTo>
                  <a:lnTo>
                    <a:pt x="164929" y="23331"/>
                  </a:lnTo>
                  <a:lnTo>
                    <a:pt x="186762" y="14021"/>
                  </a:lnTo>
                  <a:lnTo>
                    <a:pt x="202965" y="0"/>
                  </a:lnTo>
                  <a:lnTo>
                    <a:pt x="205659" y="10948"/>
                  </a:lnTo>
                  <a:lnTo>
                    <a:pt x="203717" y="35222"/>
                  </a:lnTo>
                  <a:lnTo>
                    <a:pt x="205046" y="56624"/>
                  </a:lnTo>
                  <a:lnTo>
                    <a:pt x="203668" y="94713"/>
                  </a:lnTo>
                  <a:lnTo>
                    <a:pt x="206369" y="106681"/>
                  </a:lnTo>
                  <a:lnTo>
                    <a:pt x="199472" y="124034"/>
                  </a:lnTo>
                  <a:lnTo>
                    <a:pt x="190829" y="140876"/>
                  </a:lnTo>
                  <a:lnTo>
                    <a:pt x="177463" y="155850"/>
                  </a:lnTo>
                  <a:lnTo>
                    <a:pt x="159122" y="164919"/>
                  </a:lnTo>
                  <a:lnTo>
                    <a:pt x="136502" y="176500"/>
                  </a:lnTo>
                  <a:lnTo>
                    <a:pt x="112871" y="202370"/>
                  </a:lnTo>
                  <a:lnTo>
                    <a:pt x="105138" y="206729"/>
                  </a:lnTo>
                  <a:lnTo>
                    <a:pt x="90466" y="223852"/>
                  </a:lnTo>
                  <a:lnTo>
                    <a:pt x="82135" y="229383"/>
                  </a:lnTo>
                  <a:lnTo>
                    <a:pt x="79254" y="246686"/>
                  </a:lnTo>
                  <a:lnTo>
                    <a:pt x="86958" y="265187"/>
                  </a:lnTo>
                  <a:lnTo>
                    <a:pt x="89609" y="279480"/>
                  </a:lnTo>
                  <a:lnTo>
                    <a:pt x="89258" y="286751"/>
                  </a:lnTo>
                  <a:lnTo>
                    <a:pt x="92734" y="285578"/>
                  </a:lnTo>
                  <a:lnTo>
                    <a:pt x="90196" y="309398"/>
                  </a:lnTo>
                  <a:lnTo>
                    <a:pt x="86135" y="320644"/>
                  </a:lnTo>
                  <a:lnTo>
                    <a:pt x="90255" y="324861"/>
                  </a:lnTo>
                  <a:lnTo>
                    <a:pt x="86531" y="334930"/>
                  </a:lnTo>
                  <a:lnTo>
                    <a:pt x="77823" y="343463"/>
                  </a:lnTo>
                  <a:lnTo>
                    <a:pt x="61449" y="351460"/>
                  </a:lnTo>
                  <a:lnTo>
                    <a:pt x="37519" y="364297"/>
                  </a:lnTo>
                  <a:lnTo>
                    <a:pt x="28441" y="373160"/>
                  </a:lnTo>
                  <a:lnTo>
                    <a:pt x="29153" y="383401"/>
                  </a:lnTo>
                  <a:lnTo>
                    <a:pt x="33827" y="385098"/>
                  </a:lnTo>
                  <a:lnTo>
                    <a:pt x="31043" y="397845"/>
                  </a:lnTo>
                  <a:lnTo>
                    <a:pt x="16784" y="397450"/>
                  </a:lnTo>
                  <a:lnTo>
                    <a:pt x="16121" y="386707"/>
                  </a:lnTo>
                  <a:lnTo>
                    <a:pt x="14276" y="375794"/>
                  </a:lnTo>
                  <a:lnTo>
                    <a:pt x="13407" y="367066"/>
                  </a:lnTo>
                  <a:lnTo>
                    <a:pt x="19028" y="340065"/>
                  </a:lnTo>
                  <a:lnTo>
                    <a:pt x="15456" y="322773"/>
                  </a:lnTo>
                  <a:lnTo>
                    <a:pt x="8888" y="288531"/>
                  </a:lnTo>
                  <a:lnTo>
                    <a:pt x="31024" y="261211"/>
                  </a:lnTo>
                  <a:lnTo>
                    <a:pt x="37305" y="243762"/>
                  </a:lnTo>
                  <a:lnTo>
                    <a:pt x="40359" y="241583"/>
                  </a:lnTo>
                  <a:lnTo>
                    <a:pt x="43501" y="227316"/>
                  </a:lnTo>
                  <a:lnTo>
                    <a:pt x="40883" y="220095"/>
                  </a:lnTo>
                  <a:lnTo>
                    <a:pt x="42877" y="201964"/>
                  </a:lnTo>
                  <a:lnTo>
                    <a:pt x="47686" y="185175"/>
                  </a:lnTo>
                  <a:lnTo>
                    <a:pt x="49451" y="154447"/>
                  </a:lnTo>
                  <a:lnTo>
                    <a:pt x="39812" y="146560"/>
                  </a:lnTo>
                  <a:lnTo>
                    <a:pt x="30668" y="144721"/>
                  </a:lnTo>
                  <a:lnTo>
                    <a:pt x="26803" y="138682"/>
                  </a:lnTo>
                  <a:lnTo>
                    <a:pt x="18069" y="133490"/>
                  </a:lnTo>
                  <a:lnTo>
                    <a:pt x="1844" y="133848"/>
                  </a:lnTo>
                  <a:lnTo>
                    <a:pt x="1030" y="124790"/>
                  </a:lnTo>
                  <a:lnTo>
                    <a:pt x="0" y="107513"/>
                  </a:lnTo>
                  <a:lnTo>
                    <a:pt x="60046" y="87931"/>
                  </a:lnTo>
                  <a:lnTo>
                    <a:pt x="70692" y="99673"/>
                  </a:lnTo>
                  <a:lnTo>
                    <a:pt x="76163" y="97482"/>
                  </a:lnTo>
                  <a:lnTo>
                    <a:pt x="83537" y="103691"/>
                  </a:lnTo>
                  <a:lnTo>
                    <a:pt x="84155" y="113436"/>
                  </a:lnTo>
                  <a:lnTo>
                    <a:pt x="79454" y="124699"/>
                  </a:lnTo>
                  <a:lnTo>
                    <a:pt x="79931" y="141837"/>
                  </a:lnTo>
                  <a:lnTo>
                    <a:pt x="91700" y="156961"/>
                  </a:lnTo>
                  <a:lnTo>
                    <a:pt x="98627" y="140152"/>
                  </a:lnTo>
                  <a:lnTo>
                    <a:pt x="107331" y="135109"/>
                  </a:lnTo>
                  <a:lnTo>
                    <a:pt x="107432" y="103836"/>
                  </a:lnTo>
                  <a:lnTo>
                    <a:pt x="100186" y="86191"/>
                  </a:lnTo>
                  <a:lnTo>
                    <a:pt x="93538" y="78301"/>
                  </a:lnTo>
                  <a:lnTo>
                    <a:pt x="86749" y="78604"/>
                  </a:lnTo>
                  <a:lnTo>
                    <a:pt x="82725" y="46977"/>
                  </a:lnTo>
                  <a:lnTo>
                    <a:pt x="88978" y="28543"/>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40" name="Polygon form 21"/>
            <p:cNvSpPr/>
            <p:nvPr/>
          </p:nvSpPr>
          <p:spPr>
            <a:xfrm>
              <a:off x="3632735" y="3384909"/>
              <a:ext cx="234143" cy="308252"/>
            </a:xfrm>
            <a:custGeom>
              <a:avLst/>
              <a:gdLst/>
              <a:ahLst/>
              <a:cxnLst/>
              <a:rect l="0" t="0" r="0" b="0"/>
              <a:pathLst>
                <a:path w="234143" h="308252">
                  <a:moveTo>
                    <a:pt x="90464" y="308252"/>
                  </a:moveTo>
                  <a:lnTo>
                    <a:pt x="77937" y="291629"/>
                  </a:lnTo>
                  <a:lnTo>
                    <a:pt x="66551" y="273825"/>
                  </a:lnTo>
                  <a:lnTo>
                    <a:pt x="53809" y="267383"/>
                  </a:lnTo>
                  <a:lnTo>
                    <a:pt x="44708" y="260249"/>
                  </a:lnTo>
                  <a:lnTo>
                    <a:pt x="33869" y="260473"/>
                  </a:lnTo>
                  <a:lnTo>
                    <a:pt x="24264" y="265701"/>
                  </a:lnTo>
                  <a:lnTo>
                    <a:pt x="14674" y="263576"/>
                  </a:lnTo>
                  <a:lnTo>
                    <a:pt x="7816" y="271296"/>
                  </a:lnTo>
                  <a:lnTo>
                    <a:pt x="6498" y="258268"/>
                  </a:lnTo>
                  <a:lnTo>
                    <a:pt x="12250" y="246378"/>
                  </a:lnTo>
                  <a:lnTo>
                    <a:pt x="15323" y="223640"/>
                  </a:lnTo>
                  <a:lnTo>
                    <a:pt x="13930" y="199753"/>
                  </a:lnTo>
                  <a:lnTo>
                    <a:pt x="11994" y="187731"/>
                  </a:lnTo>
                  <a:lnTo>
                    <a:pt x="14319" y="175692"/>
                  </a:lnTo>
                  <a:lnTo>
                    <a:pt x="9745" y="164181"/>
                  </a:lnTo>
                  <a:lnTo>
                    <a:pt x="0" y="153691"/>
                  </a:lnTo>
                  <a:lnTo>
                    <a:pt x="4486" y="145654"/>
                  </a:lnTo>
                  <a:lnTo>
                    <a:pt x="79572" y="146173"/>
                  </a:lnTo>
                  <a:lnTo>
                    <a:pt x="76980" y="111285"/>
                  </a:lnTo>
                  <a:lnTo>
                    <a:pt x="82032" y="98904"/>
                  </a:lnTo>
                  <a:lnTo>
                    <a:pt x="99960" y="96816"/>
                  </a:lnTo>
                  <a:lnTo>
                    <a:pt x="101245" y="35038"/>
                  </a:lnTo>
                  <a:lnTo>
                    <a:pt x="163259" y="36555"/>
                  </a:lnTo>
                  <a:lnTo>
                    <a:pt x="164198" y="0"/>
                  </a:lnTo>
                  <a:lnTo>
                    <a:pt x="234143" y="58618"/>
                  </a:lnTo>
                  <a:lnTo>
                    <a:pt x="205108" y="58988"/>
                  </a:lnTo>
                  <a:lnTo>
                    <a:pt x="212792" y="163145"/>
                  </a:lnTo>
                  <a:lnTo>
                    <a:pt x="220977" y="267294"/>
                  </a:lnTo>
                  <a:lnTo>
                    <a:pt x="224313" y="270272"/>
                  </a:lnTo>
                  <a:lnTo>
                    <a:pt x="219841" y="287160"/>
                  </a:lnTo>
                  <a:lnTo>
                    <a:pt x="141814" y="287386"/>
                  </a:lnTo>
                  <a:lnTo>
                    <a:pt x="138815" y="292747"/>
                  </a:lnTo>
                  <a:lnTo>
                    <a:pt x="131319" y="291127"/>
                  </a:lnTo>
                  <a:lnTo>
                    <a:pt x="120271" y="295874"/>
                  </a:lnTo>
                  <a:lnTo>
                    <a:pt x="106802" y="289115"/>
                  </a:lnTo>
                  <a:lnTo>
                    <a:pt x="100628" y="289654"/>
                  </a:lnTo>
                  <a:lnTo>
                    <a:pt x="97097" y="303869"/>
                  </a:lnTo>
                  <a:lnTo>
                    <a:pt x="90464" y="308252"/>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41" name="Polygon form 22"/>
            <p:cNvSpPr/>
            <p:nvPr/>
          </p:nvSpPr>
          <p:spPr>
            <a:xfrm>
              <a:off x="4532954" y="4103087"/>
              <a:ext cx="33959" cy="52175"/>
            </a:xfrm>
            <a:custGeom>
              <a:avLst/>
              <a:gdLst/>
              <a:ahLst/>
              <a:cxnLst/>
              <a:rect l="0" t="0" r="0" b="0"/>
              <a:pathLst>
                <a:path w="33959" h="52175">
                  <a:moveTo>
                    <a:pt x="5775" y="52175"/>
                  </a:moveTo>
                  <a:lnTo>
                    <a:pt x="4861" y="22918"/>
                  </a:lnTo>
                  <a:lnTo>
                    <a:pt x="0" y="11883"/>
                  </a:lnTo>
                  <a:lnTo>
                    <a:pt x="11965" y="13806"/>
                  </a:lnTo>
                  <a:lnTo>
                    <a:pt x="18117" y="0"/>
                  </a:lnTo>
                  <a:lnTo>
                    <a:pt x="28591" y="1598"/>
                  </a:lnTo>
                  <a:lnTo>
                    <a:pt x="29657" y="11155"/>
                  </a:lnTo>
                  <a:lnTo>
                    <a:pt x="33856" y="16662"/>
                  </a:lnTo>
                  <a:lnTo>
                    <a:pt x="33959" y="24551"/>
                  </a:lnTo>
                  <a:lnTo>
                    <a:pt x="29038" y="29621"/>
                  </a:lnTo>
                  <a:lnTo>
                    <a:pt x="21212" y="42263"/>
                  </a:lnTo>
                  <a:lnTo>
                    <a:pt x="13943" y="51038"/>
                  </a:lnTo>
                  <a:lnTo>
                    <a:pt x="5775" y="52175"/>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42" name="Polygon form 23"/>
            <p:cNvSpPr/>
            <p:nvPr/>
          </p:nvSpPr>
          <p:spPr>
            <a:xfrm>
              <a:off x="4597920" y="4270308"/>
              <a:ext cx="57344" cy="184233"/>
            </a:xfrm>
            <a:custGeom>
              <a:avLst/>
              <a:gdLst/>
              <a:ahLst/>
              <a:cxnLst/>
              <a:rect l="0" t="0" r="0" b="0"/>
              <a:pathLst>
                <a:path w="57344" h="184233">
                  <a:moveTo>
                    <a:pt x="38890" y="55816"/>
                  </a:moveTo>
                  <a:lnTo>
                    <a:pt x="32637" y="74249"/>
                  </a:lnTo>
                  <a:lnTo>
                    <a:pt x="36661" y="105877"/>
                  </a:lnTo>
                  <a:lnTo>
                    <a:pt x="43450" y="105573"/>
                  </a:lnTo>
                  <a:lnTo>
                    <a:pt x="50098" y="113463"/>
                  </a:lnTo>
                  <a:lnTo>
                    <a:pt x="57344" y="131109"/>
                  </a:lnTo>
                  <a:lnTo>
                    <a:pt x="57243" y="162382"/>
                  </a:lnTo>
                  <a:lnTo>
                    <a:pt x="48539" y="167425"/>
                  </a:lnTo>
                  <a:lnTo>
                    <a:pt x="41612" y="184233"/>
                  </a:lnTo>
                  <a:lnTo>
                    <a:pt x="29843" y="169109"/>
                  </a:lnTo>
                  <a:lnTo>
                    <a:pt x="29366" y="151971"/>
                  </a:lnTo>
                  <a:lnTo>
                    <a:pt x="34067" y="140709"/>
                  </a:lnTo>
                  <a:lnTo>
                    <a:pt x="33449" y="130963"/>
                  </a:lnTo>
                  <a:lnTo>
                    <a:pt x="26075" y="124755"/>
                  </a:lnTo>
                  <a:lnTo>
                    <a:pt x="20604" y="126945"/>
                  </a:lnTo>
                  <a:lnTo>
                    <a:pt x="9958" y="115203"/>
                  </a:lnTo>
                  <a:lnTo>
                    <a:pt x="0" y="108840"/>
                  </a:lnTo>
                  <a:lnTo>
                    <a:pt x="6934" y="86321"/>
                  </a:lnTo>
                  <a:lnTo>
                    <a:pt x="13444" y="77908"/>
                  </a:lnTo>
                  <a:lnTo>
                    <a:pt x="10511" y="57759"/>
                  </a:lnTo>
                  <a:lnTo>
                    <a:pt x="15198" y="38092"/>
                  </a:lnTo>
                  <a:lnTo>
                    <a:pt x="18777" y="31528"/>
                  </a:lnTo>
                  <a:lnTo>
                    <a:pt x="14501" y="10881"/>
                  </a:lnTo>
                  <a:lnTo>
                    <a:pt x="5583" y="0"/>
                  </a:lnTo>
                  <a:lnTo>
                    <a:pt x="24684" y="4626"/>
                  </a:lnTo>
                  <a:lnTo>
                    <a:pt x="28408" y="11365"/>
                  </a:lnTo>
                  <a:lnTo>
                    <a:pt x="34669" y="22732"/>
                  </a:lnTo>
                  <a:lnTo>
                    <a:pt x="38890" y="55816"/>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43" name="Polygon form 24"/>
            <p:cNvSpPr/>
            <p:nvPr/>
          </p:nvSpPr>
          <p:spPr>
            <a:xfrm>
              <a:off x="6124515" y="3862509"/>
              <a:ext cx="183529" cy="163328"/>
            </a:xfrm>
            <a:custGeom>
              <a:avLst/>
              <a:gdLst/>
              <a:ahLst/>
              <a:cxnLst/>
              <a:rect l="0" t="0" r="0" b="0"/>
              <a:pathLst>
                <a:path w="183529" h="163328">
                  <a:moveTo>
                    <a:pt x="173995" y="64582"/>
                  </a:moveTo>
                  <a:lnTo>
                    <a:pt x="159982" y="73775"/>
                  </a:lnTo>
                  <a:lnTo>
                    <a:pt x="142661" y="69476"/>
                  </a:lnTo>
                  <a:lnTo>
                    <a:pt x="120004" y="69690"/>
                  </a:lnTo>
                  <a:lnTo>
                    <a:pt x="114571" y="99816"/>
                  </a:lnTo>
                  <a:lnTo>
                    <a:pt x="107317" y="109057"/>
                  </a:lnTo>
                  <a:lnTo>
                    <a:pt x="98163" y="145832"/>
                  </a:lnTo>
                  <a:lnTo>
                    <a:pt x="82158" y="151502"/>
                  </a:lnTo>
                  <a:lnTo>
                    <a:pt x="63363" y="144177"/>
                  </a:lnTo>
                  <a:lnTo>
                    <a:pt x="53939" y="146514"/>
                  </a:lnTo>
                  <a:lnTo>
                    <a:pt x="42621" y="159835"/>
                  </a:lnTo>
                  <a:lnTo>
                    <a:pt x="29998" y="157969"/>
                  </a:lnTo>
                  <a:lnTo>
                    <a:pt x="17320" y="163328"/>
                  </a:lnTo>
                  <a:lnTo>
                    <a:pt x="3638" y="148553"/>
                  </a:lnTo>
                  <a:lnTo>
                    <a:pt x="0" y="131064"/>
                  </a:lnTo>
                  <a:lnTo>
                    <a:pt x="14657" y="139985"/>
                  </a:lnTo>
                  <a:lnTo>
                    <a:pt x="29805" y="135026"/>
                  </a:lnTo>
                  <a:lnTo>
                    <a:pt x="33174" y="112783"/>
                  </a:lnTo>
                  <a:lnTo>
                    <a:pt x="41430" y="107780"/>
                  </a:lnTo>
                  <a:lnTo>
                    <a:pt x="64869" y="101931"/>
                  </a:lnTo>
                  <a:lnTo>
                    <a:pt x="78128" y="80988"/>
                  </a:lnTo>
                  <a:lnTo>
                    <a:pt x="86949" y="64229"/>
                  </a:lnTo>
                  <a:lnTo>
                    <a:pt x="96643" y="77812"/>
                  </a:lnTo>
                  <a:lnTo>
                    <a:pt x="100319" y="68782"/>
                  </a:lnTo>
                  <a:lnTo>
                    <a:pt x="109781" y="69525"/>
                  </a:lnTo>
                  <a:lnTo>
                    <a:pt x="109959" y="52643"/>
                  </a:lnTo>
                  <a:lnTo>
                    <a:pt x="110007" y="39623"/>
                  </a:lnTo>
                  <a:lnTo>
                    <a:pt x="123833" y="21040"/>
                  </a:lnTo>
                  <a:lnTo>
                    <a:pt x="132056" y="215"/>
                  </a:lnTo>
                  <a:lnTo>
                    <a:pt x="139997" y="0"/>
                  </a:lnTo>
                  <a:lnTo>
                    <a:pt x="151227" y="13243"/>
                  </a:lnTo>
                  <a:lnTo>
                    <a:pt x="153032" y="24753"/>
                  </a:lnTo>
                  <a:lnTo>
                    <a:pt x="166541" y="31969"/>
                  </a:lnTo>
                  <a:lnTo>
                    <a:pt x="183529" y="39744"/>
                  </a:lnTo>
                  <a:lnTo>
                    <a:pt x="182824" y="50175"/>
                  </a:lnTo>
                  <a:lnTo>
                    <a:pt x="169695" y="51651"/>
                  </a:lnTo>
                  <a:lnTo>
                    <a:pt x="173995" y="64582"/>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44" name="Polygon form 25"/>
            <p:cNvSpPr/>
            <p:nvPr/>
          </p:nvSpPr>
          <p:spPr>
            <a:xfrm>
              <a:off x="5930352" y="3874685"/>
              <a:ext cx="87493" cy="139616"/>
            </a:xfrm>
            <a:custGeom>
              <a:avLst/>
              <a:gdLst/>
              <a:ahLst/>
              <a:cxnLst/>
              <a:rect l="0" t="0" r="0" b="0"/>
              <a:pathLst>
                <a:path w="87493" h="139616">
                  <a:moveTo>
                    <a:pt x="19924" y="11109"/>
                  </a:moveTo>
                  <a:lnTo>
                    <a:pt x="22319" y="24353"/>
                  </a:lnTo>
                  <a:lnTo>
                    <a:pt x="35121" y="21125"/>
                  </a:lnTo>
                  <a:lnTo>
                    <a:pt x="40863" y="10428"/>
                  </a:lnTo>
                  <a:lnTo>
                    <a:pt x="45550" y="12791"/>
                  </a:lnTo>
                  <a:lnTo>
                    <a:pt x="58166" y="28287"/>
                  </a:lnTo>
                  <a:lnTo>
                    <a:pt x="67414" y="45550"/>
                  </a:lnTo>
                  <a:lnTo>
                    <a:pt x="69410" y="62995"/>
                  </a:lnTo>
                  <a:lnTo>
                    <a:pt x="67823" y="74803"/>
                  </a:lnTo>
                  <a:lnTo>
                    <a:pt x="70089" y="83703"/>
                  </a:lnTo>
                  <a:lnTo>
                    <a:pt x="72050" y="99040"/>
                  </a:lnTo>
                  <a:lnTo>
                    <a:pt x="79207" y="106152"/>
                  </a:lnTo>
                  <a:lnTo>
                    <a:pt x="87493" y="129072"/>
                  </a:lnTo>
                  <a:lnTo>
                    <a:pt x="87258" y="137851"/>
                  </a:lnTo>
                  <a:lnTo>
                    <a:pt x="73285" y="139616"/>
                  </a:lnTo>
                  <a:lnTo>
                    <a:pt x="54278" y="120476"/>
                  </a:lnTo>
                  <a:lnTo>
                    <a:pt x="30412" y="100045"/>
                  </a:lnTo>
                  <a:lnTo>
                    <a:pt x="27676" y="86889"/>
                  </a:lnTo>
                  <a:lnTo>
                    <a:pt x="15610" y="69689"/>
                  </a:lnTo>
                  <a:lnTo>
                    <a:pt x="11898" y="48331"/>
                  </a:lnTo>
                  <a:lnTo>
                    <a:pt x="4039" y="34329"/>
                  </a:lnTo>
                  <a:lnTo>
                    <a:pt x="5064" y="15524"/>
                  </a:lnTo>
                  <a:lnTo>
                    <a:pt x="0" y="4641"/>
                  </a:lnTo>
                  <a:lnTo>
                    <a:pt x="3099" y="0"/>
                  </a:lnTo>
                  <a:lnTo>
                    <a:pt x="19924" y="11109"/>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45" name="Polygon form 26"/>
            <p:cNvSpPr/>
            <p:nvPr/>
          </p:nvSpPr>
          <p:spPr>
            <a:xfrm>
              <a:off x="4187570" y="4455220"/>
              <a:ext cx="258178" cy="292998"/>
            </a:xfrm>
            <a:custGeom>
              <a:avLst/>
              <a:gdLst/>
              <a:ahLst/>
              <a:cxnLst/>
              <a:rect l="0" t="0" r="0" b="0"/>
              <a:pathLst>
                <a:path w="258178" h="292998">
                  <a:moveTo>
                    <a:pt x="78688" y="281368"/>
                  </a:moveTo>
                  <a:lnTo>
                    <a:pt x="65622" y="263024"/>
                  </a:lnTo>
                  <a:lnTo>
                    <a:pt x="59049" y="245337"/>
                  </a:lnTo>
                  <a:lnTo>
                    <a:pt x="55875" y="221797"/>
                  </a:lnTo>
                  <a:lnTo>
                    <a:pt x="51912" y="204272"/>
                  </a:lnTo>
                  <a:lnTo>
                    <a:pt x="46942" y="167046"/>
                  </a:lnTo>
                  <a:lnTo>
                    <a:pt x="47520" y="138149"/>
                  </a:lnTo>
                  <a:lnTo>
                    <a:pt x="45511" y="124964"/>
                  </a:lnTo>
                  <a:lnTo>
                    <a:pt x="38380" y="114974"/>
                  </a:lnTo>
                  <a:lnTo>
                    <a:pt x="29080" y="94978"/>
                  </a:lnTo>
                  <a:lnTo>
                    <a:pt x="19766" y="65967"/>
                  </a:lnTo>
                  <a:lnTo>
                    <a:pt x="15943" y="50791"/>
                  </a:lnTo>
                  <a:lnTo>
                    <a:pt x="779" y="27166"/>
                  </a:lnTo>
                  <a:lnTo>
                    <a:pt x="0" y="8638"/>
                  </a:lnTo>
                  <a:lnTo>
                    <a:pt x="9422" y="4075"/>
                  </a:lnTo>
                  <a:lnTo>
                    <a:pt x="21114" y="0"/>
                  </a:lnTo>
                  <a:lnTo>
                    <a:pt x="33665" y="765"/>
                  </a:lnTo>
                  <a:lnTo>
                    <a:pt x="44949" y="11727"/>
                  </a:lnTo>
                  <a:lnTo>
                    <a:pt x="47920" y="10041"/>
                  </a:lnTo>
                  <a:lnTo>
                    <a:pt x="126460" y="9341"/>
                  </a:lnTo>
                  <a:lnTo>
                    <a:pt x="139483" y="20991"/>
                  </a:lnTo>
                  <a:lnTo>
                    <a:pt x="186186" y="24676"/>
                  </a:lnTo>
                  <a:lnTo>
                    <a:pt x="222146" y="15034"/>
                  </a:lnTo>
                  <a:lnTo>
                    <a:pt x="238233" y="9635"/>
                  </a:lnTo>
                  <a:lnTo>
                    <a:pt x="250730" y="11111"/>
                  </a:lnTo>
                  <a:lnTo>
                    <a:pt x="258124" y="16621"/>
                  </a:lnTo>
                  <a:lnTo>
                    <a:pt x="258178" y="18631"/>
                  </a:lnTo>
                  <a:lnTo>
                    <a:pt x="247024" y="24011"/>
                  </a:lnTo>
                  <a:lnTo>
                    <a:pt x="241156" y="24025"/>
                  </a:lnTo>
                  <a:lnTo>
                    <a:pt x="228393" y="33428"/>
                  </a:lnTo>
                  <a:lnTo>
                    <a:pt x="221440" y="23403"/>
                  </a:lnTo>
                  <a:lnTo>
                    <a:pt x="191278" y="31687"/>
                  </a:lnTo>
                  <a:lnTo>
                    <a:pt x="176860" y="32400"/>
                  </a:lnTo>
                  <a:lnTo>
                    <a:pt x="172563" y="118544"/>
                  </a:lnTo>
                  <a:lnTo>
                    <a:pt x="153654" y="119257"/>
                  </a:lnTo>
                  <a:lnTo>
                    <a:pt x="150257" y="189819"/>
                  </a:lnTo>
                  <a:lnTo>
                    <a:pt x="145287" y="279101"/>
                  </a:lnTo>
                  <a:lnTo>
                    <a:pt x="127866" y="291317"/>
                  </a:lnTo>
                  <a:lnTo>
                    <a:pt x="117729" y="292998"/>
                  </a:lnTo>
                  <a:lnTo>
                    <a:pt x="106232" y="288335"/>
                  </a:lnTo>
                  <a:lnTo>
                    <a:pt x="97938" y="286509"/>
                  </a:lnTo>
                  <a:lnTo>
                    <a:pt x="95320" y="276155"/>
                  </a:lnTo>
                  <a:lnTo>
                    <a:pt x="88252" y="269486"/>
                  </a:lnTo>
                  <a:lnTo>
                    <a:pt x="78688" y="281368"/>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46" name="Polygon form 27"/>
            <p:cNvSpPr/>
            <p:nvPr/>
          </p:nvSpPr>
          <p:spPr>
            <a:xfrm>
              <a:off x="3966020" y="3479377"/>
              <a:ext cx="300001" cy="285415"/>
            </a:xfrm>
            <a:custGeom>
              <a:avLst/>
              <a:gdLst/>
              <a:ahLst/>
              <a:cxnLst/>
              <a:rect l="0" t="0" r="0" b="0"/>
              <a:pathLst>
                <a:path w="300001" h="285415">
                  <a:moveTo>
                    <a:pt x="36394" y="278675"/>
                  </a:moveTo>
                  <a:lnTo>
                    <a:pt x="36792" y="262152"/>
                  </a:lnTo>
                  <a:lnTo>
                    <a:pt x="14249" y="256688"/>
                  </a:lnTo>
                  <a:lnTo>
                    <a:pt x="13626" y="245014"/>
                  </a:lnTo>
                  <a:lnTo>
                    <a:pt x="2623" y="229262"/>
                  </a:lnTo>
                  <a:lnTo>
                    <a:pt x="0" y="218274"/>
                  </a:lnTo>
                  <a:lnTo>
                    <a:pt x="1537" y="206581"/>
                  </a:lnTo>
                  <a:lnTo>
                    <a:pt x="14012" y="205632"/>
                  </a:lnTo>
                  <a:lnTo>
                    <a:pt x="21191" y="197057"/>
                  </a:lnTo>
                  <a:lnTo>
                    <a:pt x="47724" y="194970"/>
                  </a:lnTo>
                  <a:lnTo>
                    <a:pt x="64977" y="191130"/>
                  </a:lnTo>
                  <a:lnTo>
                    <a:pt x="66543" y="176263"/>
                  </a:lnTo>
                  <a:lnTo>
                    <a:pt x="77044" y="160137"/>
                  </a:lnTo>
                  <a:lnTo>
                    <a:pt x="76550" y="104572"/>
                  </a:lnTo>
                  <a:lnTo>
                    <a:pt x="103627" y="93772"/>
                  </a:lnTo>
                  <a:lnTo>
                    <a:pt x="158544" y="46242"/>
                  </a:lnTo>
                  <a:lnTo>
                    <a:pt x="222923" y="0"/>
                  </a:lnTo>
                  <a:lnTo>
                    <a:pt x="253408" y="10273"/>
                  </a:lnTo>
                  <a:lnTo>
                    <a:pt x="264583" y="23484"/>
                  </a:lnTo>
                  <a:lnTo>
                    <a:pt x="277789" y="14439"/>
                  </a:lnTo>
                  <a:lnTo>
                    <a:pt x="283776" y="51962"/>
                  </a:lnTo>
                  <a:lnTo>
                    <a:pt x="291164" y="58208"/>
                  </a:lnTo>
                  <a:lnTo>
                    <a:pt x="291730" y="65889"/>
                  </a:lnTo>
                  <a:lnTo>
                    <a:pt x="300001" y="74131"/>
                  </a:lnTo>
                  <a:lnTo>
                    <a:pt x="296160" y="84550"/>
                  </a:lnTo>
                  <a:lnTo>
                    <a:pt x="290210" y="133605"/>
                  </a:lnTo>
                  <a:lnTo>
                    <a:pt x="290042" y="165030"/>
                  </a:lnTo>
                  <a:lnTo>
                    <a:pt x="265827" y="187897"/>
                  </a:lnTo>
                  <a:lnTo>
                    <a:pt x="258098" y="219737"/>
                  </a:lnTo>
                  <a:lnTo>
                    <a:pt x="266391" y="228659"/>
                  </a:lnTo>
                  <a:lnTo>
                    <a:pt x="266651" y="244196"/>
                  </a:lnTo>
                  <a:lnTo>
                    <a:pt x="279181" y="244715"/>
                  </a:lnTo>
                  <a:lnTo>
                    <a:pt x="277450" y="256098"/>
                  </a:lnTo>
                  <a:lnTo>
                    <a:pt x="271962" y="257500"/>
                  </a:lnTo>
                  <a:lnTo>
                    <a:pt x="271474" y="265191"/>
                  </a:lnTo>
                  <a:lnTo>
                    <a:pt x="267848" y="265735"/>
                  </a:lnTo>
                  <a:lnTo>
                    <a:pt x="254151" y="239330"/>
                  </a:lnTo>
                  <a:lnTo>
                    <a:pt x="249553" y="238382"/>
                  </a:lnTo>
                  <a:lnTo>
                    <a:pt x="234522" y="251920"/>
                  </a:lnTo>
                  <a:lnTo>
                    <a:pt x="219290" y="244911"/>
                  </a:lnTo>
                  <a:lnTo>
                    <a:pt x="208762" y="243527"/>
                  </a:lnTo>
                  <a:lnTo>
                    <a:pt x="203179" y="246929"/>
                  </a:lnTo>
                  <a:lnTo>
                    <a:pt x="191723" y="246222"/>
                  </a:lnTo>
                  <a:lnTo>
                    <a:pt x="180337" y="256531"/>
                  </a:lnTo>
                  <a:lnTo>
                    <a:pt x="170380" y="257139"/>
                  </a:lnTo>
                  <a:lnTo>
                    <a:pt x="146603" y="244705"/>
                  </a:lnTo>
                  <a:lnTo>
                    <a:pt x="137410" y="250644"/>
                  </a:lnTo>
                  <a:lnTo>
                    <a:pt x="127440" y="250247"/>
                  </a:lnTo>
                  <a:lnTo>
                    <a:pt x="120036" y="241143"/>
                  </a:lnTo>
                  <a:lnTo>
                    <a:pt x="100404" y="232164"/>
                  </a:lnTo>
                  <a:lnTo>
                    <a:pt x="79460" y="235043"/>
                  </a:lnTo>
                  <a:lnTo>
                    <a:pt x="74410" y="240266"/>
                  </a:lnTo>
                  <a:lnTo>
                    <a:pt x="71739" y="254143"/>
                  </a:lnTo>
                  <a:lnTo>
                    <a:pt x="66187" y="263875"/>
                  </a:lnTo>
                  <a:lnTo>
                    <a:pt x="64925" y="285415"/>
                  </a:lnTo>
                  <a:lnTo>
                    <a:pt x="49951" y="271540"/>
                  </a:lnTo>
                  <a:lnTo>
                    <a:pt x="42940" y="271606"/>
                  </a:lnTo>
                  <a:lnTo>
                    <a:pt x="36394" y="278675"/>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47" name="Polygon form 28"/>
            <p:cNvSpPr/>
            <p:nvPr/>
          </p:nvSpPr>
          <p:spPr>
            <a:xfrm>
              <a:off x="4013267" y="3711540"/>
              <a:ext cx="232141" cy="232236"/>
            </a:xfrm>
            <a:custGeom>
              <a:avLst/>
              <a:gdLst/>
              <a:ahLst/>
              <a:cxnLst/>
              <a:rect l="0" t="0" r="0" b="0"/>
              <a:pathLst>
                <a:path w="232141" h="232236">
                  <a:moveTo>
                    <a:pt x="114560" y="219394"/>
                  </a:moveTo>
                  <a:lnTo>
                    <a:pt x="94124" y="228090"/>
                  </a:lnTo>
                  <a:lnTo>
                    <a:pt x="86637" y="226825"/>
                  </a:lnTo>
                  <a:lnTo>
                    <a:pt x="79072" y="232236"/>
                  </a:lnTo>
                  <a:lnTo>
                    <a:pt x="63297" y="231716"/>
                  </a:lnTo>
                  <a:lnTo>
                    <a:pt x="52703" y="216627"/>
                  </a:lnTo>
                  <a:lnTo>
                    <a:pt x="46166" y="199165"/>
                  </a:lnTo>
                  <a:lnTo>
                    <a:pt x="32176" y="183274"/>
                  </a:lnTo>
                  <a:lnTo>
                    <a:pt x="17379" y="183578"/>
                  </a:lnTo>
                  <a:lnTo>
                    <a:pt x="0" y="183571"/>
                  </a:lnTo>
                  <a:lnTo>
                    <a:pt x="1053" y="144682"/>
                  </a:lnTo>
                  <a:lnTo>
                    <a:pt x="521" y="129336"/>
                  </a:lnTo>
                  <a:lnTo>
                    <a:pt x="4186" y="114117"/>
                  </a:lnTo>
                  <a:lnTo>
                    <a:pt x="10213" y="106719"/>
                  </a:lnTo>
                  <a:lnTo>
                    <a:pt x="19681" y="91778"/>
                  </a:lnTo>
                  <a:lnTo>
                    <a:pt x="17590" y="85290"/>
                  </a:lnTo>
                  <a:lnTo>
                    <a:pt x="21414" y="75576"/>
                  </a:lnTo>
                  <a:lnTo>
                    <a:pt x="16949" y="61267"/>
                  </a:lnTo>
                  <a:lnTo>
                    <a:pt x="17678" y="53251"/>
                  </a:lnTo>
                  <a:lnTo>
                    <a:pt x="18939" y="31712"/>
                  </a:lnTo>
                  <a:lnTo>
                    <a:pt x="24492" y="21980"/>
                  </a:lnTo>
                  <a:lnTo>
                    <a:pt x="27163" y="8102"/>
                  </a:lnTo>
                  <a:lnTo>
                    <a:pt x="32213" y="2880"/>
                  </a:lnTo>
                  <a:lnTo>
                    <a:pt x="53157" y="0"/>
                  </a:lnTo>
                  <a:lnTo>
                    <a:pt x="72789" y="8979"/>
                  </a:lnTo>
                  <a:lnTo>
                    <a:pt x="80193" y="18083"/>
                  </a:lnTo>
                  <a:lnTo>
                    <a:pt x="90163" y="18480"/>
                  </a:lnTo>
                  <a:lnTo>
                    <a:pt x="99356" y="12542"/>
                  </a:lnTo>
                  <a:lnTo>
                    <a:pt x="123133" y="24976"/>
                  </a:lnTo>
                  <a:lnTo>
                    <a:pt x="133090" y="24367"/>
                  </a:lnTo>
                  <a:lnTo>
                    <a:pt x="144476" y="14058"/>
                  </a:lnTo>
                  <a:lnTo>
                    <a:pt x="155931" y="14766"/>
                  </a:lnTo>
                  <a:lnTo>
                    <a:pt x="161515" y="11364"/>
                  </a:lnTo>
                  <a:lnTo>
                    <a:pt x="172043" y="12748"/>
                  </a:lnTo>
                  <a:lnTo>
                    <a:pt x="187275" y="19756"/>
                  </a:lnTo>
                  <a:lnTo>
                    <a:pt x="202306" y="6219"/>
                  </a:lnTo>
                  <a:lnTo>
                    <a:pt x="206903" y="7167"/>
                  </a:lnTo>
                  <a:lnTo>
                    <a:pt x="220600" y="33571"/>
                  </a:lnTo>
                  <a:lnTo>
                    <a:pt x="224226" y="33028"/>
                  </a:lnTo>
                  <a:lnTo>
                    <a:pt x="232141" y="42627"/>
                  </a:lnTo>
                  <a:lnTo>
                    <a:pt x="230086" y="46996"/>
                  </a:lnTo>
                  <a:lnTo>
                    <a:pt x="229192" y="55027"/>
                  </a:lnTo>
                  <a:lnTo>
                    <a:pt x="212990" y="73757"/>
                  </a:lnTo>
                  <a:lnTo>
                    <a:pt x="208031" y="89182"/>
                  </a:lnTo>
                  <a:lnTo>
                    <a:pt x="205431" y="101740"/>
                  </a:lnTo>
                  <a:lnTo>
                    <a:pt x="201335" y="107130"/>
                  </a:lnTo>
                  <a:lnTo>
                    <a:pt x="197573" y="124041"/>
                  </a:lnTo>
                  <a:lnTo>
                    <a:pt x="187171" y="134006"/>
                  </a:lnTo>
                  <a:lnTo>
                    <a:pt x="184246" y="146229"/>
                  </a:lnTo>
                  <a:lnTo>
                    <a:pt x="179918" y="155960"/>
                  </a:lnTo>
                  <a:lnTo>
                    <a:pt x="178164" y="165999"/>
                  </a:lnTo>
                  <a:lnTo>
                    <a:pt x="164705" y="174151"/>
                  </a:lnTo>
                  <a:lnTo>
                    <a:pt x="153580" y="164243"/>
                  </a:lnTo>
                  <a:lnTo>
                    <a:pt x="146123" y="164652"/>
                  </a:lnTo>
                  <a:lnTo>
                    <a:pt x="134494" y="178792"/>
                  </a:lnTo>
                  <a:lnTo>
                    <a:pt x="128794" y="179014"/>
                  </a:lnTo>
                  <a:lnTo>
                    <a:pt x="119553" y="202310"/>
                  </a:lnTo>
                  <a:lnTo>
                    <a:pt x="114560" y="219394"/>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48" name="Polygon form 29"/>
            <p:cNvSpPr/>
            <p:nvPr/>
          </p:nvSpPr>
          <p:spPr>
            <a:xfrm>
              <a:off x="2249049" y="3667125"/>
              <a:ext cx="94510" cy="108009"/>
            </a:xfrm>
            <a:custGeom>
              <a:avLst/>
              <a:gdLst/>
              <a:ahLst/>
              <a:cxnLst/>
              <a:rect l="0" t="0" r="0" b="0"/>
              <a:pathLst>
                <a:path w="94510" h="108009">
                  <a:moveTo>
                    <a:pt x="33127" y="98294"/>
                  </a:moveTo>
                  <a:lnTo>
                    <a:pt x="27174" y="90213"/>
                  </a:lnTo>
                  <a:lnTo>
                    <a:pt x="19120" y="79844"/>
                  </a:lnTo>
                  <a:lnTo>
                    <a:pt x="15755" y="71235"/>
                  </a:lnTo>
                  <a:lnTo>
                    <a:pt x="8428" y="63123"/>
                  </a:lnTo>
                  <a:lnTo>
                    <a:pt x="0" y="51493"/>
                  </a:lnTo>
                  <a:lnTo>
                    <a:pt x="2632" y="47621"/>
                  </a:lnTo>
                  <a:lnTo>
                    <a:pt x="5391" y="51497"/>
                  </a:lnTo>
                  <a:lnTo>
                    <a:pt x="7080" y="49738"/>
                  </a:lnTo>
                  <a:lnTo>
                    <a:pt x="13260" y="48819"/>
                  </a:lnTo>
                  <a:lnTo>
                    <a:pt x="16394" y="43088"/>
                  </a:lnTo>
                  <a:lnTo>
                    <a:pt x="19278" y="42922"/>
                  </a:lnTo>
                  <a:lnTo>
                    <a:pt x="20401" y="30474"/>
                  </a:lnTo>
                  <a:lnTo>
                    <a:pt x="25034" y="29972"/>
                  </a:lnTo>
                  <a:lnTo>
                    <a:pt x="29068" y="30238"/>
                  </a:lnTo>
                  <a:lnTo>
                    <a:pt x="34117" y="23582"/>
                  </a:lnTo>
                  <a:lnTo>
                    <a:pt x="39207" y="28811"/>
                  </a:lnTo>
                  <a:lnTo>
                    <a:pt x="41596" y="25720"/>
                  </a:lnTo>
                  <a:lnTo>
                    <a:pt x="45558" y="22792"/>
                  </a:lnTo>
                  <a:lnTo>
                    <a:pt x="53229" y="15984"/>
                  </a:lnTo>
                  <a:lnTo>
                    <a:pt x="54226" y="10795"/>
                  </a:lnTo>
                  <a:lnTo>
                    <a:pt x="56060" y="11054"/>
                  </a:lnTo>
                  <a:lnTo>
                    <a:pt x="59343" y="5079"/>
                  </a:lnTo>
                  <a:lnTo>
                    <a:pt x="61468" y="4390"/>
                  </a:lnTo>
                  <a:lnTo>
                    <a:pt x="64268" y="8317"/>
                  </a:lnTo>
                  <a:lnTo>
                    <a:pt x="68007" y="9541"/>
                  </a:lnTo>
                  <a:lnTo>
                    <a:pt x="72715" y="6428"/>
                  </a:lnTo>
                  <a:lnTo>
                    <a:pt x="77620" y="6518"/>
                  </a:lnTo>
                  <a:lnTo>
                    <a:pt x="84788" y="3372"/>
                  </a:lnTo>
                  <a:lnTo>
                    <a:pt x="87928" y="0"/>
                  </a:lnTo>
                  <a:lnTo>
                    <a:pt x="94510" y="660"/>
                  </a:lnTo>
                  <a:lnTo>
                    <a:pt x="92524" y="3041"/>
                  </a:lnTo>
                  <a:lnTo>
                    <a:pt x="90807" y="8642"/>
                  </a:lnTo>
                  <a:lnTo>
                    <a:pt x="91618" y="17901"/>
                  </a:lnTo>
                  <a:lnTo>
                    <a:pt x="86077" y="26390"/>
                  </a:lnTo>
                  <a:lnTo>
                    <a:pt x="82763" y="36489"/>
                  </a:lnTo>
                  <a:lnTo>
                    <a:pt x="80830" y="47584"/>
                  </a:lnTo>
                  <a:lnTo>
                    <a:pt x="81135" y="54102"/>
                  </a:lnTo>
                  <a:lnTo>
                    <a:pt x="80367" y="65462"/>
                  </a:lnTo>
                  <a:lnTo>
                    <a:pt x="77117" y="67885"/>
                  </a:lnTo>
                  <a:lnTo>
                    <a:pt x="74145" y="78640"/>
                  </a:lnTo>
                  <a:lnTo>
                    <a:pt x="74799" y="85325"/>
                  </a:lnTo>
                  <a:lnTo>
                    <a:pt x="70149" y="91708"/>
                  </a:lnTo>
                  <a:lnTo>
                    <a:pt x="70384" y="98543"/>
                  </a:lnTo>
                  <a:lnTo>
                    <a:pt x="72981" y="102736"/>
                  </a:lnTo>
                  <a:lnTo>
                    <a:pt x="67788" y="108009"/>
                  </a:lnTo>
                  <a:lnTo>
                    <a:pt x="62174" y="106236"/>
                  </a:lnTo>
                  <a:lnTo>
                    <a:pt x="59432" y="100988"/>
                  </a:lnTo>
                  <a:lnTo>
                    <a:pt x="53437" y="98779"/>
                  </a:lnTo>
                  <a:lnTo>
                    <a:pt x="48618" y="101998"/>
                  </a:lnTo>
                  <a:lnTo>
                    <a:pt x="36400" y="95091"/>
                  </a:lnTo>
                  <a:lnTo>
                    <a:pt x="33127" y="98294"/>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49" name="Polygon form 30"/>
            <p:cNvSpPr/>
            <p:nvPr/>
          </p:nvSpPr>
          <p:spPr>
            <a:xfrm>
              <a:off x="4014375" y="2754988"/>
              <a:ext cx="59814" cy="65293"/>
            </a:xfrm>
            <a:custGeom>
              <a:avLst/>
              <a:gdLst/>
              <a:ahLst/>
              <a:cxnLst/>
              <a:rect l="0" t="0" r="0" b="0"/>
              <a:pathLst>
                <a:path w="59814" h="65293">
                  <a:moveTo>
                    <a:pt x="43136" y="0"/>
                  </a:moveTo>
                  <a:lnTo>
                    <a:pt x="56467" y="616"/>
                  </a:lnTo>
                  <a:lnTo>
                    <a:pt x="59814" y="8758"/>
                  </a:lnTo>
                  <a:lnTo>
                    <a:pt x="56724" y="30868"/>
                  </a:lnTo>
                  <a:lnTo>
                    <a:pt x="52975" y="39970"/>
                  </a:lnTo>
                  <a:lnTo>
                    <a:pt x="43213" y="40025"/>
                  </a:lnTo>
                  <a:lnTo>
                    <a:pt x="46852" y="65293"/>
                  </a:lnTo>
                  <a:lnTo>
                    <a:pt x="37656" y="59697"/>
                  </a:lnTo>
                  <a:lnTo>
                    <a:pt x="26990" y="49176"/>
                  </a:lnTo>
                  <a:lnTo>
                    <a:pt x="11995" y="54239"/>
                  </a:lnTo>
                  <a:lnTo>
                    <a:pt x="0" y="52377"/>
                  </a:lnTo>
                  <a:lnTo>
                    <a:pt x="8263" y="45726"/>
                  </a:lnTo>
                  <a:lnTo>
                    <a:pt x="21523" y="10188"/>
                  </a:lnTo>
                  <a:lnTo>
                    <a:pt x="43136" y="0"/>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50" name="Polygon form 31"/>
            <p:cNvSpPr/>
            <p:nvPr/>
          </p:nvSpPr>
          <p:spPr>
            <a:xfrm>
              <a:off x="4033261" y="2324707"/>
              <a:ext cx="334539" cy="319991"/>
            </a:xfrm>
            <a:custGeom>
              <a:avLst/>
              <a:gdLst/>
              <a:ahLst/>
              <a:cxnLst/>
              <a:rect l="0" t="0" r="0" b="0"/>
              <a:pathLst>
                <a:path w="334539" h="319991">
                  <a:moveTo>
                    <a:pt x="286330" y="0"/>
                  </a:moveTo>
                  <a:lnTo>
                    <a:pt x="331033" y="16595"/>
                  </a:lnTo>
                  <a:lnTo>
                    <a:pt x="316219" y="23436"/>
                  </a:lnTo>
                  <a:lnTo>
                    <a:pt x="334539" y="38163"/>
                  </a:lnTo>
                  <a:lnTo>
                    <a:pt x="314844" y="48356"/>
                  </a:lnTo>
                  <a:lnTo>
                    <a:pt x="304790" y="50825"/>
                  </a:lnTo>
                  <a:lnTo>
                    <a:pt x="306049" y="33831"/>
                  </a:lnTo>
                  <a:lnTo>
                    <a:pt x="286990" y="24663"/>
                  </a:lnTo>
                  <a:lnTo>
                    <a:pt x="268814" y="33255"/>
                  </a:lnTo>
                  <a:lnTo>
                    <a:pt x="266428" y="51024"/>
                  </a:lnTo>
                  <a:lnTo>
                    <a:pt x="256163" y="61933"/>
                  </a:lnTo>
                  <a:lnTo>
                    <a:pt x="240723" y="56401"/>
                  </a:lnTo>
                  <a:lnTo>
                    <a:pt x="223688" y="57920"/>
                  </a:lnTo>
                  <a:lnTo>
                    <a:pt x="206611" y="45456"/>
                  </a:lnTo>
                  <a:lnTo>
                    <a:pt x="199892" y="51953"/>
                  </a:lnTo>
                  <a:lnTo>
                    <a:pt x="191883" y="53080"/>
                  </a:lnTo>
                  <a:lnTo>
                    <a:pt x="192679" y="68957"/>
                  </a:lnTo>
                  <a:lnTo>
                    <a:pt x="166935" y="65490"/>
                  </a:lnTo>
                  <a:lnTo>
                    <a:pt x="165453" y="78957"/>
                  </a:lnTo>
                  <a:lnTo>
                    <a:pt x="152545" y="79059"/>
                  </a:lnTo>
                  <a:lnTo>
                    <a:pt x="146017" y="96326"/>
                  </a:lnTo>
                  <a:lnTo>
                    <a:pt x="135784" y="123224"/>
                  </a:lnTo>
                  <a:lnTo>
                    <a:pt x="118061" y="157397"/>
                  </a:lnTo>
                  <a:lnTo>
                    <a:pt x="124098" y="165576"/>
                  </a:lnTo>
                  <a:lnTo>
                    <a:pt x="120194" y="175188"/>
                  </a:lnTo>
                  <a:lnTo>
                    <a:pt x="106044" y="174927"/>
                  </a:lnTo>
                  <a:lnTo>
                    <a:pt x="98898" y="197639"/>
                  </a:lnTo>
                  <a:lnTo>
                    <a:pt x="102685" y="229658"/>
                  </a:lnTo>
                  <a:lnTo>
                    <a:pt x="113185" y="241787"/>
                  </a:lnTo>
                  <a:lnTo>
                    <a:pt x="110846" y="270192"/>
                  </a:lnTo>
                  <a:lnTo>
                    <a:pt x="99765" y="286847"/>
                  </a:lnTo>
                  <a:lnTo>
                    <a:pt x="94202" y="300807"/>
                  </a:lnTo>
                  <a:lnTo>
                    <a:pt x="82960" y="286091"/>
                  </a:lnTo>
                  <a:lnTo>
                    <a:pt x="54865" y="314212"/>
                  </a:lnTo>
                  <a:lnTo>
                    <a:pt x="34804" y="319991"/>
                  </a:lnTo>
                  <a:lnTo>
                    <a:pt x="13177" y="307812"/>
                  </a:lnTo>
                  <a:lnTo>
                    <a:pt x="6774" y="281901"/>
                  </a:lnTo>
                  <a:lnTo>
                    <a:pt x="0" y="226249"/>
                  </a:lnTo>
                  <a:lnTo>
                    <a:pt x="12773" y="210667"/>
                  </a:lnTo>
                  <a:lnTo>
                    <a:pt x="49742" y="190191"/>
                  </a:lnTo>
                  <a:lnTo>
                    <a:pt x="76014" y="165079"/>
                  </a:lnTo>
                  <a:lnTo>
                    <a:pt x="98577" y="131229"/>
                  </a:lnTo>
                  <a:lnTo>
                    <a:pt x="126188" y="84310"/>
                  </a:lnTo>
                  <a:lnTo>
                    <a:pt x="146205" y="65885"/>
                  </a:lnTo>
                  <a:lnTo>
                    <a:pt x="177717" y="35141"/>
                  </a:lnTo>
                  <a:lnTo>
                    <a:pt x="204321" y="24130"/>
                  </a:lnTo>
                  <a:lnTo>
                    <a:pt x="225870" y="25020"/>
                  </a:lnTo>
                  <a:lnTo>
                    <a:pt x="241156" y="4714"/>
                  </a:lnTo>
                  <a:lnTo>
                    <a:pt x="264665" y="5295"/>
                  </a:lnTo>
                  <a:lnTo>
                    <a:pt x="286330" y="0"/>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51" name="Polygon form 32"/>
            <p:cNvSpPr/>
            <p:nvPr/>
          </p:nvSpPr>
          <p:spPr>
            <a:xfrm>
              <a:off x="4072410" y="2113936"/>
              <a:ext cx="122893" cy="79070"/>
            </a:xfrm>
            <a:custGeom>
              <a:avLst/>
              <a:gdLst/>
              <a:ahLst/>
              <a:cxnLst/>
              <a:rect l="0" t="0" r="0" b="0"/>
              <a:pathLst>
                <a:path w="122893" h="79070">
                  <a:moveTo>
                    <a:pt x="83483" y="8238"/>
                  </a:moveTo>
                  <a:lnTo>
                    <a:pt x="122893" y="25674"/>
                  </a:lnTo>
                  <a:lnTo>
                    <a:pt x="97429" y="35516"/>
                  </a:lnTo>
                  <a:lnTo>
                    <a:pt x="94792" y="53293"/>
                  </a:lnTo>
                  <a:lnTo>
                    <a:pt x="85820" y="57960"/>
                  </a:lnTo>
                  <a:lnTo>
                    <a:pt x="84021" y="77964"/>
                  </a:lnTo>
                  <a:lnTo>
                    <a:pt x="70384" y="79070"/>
                  </a:lnTo>
                  <a:lnTo>
                    <a:pt x="43648" y="64651"/>
                  </a:lnTo>
                  <a:lnTo>
                    <a:pt x="52589" y="55990"/>
                  </a:lnTo>
                  <a:lnTo>
                    <a:pt x="34805" y="49191"/>
                  </a:lnTo>
                  <a:lnTo>
                    <a:pt x="10645" y="29034"/>
                  </a:lnTo>
                  <a:lnTo>
                    <a:pt x="0" y="10227"/>
                  </a:lnTo>
                  <a:lnTo>
                    <a:pt x="28002" y="1374"/>
                  </a:lnTo>
                  <a:lnTo>
                    <a:pt x="35097" y="9751"/>
                  </a:lnTo>
                  <a:lnTo>
                    <a:pt x="50312" y="9269"/>
                  </a:lnTo>
                  <a:lnTo>
                    <a:pt x="52976" y="1003"/>
                  </a:lnTo>
                  <a:lnTo>
                    <a:pt x="68417" y="0"/>
                  </a:lnTo>
                  <a:lnTo>
                    <a:pt x="83483" y="8238"/>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52" name="Polygon form 33"/>
            <p:cNvSpPr/>
            <p:nvPr/>
          </p:nvSpPr>
          <p:spPr>
            <a:xfrm>
              <a:off x="4143589" y="2098570"/>
              <a:ext cx="107560" cy="30141"/>
            </a:xfrm>
            <a:custGeom>
              <a:avLst/>
              <a:gdLst/>
              <a:ahLst/>
              <a:cxnLst/>
              <a:rect l="0" t="0" r="0" b="0"/>
              <a:pathLst>
                <a:path w="107560" h="30141">
                  <a:moveTo>
                    <a:pt x="84451" y="5578"/>
                  </a:moveTo>
                  <a:lnTo>
                    <a:pt x="107560" y="13625"/>
                  </a:lnTo>
                  <a:lnTo>
                    <a:pt x="95559" y="26801"/>
                  </a:lnTo>
                  <a:lnTo>
                    <a:pt x="65162" y="30141"/>
                  </a:lnTo>
                  <a:lnTo>
                    <a:pt x="32524" y="26596"/>
                  </a:lnTo>
                  <a:lnTo>
                    <a:pt x="29169" y="20002"/>
                  </a:lnTo>
                  <a:lnTo>
                    <a:pt x="13785" y="19775"/>
                  </a:lnTo>
                  <a:lnTo>
                    <a:pt x="0" y="8876"/>
                  </a:lnTo>
                  <a:lnTo>
                    <a:pt x="31002" y="1771"/>
                  </a:lnTo>
                  <a:lnTo>
                    <a:pt x="47591" y="7337"/>
                  </a:lnTo>
                  <a:lnTo>
                    <a:pt x="56384" y="0"/>
                  </a:lnTo>
                  <a:lnTo>
                    <a:pt x="84451" y="5578"/>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53" name="Polygon form 34"/>
            <p:cNvSpPr/>
            <p:nvPr/>
          </p:nvSpPr>
          <p:spPr>
            <a:xfrm>
              <a:off x="4191096" y="2151416"/>
              <a:ext cx="45784" cy="24321"/>
            </a:xfrm>
            <a:custGeom>
              <a:avLst/>
              <a:gdLst/>
              <a:ahLst/>
              <a:cxnLst/>
              <a:rect l="0" t="0" r="0" b="0"/>
              <a:pathLst>
                <a:path w="45784" h="24321">
                  <a:moveTo>
                    <a:pt x="45784" y="14079"/>
                  </a:moveTo>
                  <a:lnTo>
                    <a:pt x="23183" y="24321"/>
                  </a:lnTo>
                  <a:lnTo>
                    <a:pt x="2092" y="19055"/>
                  </a:lnTo>
                  <a:lnTo>
                    <a:pt x="8429" y="12740"/>
                  </a:lnTo>
                  <a:lnTo>
                    <a:pt x="0" y="5163"/>
                  </a:lnTo>
                  <a:lnTo>
                    <a:pt x="21751" y="0"/>
                  </a:lnTo>
                  <a:lnTo>
                    <a:pt x="28356" y="8939"/>
                  </a:lnTo>
                  <a:lnTo>
                    <a:pt x="45784" y="14079"/>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54" name="Polygon form 35"/>
            <p:cNvSpPr/>
            <p:nvPr/>
          </p:nvSpPr>
          <p:spPr>
            <a:xfrm>
              <a:off x="5453198" y="3282119"/>
              <a:ext cx="162978" cy="96339"/>
            </a:xfrm>
            <a:custGeom>
              <a:avLst/>
              <a:gdLst/>
              <a:ahLst/>
              <a:cxnLst/>
              <a:rect l="0" t="0" r="0" b="0"/>
              <a:pathLst>
                <a:path w="162978" h="96339">
                  <a:moveTo>
                    <a:pt x="154611" y="58502"/>
                  </a:moveTo>
                  <a:lnTo>
                    <a:pt x="156027" y="69383"/>
                  </a:lnTo>
                  <a:lnTo>
                    <a:pt x="162596" y="85250"/>
                  </a:lnTo>
                  <a:lnTo>
                    <a:pt x="162978" y="95289"/>
                  </a:lnTo>
                  <a:lnTo>
                    <a:pt x="147546" y="96339"/>
                  </a:lnTo>
                  <a:lnTo>
                    <a:pt x="123658" y="91386"/>
                  </a:lnTo>
                  <a:lnTo>
                    <a:pt x="108665" y="89571"/>
                  </a:lnTo>
                  <a:lnTo>
                    <a:pt x="94776" y="77250"/>
                  </a:lnTo>
                  <a:lnTo>
                    <a:pt x="68475" y="75016"/>
                  </a:lnTo>
                  <a:lnTo>
                    <a:pt x="40790" y="61947"/>
                  </a:lnTo>
                  <a:lnTo>
                    <a:pt x="20277" y="50388"/>
                  </a:lnTo>
                  <a:lnTo>
                    <a:pt x="0" y="41659"/>
                  </a:lnTo>
                  <a:lnTo>
                    <a:pt x="1257" y="18065"/>
                  </a:lnTo>
                  <a:lnTo>
                    <a:pt x="9969" y="6281"/>
                  </a:lnTo>
                  <a:lnTo>
                    <a:pt x="15988" y="0"/>
                  </a:lnTo>
                  <a:lnTo>
                    <a:pt x="32762" y="7041"/>
                  </a:lnTo>
                  <a:lnTo>
                    <a:pt x="55676" y="22517"/>
                  </a:lnTo>
                  <a:lnTo>
                    <a:pt x="66981" y="25665"/>
                  </a:lnTo>
                  <a:lnTo>
                    <a:pt x="76347" y="37412"/>
                  </a:lnTo>
                  <a:lnTo>
                    <a:pt x="92000" y="41740"/>
                  </a:lnTo>
                  <a:lnTo>
                    <a:pt x="109901" y="52107"/>
                  </a:lnTo>
                  <a:lnTo>
                    <a:pt x="132360" y="56972"/>
                  </a:lnTo>
                  <a:lnTo>
                    <a:pt x="154611" y="58502"/>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56" name="Polygon form 36"/>
            <p:cNvSpPr/>
            <p:nvPr/>
          </p:nvSpPr>
          <p:spPr>
            <a:xfrm>
              <a:off x="4001362" y="2804164"/>
              <a:ext cx="59865" cy="46893"/>
            </a:xfrm>
            <a:custGeom>
              <a:avLst/>
              <a:gdLst/>
              <a:ahLst/>
              <a:cxnLst/>
              <a:rect l="0" t="0" r="0" b="0"/>
              <a:pathLst>
                <a:path w="59865" h="46893">
                  <a:moveTo>
                    <a:pt x="13012" y="3200"/>
                  </a:moveTo>
                  <a:lnTo>
                    <a:pt x="25008" y="5062"/>
                  </a:lnTo>
                  <a:lnTo>
                    <a:pt x="40003" y="0"/>
                  </a:lnTo>
                  <a:lnTo>
                    <a:pt x="50668" y="10520"/>
                  </a:lnTo>
                  <a:lnTo>
                    <a:pt x="59865" y="16117"/>
                  </a:lnTo>
                  <a:lnTo>
                    <a:pt x="58566" y="32426"/>
                  </a:lnTo>
                  <a:lnTo>
                    <a:pt x="54297" y="33354"/>
                  </a:lnTo>
                  <a:lnTo>
                    <a:pt x="52942" y="46893"/>
                  </a:lnTo>
                  <a:lnTo>
                    <a:pt x="38146" y="35948"/>
                  </a:lnTo>
                  <a:lnTo>
                    <a:pt x="29718" y="37854"/>
                  </a:lnTo>
                  <a:lnTo>
                    <a:pt x="17956" y="26512"/>
                  </a:lnTo>
                  <a:lnTo>
                    <a:pt x="10130" y="16848"/>
                  </a:lnTo>
                  <a:lnTo>
                    <a:pt x="2499" y="16466"/>
                  </a:lnTo>
                  <a:lnTo>
                    <a:pt x="0" y="7987"/>
                  </a:lnTo>
                  <a:lnTo>
                    <a:pt x="13012" y="3200"/>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57" name="Polygon form 37"/>
            <p:cNvSpPr/>
            <p:nvPr/>
          </p:nvSpPr>
          <p:spPr>
            <a:xfrm>
              <a:off x="6660509" y="5218836"/>
              <a:ext cx="233459" cy="148617"/>
            </a:xfrm>
            <a:custGeom>
              <a:avLst/>
              <a:gdLst/>
              <a:ahLst/>
              <a:cxnLst/>
              <a:rect l="0" t="0" r="0" b="0"/>
              <a:pathLst>
                <a:path w="233459" h="148617">
                  <a:moveTo>
                    <a:pt x="219665" y="11797"/>
                  </a:moveTo>
                  <a:lnTo>
                    <a:pt x="213326" y="23260"/>
                  </a:lnTo>
                  <a:lnTo>
                    <a:pt x="233459" y="14615"/>
                  </a:lnTo>
                  <a:lnTo>
                    <a:pt x="227724" y="26514"/>
                  </a:lnTo>
                  <a:lnTo>
                    <a:pt x="217655" y="37527"/>
                  </a:lnTo>
                  <a:lnTo>
                    <a:pt x="201024" y="48553"/>
                  </a:lnTo>
                  <a:lnTo>
                    <a:pt x="173587" y="65830"/>
                  </a:lnTo>
                  <a:lnTo>
                    <a:pt x="156339" y="74783"/>
                  </a:lnTo>
                  <a:lnTo>
                    <a:pt x="149776" y="88197"/>
                  </a:lnTo>
                  <a:lnTo>
                    <a:pt x="138403" y="86352"/>
                  </a:lnTo>
                  <a:lnTo>
                    <a:pt x="116828" y="93634"/>
                  </a:lnTo>
                  <a:lnTo>
                    <a:pt x="96769" y="109604"/>
                  </a:lnTo>
                  <a:lnTo>
                    <a:pt x="63335" y="133693"/>
                  </a:lnTo>
                  <a:lnTo>
                    <a:pt x="41023" y="142803"/>
                  </a:lnTo>
                  <a:lnTo>
                    <a:pt x="26815" y="148617"/>
                  </a:lnTo>
                  <a:lnTo>
                    <a:pt x="14477" y="145589"/>
                  </a:lnTo>
                  <a:lnTo>
                    <a:pt x="13626" y="135558"/>
                  </a:lnTo>
                  <a:lnTo>
                    <a:pt x="0" y="130892"/>
                  </a:lnTo>
                  <a:lnTo>
                    <a:pt x="6627" y="121186"/>
                  </a:lnTo>
                  <a:lnTo>
                    <a:pt x="32358" y="103822"/>
                  </a:lnTo>
                  <a:lnTo>
                    <a:pt x="74302" y="82013"/>
                  </a:lnTo>
                  <a:lnTo>
                    <a:pt x="88190" y="78930"/>
                  </a:lnTo>
                  <a:lnTo>
                    <a:pt x="107770" y="71105"/>
                  </a:lnTo>
                  <a:lnTo>
                    <a:pt x="132820" y="59946"/>
                  </a:lnTo>
                  <a:lnTo>
                    <a:pt x="153996" y="48160"/>
                  </a:lnTo>
                  <a:lnTo>
                    <a:pt x="178191" y="29996"/>
                  </a:lnTo>
                  <a:lnTo>
                    <a:pt x="189759" y="24433"/>
                  </a:lnTo>
                  <a:lnTo>
                    <a:pt x="205012" y="10219"/>
                  </a:lnTo>
                  <a:lnTo>
                    <a:pt x="226238" y="0"/>
                  </a:lnTo>
                  <a:lnTo>
                    <a:pt x="219665" y="11797"/>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59" name="Polygon form 38"/>
            <p:cNvSpPr/>
            <p:nvPr/>
          </p:nvSpPr>
          <p:spPr>
            <a:xfrm>
              <a:off x="6894677" y="5056853"/>
              <a:ext cx="143156" cy="200189"/>
            </a:xfrm>
            <a:custGeom>
              <a:avLst/>
              <a:gdLst/>
              <a:ahLst/>
              <a:cxnLst/>
              <a:rect l="0" t="0" r="0" b="0"/>
              <a:pathLst>
                <a:path w="143156" h="200189">
                  <a:moveTo>
                    <a:pt x="116435" y="50839"/>
                  </a:moveTo>
                  <a:lnTo>
                    <a:pt x="105001" y="81352"/>
                  </a:lnTo>
                  <a:lnTo>
                    <a:pt x="120224" y="62916"/>
                  </a:lnTo>
                  <a:lnTo>
                    <a:pt x="121351" y="71556"/>
                  </a:lnTo>
                  <a:lnTo>
                    <a:pt x="106973" y="92426"/>
                  </a:lnTo>
                  <a:lnTo>
                    <a:pt x="112049" y="103467"/>
                  </a:lnTo>
                  <a:lnTo>
                    <a:pt x="120586" y="107536"/>
                  </a:lnTo>
                  <a:lnTo>
                    <a:pt x="138022" y="98874"/>
                  </a:lnTo>
                  <a:lnTo>
                    <a:pt x="143156" y="103446"/>
                  </a:lnTo>
                  <a:lnTo>
                    <a:pt x="118989" y="126642"/>
                  </a:lnTo>
                  <a:lnTo>
                    <a:pt x="100745" y="141384"/>
                  </a:lnTo>
                  <a:lnTo>
                    <a:pt x="89735" y="138638"/>
                  </a:lnTo>
                  <a:lnTo>
                    <a:pt x="78603" y="145977"/>
                  </a:lnTo>
                  <a:lnTo>
                    <a:pt x="69855" y="157682"/>
                  </a:lnTo>
                  <a:lnTo>
                    <a:pt x="63248" y="162194"/>
                  </a:lnTo>
                  <a:lnTo>
                    <a:pt x="44784" y="175358"/>
                  </a:lnTo>
                  <a:lnTo>
                    <a:pt x="20992" y="191956"/>
                  </a:lnTo>
                  <a:lnTo>
                    <a:pt x="0" y="200189"/>
                  </a:lnTo>
                  <a:lnTo>
                    <a:pt x="3813" y="192831"/>
                  </a:lnTo>
                  <a:lnTo>
                    <a:pt x="1122" y="187872"/>
                  </a:lnTo>
                  <a:lnTo>
                    <a:pt x="29221" y="167863"/>
                  </a:lnTo>
                  <a:lnTo>
                    <a:pt x="37220" y="152385"/>
                  </a:lnTo>
                  <a:lnTo>
                    <a:pt x="30203" y="138767"/>
                  </a:lnTo>
                  <a:lnTo>
                    <a:pt x="38880" y="129214"/>
                  </a:lnTo>
                  <a:lnTo>
                    <a:pt x="57807" y="121914"/>
                  </a:lnTo>
                  <a:lnTo>
                    <a:pt x="77695" y="101766"/>
                  </a:lnTo>
                  <a:lnTo>
                    <a:pt x="91281" y="84235"/>
                  </a:lnTo>
                  <a:lnTo>
                    <a:pt x="99523" y="65022"/>
                  </a:lnTo>
                  <a:lnTo>
                    <a:pt x="103733" y="60319"/>
                  </a:lnTo>
                  <a:lnTo>
                    <a:pt x="104983" y="47826"/>
                  </a:lnTo>
                  <a:lnTo>
                    <a:pt x="110888" y="21640"/>
                  </a:lnTo>
                  <a:lnTo>
                    <a:pt x="118531" y="1187"/>
                  </a:lnTo>
                  <a:lnTo>
                    <a:pt x="126106" y="0"/>
                  </a:lnTo>
                  <a:lnTo>
                    <a:pt x="123594" y="16639"/>
                  </a:lnTo>
                  <a:lnTo>
                    <a:pt x="130694" y="25793"/>
                  </a:lnTo>
                  <a:lnTo>
                    <a:pt x="116435" y="50839"/>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67" name="Polygon form 39"/>
            <p:cNvSpPr/>
            <p:nvPr/>
          </p:nvSpPr>
          <p:spPr>
            <a:xfrm>
              <a:off x="4962999" y="3433006"/>
              <a:ext cx="139731" cy="204208"/>
            </a:xfrm>
            <a:custGeom>
              <a:avLst/>
              <a:gdLst/>
              <a:ahLst/>
              <a:cxnLst/>
              <a:rect l="0" t="0" r="0" b="0"/>
              <a:pathLst>
                <a:path w="139731" h="204208">
                  <a:moveTo>
                    <a:pt x="125669" y="92636"/>
                  </a:moveTo>
                  <a:lnTo>
                    <a:pt x="120675" y="109635"/>
                  </a:lnTo>
                  <a:lnTo>
                    <a:pt x="111817" y="108513"/>
                  </a:lnTo>
                  <a:lnTo>
                    <a:pt x="108554" y="114455"/>
                  </a:lnTo>
                  <a:lnTo>
                    <a:pt x="106976" y="126982"/>
                  </a:lnTo>
                  <a:lnTo>
                    <a:pt x="111263" y="143381"/>
                  </a:lnTo>
                  <a:lnTo>
                    <a:pt x="109794" y="146436"/>
                  </a:lnTo>
                  <a:lnTo>
                    <a:pt x="100926" y="146513"/>
                  </a:lnTo>
                  <a:lnTo>
                    <a:pt x="89918" y="155912"/>
                  </a:lnTo>
                  <a:lnTo>
                    <a:pt x="89333" y="167920"/>
                  </a:lnTo>
                  <a:lnTo>
                    <a:pt x="85467" y="173181"/>
                  </a:lnTo>
                  <a:lnTo>
                    <a:pt x="73436" y="173179"/>
                  </a:lnTo>
                  <a:lnTo>
                    <a:pt x="66508" y="179487"/>
                  </a:lnTo>
                  <a:lnTo>
                    <a:pt x="67598" y="189409"/>
                  </a:lnTo>
                  <a:lnTo>
                    <a:pt x="58903" y="196373"/>
                  </a:lnTo>
                  <a:lnTo>
                    <a:pt x="48003" y="194218"/>
                  </a:lnTo>
                  <a:lnTo>
                    <a:pt x="35840" y="202690"/>
                  </a:lnTo>
                  <a:lnTo>
                    <a:pt x="27021" y="204208"/>
                  </a:lnTo>
                  <a:lnTo>
                    <a:pt x="19102" y="187161"/>
                  </a:lnTo>
                  <a:lnTo>
                    <a:pt x="0" y="146932"/>
                  </a:lnTo>
                  <a:lnTo>
                    <a:pt x="55020" y="121428"/>
                  </a:lnTo>
                  <a:lnTo>
                    <a:pt x="61812" y="72087"/>
                  </a:lnTo>
                  <a:lnTo>
                    <a:pt x="50815" y="54877"/>
                  </a:lnTo>
                  <a:lnTo>
                    <a:pt x="50000" y="44987"/>
                  </a:lnTo>
                  <a:lnTo>
                    <a:pt x="54159" y="34715"/>
                  </a:lnTo>
                  <a:lnTo>
                    <a:pt x="52823" y="24685"/>
                  </a:lnTo>
                  <a:lnTo>
                    <a:pt x="60721" y="19666"/>
                  </a:lnTo>
                  <a:lnTo>
                    <a:pt x="56880" y="16327"/>
                  </a:lnTo>
                  <a:lnTo>
                    <a:pt x="56121" y="314"/>
                  </a:lnTo>
                  <a:lnTo>
                    <a:pt x="65755" y="0"/>
                  </a:lnTo>
                  <a:lnTo>
                    <a:pt x="76696" y="16577"/>
                  </a:lnTo>
                  <a:lnTo>
                    <a:pt x="88568" y="25258"/>
                  </a:lnTo>
                  <a:lnTo>
                    <a:pt x="102944" y="28157"/>
                  </a:lnTo>
                  <a:lnTo>
                    <a:pt x="114835" y="32385"/>
                  </a:lnTo>
                  <a:lnTo>
                    <a:pt x="125444" y="46292"/>
                  </a:lnTo>
                  <a:lnTo>
                    <a:pt x="131737" y="54350"/>
                  </a:lnTo>
                  <a:lnTo>
                    <a:pt x="138994" y="57317"/>
                  </a:lnTo>
                  <a:lnTo>
                    <a:pt x="139731" y="62809"/>
                  </a:lnTo>
                  <a:lnTo>
                    <a:pt x="134811" y="77628"/>
                  </a:lnTo>
                  <a:lnTo>
                    <a:pt x="132687" y="84599"/>
                  </a:lnTo>
                  <a:lnTo>
                    <a:pt x="125669" y="92636"/>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76" name="Polygon form 40"/>
            <p:cNvSpPr/>
            <p:nvPr/>
          </p:nvSpPr>
          <p:spPr>
            <a:xfrm>
              <a:off x="5018408" y="3396922"/>
              <a:ext cx="6833" cy="16760"/>
            </a:xfrm>
            <a:custGeom>
              <a:avLst/>
              <a:gdLst/>
              <a:ahLst/>
              <a:cxnLst/>
              <a:rect l="0" t="0" r="0" b="0"/>
              <a:pathLst>
                <a:path w="6833" h="16760">
                  <a:moveTo>
                    <a:pt x="6638" y="12252"/>
                  </a:moveTo>
                  <a:lnTo>
                    <a:pt x="4866" y="16760"/>
                  </a:lnTo>
                  <a:lnTo>
                    <a:pt x="0" y="8482"/>
                  </a:lnTo>
                  <a:lnTo>
                    <a:pt x="4174" y="0"/>
                  </a:lnTo>
                  <a:lnTo>
                    <a:pt x="6833" y="2074"/>
                  </a:lnTo>
                  <a:lnTo>
                    <a:pt x="6638" y="12252"/>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77" name="Polygon form 41"/>
            <p:cNvSpPr/>
            <p:nvPr/>
          </p:nvSpPr>
          <p:spPr>
            <a:xfrm>
              <a:off x="5091967" y="3120838"/>
              <a:ext cx="274402" cy="337014"/>
            </a:xfrm>
            <a:custGeom>
              <a:avLst/>
              <a:gdLst/>
              <a:ahLst/>
              <a:cxnLst/>
              <a:rect l="0" t="0" r="0" b="0"/>
              <a:pathLst>
                <a:path w="274402" h="337014">
                  <a:moveTo>
                    <a:pt x="214377" y="0"/>
                  </a:moveTo>
                  <a:lnTo>
                    <a:pt x="231008" y="10903"/>
                  </a:lnTo>
                  <a:lnTo>
                    <a:pt x="242024" y="29644"/>
                  </a:lnTo>
                  <a:lnTo>
                    <a:pt x="274402" y="38301"/>
                  </a:lnTo>
                  <a:lnTo>
                    <a:pt x="263276" y="59885"/>
                  </a:lnTo>
                  <a:lnTo>
                    <a:pt x="244298" y="64444"/>
                  </a:lnTo>
                  <a:lnTo>
                    <a:pt x="215314" y="59590"/>
                  </a:lnTo>
                  <a:lnTo>
                    <a:pt x="209459" y="70617"/>
                  </a:lnTo>
                  <a:lnTo>
                    <a:pt x="221763" y="92008"/>
                  </a:lnTo>
                  <a:lnTo>
                    <a:pt x="232531" y="108486"/>
                  </a:lnTo>
                  <a:lnTo>
                    <a:pt x="250441" y="120115"/>
                  </a:lnTo>
                  <a:lnTo>
                    <a:pt x="238599" y="135063"/>
                  </a:lnTo>
                  <a:lnTo>
                    <a:pt x="243332" y="152708"/>
                  </a:lnTo>
                  <a:lnTo>
                    <a:pt x="231524" y="178239"/>
                  </a:lnTo>
                  <a:lnTo>
                    <a:pt x="225766" y="203799"/>
                  </a:lnTo>
                  <a:lnTo>
                    <a:pt x="212063" y="230440"/>
                  </a:lnTo>
                  <a:lnTo>
                    <a:pt x="190047" y="229275"/>
                  </a:lnTo>
                  <a:lnTo>
                    <a:pt x="174813" y="255874"/>
                  </a:lnTo>
                  <a:lnTo>
                    <a:pt x="189276" y="266609"/>
                  </a:lnTo>
                  <a:lnTo>
                    <a:pt x="195135" y="285605"/>
                  </a:lnTo>
                  <a:lnTo>
                    <a:pt x="208104" y="297855"/>
                  </a:lnTo>
                  <a:lnTo>
                    <a:pt x="215825" y="319033"/>
                  </a:lnTo>
                  <a:lnTo>
                    <a:pt x="174239" y="320151"/>
                  </a:lnTo>
                  <a:lnTo>
                    <a:pt x="164518" y="337014"/>
                  </a:lnTo>
                  <a:lnTo>
                    <a:pt x="149569" y="331129"/>
                  </a:lnTo>
                  <a:lnTo>
                    <a:pt x="140852" y="313506"/>
                  </a:lnTo>
                  <a:lnTo>
                    <a:pt x="122949" y="295089"/>
                  </a:lnTo>
                  <a:lnTo>
                    <a:pt x="89056" y="300682"/>
                  </a:lnTo>
                  <a:lnTo>
                    <a:pt x="58506" y="301951"/>
                  </a:lnTo>
                  <a:lnTo>
                    <a:pt x="32512" y="306084"/>
                  </a:lnTo>
                  <a:lnTo>
                    <a:pt x="34813" y="277298"/>
                  </a:lnTo>
                  <a:lnTo>
                    <a:pt x="59639" y="263842"/>
                  </a:lnTo>
                  <a:lnTo>
                    <a:pt x="56031" y="252541"/>
                  </a:lnTo>
                  <a:lnTo>
                    <a:pt x="46354" y="248806"/>
                  </a:lnTo>
                  <a:lnTo>
                    <a:pt x="41810" y="227140"/>
                  </a:lnTo>
                  <a:lnTo>
                    <a:pt x="21973" y="216837"/>
                  </a:lnTo>
                  <a:lnTo>
                    <a:pt x="11668" y="202205"/>
                  </a:lnTo>
                  <a:lnTo>
                    <a:pt x="0" y="189548"/>
                  </a:lnTo>
                  <a:lnTo>
                    <a:pt x="33489" y="201182"/>
                  </a:lnTo>
                  <a:lnTo>
                    <a:pt x="51301" y="196936"/>
                  </a:lnTo>
                  <a:lnTo>
                    <a:pt x="63007" y="199736"/>
                  </a:lnTo>
                  <a:lnTo>
                    <a:pt x="65664" y="194222"/>
                  </a:lnTo>
                  <a:lnTo>
                    <a:pt x="79002" y="195983"/>
                  </a:lnTo>
                  <a:lnTo>
                    <a:pt x="100903" y="184968"/>
                  </a:lnTo>
                  <a:lnTo>
                    <a:pt x="97020" y="163972"/>
                  </a:lnTo>
                  <a:lnTo>
                    <a:pt x="104163" y="149677"/>
                  </a:lnTo>
                  <a:lnTo>
                    <a:pt x="117833" y="149247"/>
                  </a:lnTo>
                  <a:lnTo>
                    <a:pt x="118255" y="142279"/>
                  </a:lnTo>
                  <a:lnTo>
                    <a:pt x="131502" y="138568"/>
                  </a:lnTo>
                  <a:lnTo>
                    <a:pt x="138811" y="140623"/>
                  </a:lnTo>
                  <a:lnTo>
                    <a:pt x="144324" y="133426"/>
                  </a:lnTo>
                  <a:lnTo>
                    <a:pt x="139744" y="118648"/>
                  </a:lnTo>
                  <a:lnTo>
                    <a:pt x="143800" y="103473"/>
                  </a:lnTo>
                  <a:lnTo>
                    <a:pt x="153781" y="96790"/>
                  </a:lnTo>
                  <a:lnTo>
                    <a:pt x="142480" y="80752"/>
                  </a:lnTo>
                  <a:lnTo>
                    <a:pt x="159875" y="80846"/>
                  </a:lnTo>
                  <a:lnTo>
                    <a:pt x="162497" y="71767"/>
                  </a:lnTo>
                  <a:lnTo>
                    <a:pt x="159210" y="62322"/>
                  </a:lnTo>
                  <a:lnTo>
                    <a:pt x="165347" y="51597"/>
                  </a:lnTo>
                  <a:lnTo>
                    <a:pt x="159907" y="39421"/>
                  </a:lnTo>
                  <a:lnTo>
                    <a:pt x="152757" y="29155"/>
                  </a:lnTo>
                  <a:lnTo>
                    <a:pt x="160120" y="17981"/>
                  </a:lnTo>
                  <a:lnTo>
                    <a:pt x="177721" y="11974"/>
                  </a:lnTo>
                  <a:lnTo>
                    <a:pt x="197259" y="8203"/>
                  </a:lnTo>
                  <a:lnTo>
                    <a:pt x="204905" y="3240"/>
                  </a:lnTo>
                  <a:lnTo>
                    <a:pt x="214377" y="0"/>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78" name="Polygon form 42"/>
            <p:cNvSpPr/>
            <p:nvPr/>
          </p:nvSpPr>
          <p:spPr>
            <a:xfrm>
              <a:off x="2329824" y="3804446"/>
              <a:ext cx="111931" cy="60338"/>
            </a:xfrm>
            <a:custGeom>
              <a:avLst/>
              <a:gdLst/>
              <a:ahLst/>
              <a:cxnLst/>
              <a:rect l="0" t="0" r="0" b="0"/>
              <a:pathLst>
                <a:path w="111931" h="60338">
                  <a:moveTo>
                    <a:pt x="98277" y="60338"/>
                  </a:moveTo>
                  <a:lnTo>
                    <a:pt x="92157" y="53033"/>
                  </a:lnTo>
                  <a:lnTo>
                    <a:pt x="88808" y="39439"/>
                  </a:lnTo>
                  <a:lnTo>
                    <a:pt x="94110" y="32788"/>
                  </a:lnTo>
                  <a:lnTo>
                    <a:pt x="89251" y="31012"/>
                  </a:lnTo>
                  <a:lnTo>
                    <a:pt x="86168" y="22675"/>
                  </a:lnTo>
                  <a:lnTo>
                    <a:pt x="76901" y="15576"/>
                  </a:lnTo>
                  <a:lnTo>
                    <a:pt x="68196" y="17071"/>
                  </a:lnTo>
                  <a:lnTo>
                    <a:pt x="63581" y="25765"/>
                  </a:lnTo>
                  <a:lnTo>
                    <a:pt x="55204" y="31988"/>
                  </a:lnTo>
                  <a:lnTo>
                    <a:pt x="50858" y="32816"/>
                  </a:lnTo>
                  <a:lnTo>
                    <a:pt x="48573" y="38029"/>
                  </a:lnTo>
                  <a:lnTo>
                    <a:pt x="57051" y="51783"/>
                  </a:lnTo>
                  <a:lnTo>
                    <a:pt x="51484" y="54941"/>
                  </a:lnTo>
                  <a:lnTo>
                    <a:pt x="48413" y="58639"/>
                  </a:lnTo>
                  <a:lnTo>
                    <a:pt x="39187" y="59830"/>
                  </a:lnTo>
                  <a:lnTo>
                    <a:pt x="36740" y="44756"/>
                  </a:lnTo>
                  <a:lnTo>
                    <a:pt x="33902" y="49009"/>
                  </a:lnTo>
                  <a:lnTo>
                    <a:pt x="27517" y="47459"/>
                  </a:lnTo>
                  <a:lnTo>
                    <a:pt x="24236" y="37280"/>
                  </a:lnTo>
                  <a:lnTo>
                    <a:pt x="16297" y="35512"/>
                  </a:lnTo>
                  <a:lnTo>
                    <a:pt x="11410" y="32503"/>
                  </a:lnTo>
                  <a:lnTo>
                    <a:pt x="2980" y="32440"/>
                  </a:lnTo>
                  <a:lnTo>
                    <a:pt x="1986" y="37907"/>
                  </a:lnTo>
                  <a:lnTo>
                    <a:pt x="0" y="34066"/>
                  </a:lnTo>
                  <a:lnTo>
                    <a:pt x="1395" y="29072"/>
                  </a:lnTo>
                  <a:lnTo>
                    <a:pt x="3410" y="23978"/>
                  </a:lnTo>
                  <a:lnTo>
                    <a:pt x="2992" y="19404"/>
                  </a:lnTo>
                  <a:lnTo>
                    <a:pt x="6154" y="16455"/>
                  </a:lnTo>
                  <a:lnTo>
                    <a:pt x="2367" y="12654"/>
                  </a:lnTo>
                  <a:lnTo>
                    <a:pt x="3072" y="2502"/>
                  </a:lnTo>
                  <a:lnTo>
                    <a:pt x="10838" y="354"/>
                  </a:lnTo>
                  <a:lnTo>
                    <a:pt x="17147" y="9490"/>
                  </a:lnTo>
                  <a:lnTo>
                    <a:pt x="16328" y="14823"/>
                  </a:lnTo>
                  <a:lnTo>
                    <a:pt x="24069" y="16057"/>
                  </a:lnTo>
                  <a:lnTo>
                    <a:pt x="26079" y="14032"/>
                  </a:lnTo>
                  <a:lnTo>
                    <a:pt x="31002" y="20289"/>
                  </a:lnTo>
                  <a:lnTo>
                    <a:pt x="40793" y="18590"/>
                  </a:lnTo>
                  <a:lnTo>
                    <a:pt x="49621" y="12341"/>
                  </a:lnTo>
                  <a:lnTo>
                    <a:pt x="61925" y="7423"/>
                  </a:lnTo>
                  <a:lnTo>
                    <a:pt x="69209" y="0"/>
                  </a:lnTo>
                  <a:lnTo>
                    <a:pt x="79916" y="1617"/>
                  </a:lnTo>
                  <a:lnTo>
                    <a:pt x="78991" y="4077"/>
                  </a:lnTo>
                  <a:lnTo>
                    <a:pt x="89858" y="5074"/>
                  </a:lnTo>
                  <a:lnTo>
                    <a:pt x="98254" y="9519"/>
                  </a:lnTo>
                  <a:lnTo>
                    <a:pt x="104100" y="17145"/>
                  </a:lnTo>
                  <a:lnTo>
                    <a:pt x="110988" y="24161"/>
                  </a:lnTo>
                  <a:lnTo>
                    <a:pt x="108351" y="27800"/>
                  </a:lnTo>
                  <a:lnTo>
                    <a:pt x="111931" y="42619"/>
                  </a:lnTo>
                  <a:lnTo>
                    <a:pt x="107758" y="50033"/>
                  </a:lnTo>
                  <a:lnTo>
                    <a:pt x="101535" y="48168"/>
                  </a:lnTo>
                  <a:lnTo>
                    <a:pt x="98277" y="60338"/>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79" name="Polygon form 43"/>
            <p:cNvSpPr/>
            <p:nvPr/>
          </p:nvSpPr>
          <p:spPr>
            <a:xfrm>
              <a:off x="2355518" y="4047539"/>
              <a:ext cx="267677" cy="455313"/>
            </a:xfrm>
            <a:custGeom>
              <a:avLst/>
              <a:gdLst/>
              <a:ahLst/>
              <a:cxnLst/>
              <a:rect l="0" t="0" r="0" b="0"/>
              <a:pathLst>
                <a:path w="267677" h="455313">
                  <a:moveTo>
                    <a:pt x="258798" y="435918"/>
                  </a:moveTo>
                  <a:lnTo>
                    <a:pt x="255289" y="448759"/>
                  </a:lnTo>
                  <a:lnTo>
                    <a:pt x="246233" y="455313"/>
                  </a:lnTo>
                  <a:lnTo>
                    <a:pt x="224991" y="441457"/>
                  </a:lnTo>
                  <a:lnTo>
                    <a:pt x="221973" y="431286"/>
                  </a:lnTo>
                  <a:lnTo>
                    <a:pt x="180447" y="407074"/>
                  </a:lnTo>
                  <a:lnTo>
                    <a:pt x="142335" y="380478"/>
                  </a:lnTo>
                  <a:lnTo>
                    <a:pt x="125534" y="365364"/>
                  </a:lnTo>
                  <a:lnTo>
                    <a:pt x="115131" y="344853"/>
                  </a:lnTo>
                  <a:lnTo>
                    <a:pt x="117540" y="337586"/>
                  </a:lnTo>
                  <a:lnTo>
                    <a:pt x="97633" y="305017"/>
                  </a:lnTo>
                  <a:lnTo>
                    <a:pt x="74118" y="259065"/>
                  </a:lnTo>
                  <a:lnTo>
                    <a:pt x="51744" y="209323"/>
                  </a:lnTo>
                  <a:lnTo>
                    <a:pt x="42939" y="197964"/>
                  </a:lnTo>
                  <a:lnTo>
                    <a:pt x="35591" y="179516"/>
                  </a:lnTo>
                  <a:lnTo>
                    <a:pt x="19366" y="163245"/>
                  </a:lnTo>
                  <a:lnTo>
                    <a:pt x="4798" y="153179"/>
                  </a:lnTo>
                  <a:lnTo>
                    <a:pt x="10607" y="141887"/>
                  </a:lnTo>
                  <a:lnTo>
                    <a:pt x="0" y="117934"/>
                  </a:lnTo>
                  <a:lnTo>
                    <a:pt x="5480" y="100252"/>
                  </a:lnTo>
                  <a:lnTo>
                    <a:pt x="20701" y="84268"/>
                  </a:lnTo>
                  <a:lnTo>
                    <a:pt x="23356" y="94733"/>
                  </a:lnTo>
                  <a:lnTo>
                    <a:pt x="17928" y="100757"/>
                  </a:lnTo>
                  <a:lnTo>
                    <a:pt x="18790" y="109977"/>
                  </a:lnTo>
                  <a:lnTo>
                    <a:pt x="26864" y="107924"/>
                  </a:lnTo>
                  <a:lnTo>
                    <a:pt x="34926" y="110594"/>
                  </a:lnTo>
                  <a:lnTo>
                    <a:pt x="43692" y="123235"/>
                  </a:lnTo>
                  <a:lnTo>
                    <a:pt x="54430" y="112826"/>
                  </a:lnTo>
                  <a:lnTo>
                    <a:pt x="57577" y="95858"/>
                  </a:lnTo>
                  <a:lnTo>
                    <a:pt x="69052" y="73954"/>
                  </a:lnTo>
                  <a:lnTo>
                    <a:pt x="92554" y="63973"/>
                  </a:lnTo>
                  <a:lnTo>
                    <a:pt x="113640" y="37677"/>
                  </a:lnTo>
                  <a:lnTo>
                    <a:pt x="119626" y="21387"/>
                  </a:lnTo>
                  <a:lnTo>
                    <a:pt x="116793" y="2375"/>
                  </a:lnTo>
                  <a:lnTo>
                    <a:pt x="122054" y="0"/>
                  </a:lnTo>
                  <a:lnTo>
                    <a:pt x="135210" y="11847"/>
                  </a:lnTo>
                  <a:lnTo>
                    <a:pt x="141580" y="23647"/>
                  </a:lnTo>
                  <a:lnTo>
                    <a:pt x="150773" y="30076"/>
                  </a:lnTo>
                  <a:lnTo>
                    <a:pt x="162756" y="56250"/>
                  </a:lnTo>
                  <a:lnTo>
                    <a:pt x="177505" y="59335"/>
                  </a:lnTo>
                  <a:lnTo>
                    <a:pt x="188265" y="52705"/>
                  </a:lnTo>
                  <a:lnTo>
                    <a:pt x="195464" y="57001"/>
                  </a:lnTo>
                  <a:lnTo>
                    <a:pt x="207271" y="54825"/>
                  </a:lnTo>
                  <a:lnTo>
                    <a:pt x="222593" y="66449"/>
                  </a:lnTo>
                  <a:lnTo>
                    <a:pt x="210468" y="91854"/>
                  </a:lnTo>
                  <a:lnTo>
                    <a:pt x="216374" y="92419"/>
                  </a:lnTo>
                  <a:lnTo>
                    <a:pt x="226629" y="105613"/>
                  </a:lnTo>
                  <a:lnTo>
                    <a:pt x="208827" y="104534"/>
                  </a:lnTo>
                  <a:lnTo>
                    <a:pt x="206303" y="108295"/>
                  </a:lnTo>
                  <a:lnTo>
                    <a:pt x="190307" y="113181"/>
                  </a:lnTo>
                  <a:lnTo>
                    <a:pt x="168402" y="130304"/>
                  </a:lnTo>
                  <a:lnTo>
                    <a:pt x="167458" y="141968"/>
                  </a:lnTo>
                  <a:lnTo>
                    <a:pt x="162823" y="150694"/>
                  </a:lnTo>
                  <a:lnTo>
                    <a:pt x="165438" y="164184"/>
                  </a:lnTo>
                  <a:lnTo>
                    <a:pt x="153918" y="171496"/>
                  </a:lnTo>
                  <a:lnTo>
                    <a:pt x="154516" y="182050"/>
                  </a:lnTo>
                  <a:lnTo>
                    <a:pt x="149590" y="186668"/>
                  </a:lnTo>
                  <a:lnTo>
                    <a:pt x="159144" y="209087"/>
                  </a:lnTo>
                  <a:lnTo>
                    <a:pt x="171063" y="224160"/>
                  </a:lnTo>
                  <a:lnTo>
                    <a:pt x="167672" y="234927"/>
                  </a:lnTo>
                  <a:lnTo>
                    <a:pt x="180791" y="236220"/>
                  </a:lnTo>
                  <a:lnTo>
                    <a:pt x="189184" y="249436"/>
                  </a:lnTo>
                  <a:lnTo>
                    <a:pt x="206525" y="249868"/>
                  </a:lnTo>
                  <a:lnTo>
                    <a:pt x="221552" y="234999"/>
                  </a:lnTo>
                  <a:lnTo>
                    <a:pt x="223086" y="272837"/>
                  </a:lnTo>
                  <a:lnTo>
                    <a:pt x="232219" y="275578"/>
                  </a:lnTo>
                  <a:lnTo>
                    <a:pt x="242913" y="271149"/>
                  </a:lnTo>
                  <a:lnTo>
                    <a:pt x="263192" y="310931"/>
                  </a:lnTo>
                  <a:lnTo>
                    <a:pt x="259764" y="319402"/>
                  </a:lnTo>
                  <a:lnTo>
                    <a:pt x="260468" y="336883"/>
                  </a:lnTo>
                  <a:lnTo>
                    <a:pt x="262217" y="358031"/>
                  </a:lnTo>
                  <a:lnTo>
                    <a:pt x="255942" y="370572"/>
                  </a:lnTo>
                  <a:lnTo>
                    <a:pt x="260430" y="379722"/>
                  </a:lnTo>
                  <a:lnTo>
                    <a:pt x="256916" y="388154"/>
                  </a:lnTo>
                  <a:lnTo>
                    <a:pt x="267677" y="408875"/>
                  </a:lnTo>
                  <a:lnTo>
                    <a:pt x="258798" y="435918"/>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80" name="Polygon form 44"/>
            <p:cNvSpPr/>
            <p:nvPr/>
          </p:nvSpPr>
          <p:spPr>
            <a:xfrm>
              <a:off x="6280720" y="3553378"/>
              <a:ext cx="100585" cy="156689"/>
            </a:xfrm>
            <a:custGeom>
              <a:avLst/>
              <a:gdLst/>
              <a:ahLst/>
              <a:cxnLst/>
              <a:rect l="0" t="0" r="0" b="0"/>
              <a:pathLst>
                <a:path w="100585" h="156689">
                  <a:moveTo>
                    <a:pt x="14532" y="141"/>
                  </a:moveTo>
                  <a:lnTo>
                    <a:pt x="28142" y="7162"/>
                  </a:lnTo>
                  <a:lnTo>
                    <a:pt x="32334" y="0"/>
                  </a:lnTo>
                  <a:lnTo>
                    <a:pt x="35725" y="6649"/>
                  </a:lnTo>
                  <a:lnTo>
                    <a:pt x="35267" y="17772"/>
                  </a:lnTo>
                  <a:lnTo>
                    <a:pt x="46244" y="36491"/>
                  </a:lnTo>
                  <a:lnTo>
                    <a:pt x="46111" y="58754"/>
                  </a:lnTo>
                  <a:lnTo>
                    <a:pt x="36658" y="68001"/>
                  </a:lnTo>
                  <a:lnTo>
                    <a:pt x="38023" y="89506"/>
                  </a:lnTo>
                  <a:lnTo>
                    <a:pt x="46473" y="110495"/>
                  </a:lnTo>
                  <a:lnTo>
                    <a:pt x="57282" y="113060"/>
                  </a:lnTo>
                  <a:lnTo>
                    <a:pt x="65237" y="109607"/>
                  </a:lnTo>
                  <a:lnTo>
                    <a:pt x="92200" y="123520"/>
                  </a:lnTo>
                  <a:lnTo>
                    <a:pt x="93008" y="138110"/>
                  </a:lnTo>
                  <a:lnTo>
                    <a:pt x="100474" y="144313"/>
                  </a:lnTo>
                  <a:lnTo>
                    <a:pt x="100585" y="156689"/>
                  </a:lnTo>
                  <a:lnTo>
                    <a:pt x="83194" y="144080"/>
                  </a:lnTo>
                  <a:lnTo>
                    <a:pt x="73534" y="130316"/>
                  </a:lnTo>
                  <a:lnTo>
                    <a:pt x="70295" y="140262"/>
                  </a:lnTo>
                  <a:lnTo>
                    <a:pt x="55090" y="124745"/>
                  </a:lnTo>
                  <a:lnTo>
                    <a:pt x="38206" y="129269"/>
                  </a:lnTo>
                  <a:lnTo>
                    <a:pt x="27503" y="123730"/>
                  </a:lnTo>
                  <a:lnTo>
                    <a:pt x="26461" y="112732"/>
                  </a:lnTo>
                  <a:lnTo>
                    <a:pt x="31226" y="105772"/>
                  </a:lnTo>
                  <a:lnTo>
                    <a:pt x="24276" y="99845"/>
                  </a:lnTo>
                  <a:lnTo>
                    <a:pt x="23607" y="109489"/>
                  </a:lnTo>
                  <a:lnTo>
                    <a:pt x="11140" y="94606"/>
                  </a:lnTo>
                  <a:lnTo>
                    <a:pt x="5969" y="83185"/>
                  </a:lnTo>
                  <a:lnTo>
                    <a:pt x="0" y="57893"/>
                  </a:lnTo>
                  <a:lnTo>
                    <a:pt x="9592" y="66293"/>
                  </a:lnTo>
                  <a:lnTo>
                    <a:pt x="2444" y="24844"/>
                  </a:lnTo>
                  <a:lnTo>
                    <a:pt x="2975" y="633"/>
                  </a:lnTo>
                  <a:lnTo>
                    <a:pt x="14532" y="141"/>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81" name="Polygon form 45"/>
            <p:cNvSpPr/>
            <p:nvPr/>
          </p:nvSpPr>
          <p:spPr>
            <a:xfrm>
              <a:off x="6357978" y="3783657"/>
              <a:ext cx="90683" cy="112280"/>
            </a:xfrm>
            <a:custGeom>
              <a:avLst/>
              <a:gdLst/>
              <a:ahLst/>
              <a:cxnLst/>
              <a:rect l="0" t="0" r="0" b="0"/>
              <a:pathLst>
                <a:path w="90683" h="112280">
                  <a:moveTo>
                    <a:pt x="83989" y="35706"/>
                  </a:moveTo>
                  <a:lnTo>
                    <a:pt x="87973" y="53542"/>
                  </a:lnTo>
                  <a:lnTo>
                    <a:pt x="90683" y="68623"/>
                  </a:lnTo>
                  <a:lnTo>
                    <a:pt x="86271" y="93382"/>
                  </a:lnTo>
                  <a:lnTo>
                    <a:pt x="76542" y="66080"/>
                  </a:lnTo>
                  <a:lnTo>
                    <a:pt x="68670" y="79885"/>
                  </a:lnTo>
                  <a:lnTo>
                    <a:pt x="76681" y="99591"/>
                  </a:lnTo>
                  <a:lnTo>
                    <a:pt x="72042" y="112280"/>
                  </a:lnTo>
                  <a:lnTo>
                    <a:pt x="47654" y="97046"/>
                  </a:lnTo>
                  <a:lnTo>
                    <a:pt x="40425" y="77732"/>
                  </a:lnTo>
                  <a:lnTo>
                    <a:pt x="45191" y="64876"/>
                  </a:lnTo>
                  <a:lnTo>
                    <a:pt x="31464" y="52447"/>
                  </a:lnTo>
                  <a:lnTo>
                    <a:pt x="26433" y="63667"/>
                  </a:lnTo>
                  <a:lnTo>
                    <a:pt x="17093" y="62810"/>
                  </a:lnTo>
                  <a:lnTo>
                    <a:pt x="3980" y="77984"/>
                  </a:lnTo>
                  <a:lnTo>
                    <a:pt x="0" y="70225"/>
                  </a:lnTo>
                  <a:lnTo>
                    <a:pt x="5435" y="47571"/>
                  </a:lnTo>
                  <a:lnTo>
                    <a:pt x="16972" y="39801"/>
                  </a:lnTo>
                  <a:lnTo>
                    <a:pt x="26513" y="29494"/>
                  </a:lnTo>
                  <a:lnTo>
                    <a:pt x="34818" y="41462"/>
                  </a:lnTo>
                  <a:lnTo>
                    <a:pt x="48891" y="33803"/>
                  </a:lnTo>
                  <a:lnTo>
                    <a:pt x="50669" y="21765"/>
                  </a:lnTo>
                  <a:lnTo>
                    <a:pt x="64419" y="20730"/>
                  </a:lnTo>
                  <a:lnTo>
                    <a:pt x="60602" y="0"/>
                  </a:lnTo>
                  <a:lnTo>
                    <a:pt x="78118" y="12342"/>
                  </a:lnTo>
                  <a:lnTo>
                    <a:pt x="81444" y="25844"/>
                  </a:lnTo>
                  <a:lnTo>
                    <a:pt x="83989" y="35706"/>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82" name="Polygon form 46"/>
            <p:cNvSpPr/>
            <p:nvPr/>
          </p:nvSpPr>
          <p:spPr>
            <a:xfrm>
              <a:off x="6384888" y="3709372"/>
              <a:ext cx="36028" cy="64555"/>
            </a:xfrm>
            <a:custGeom>
              <a:avLst/>
              <a:gdLst/>
              <a:ahLst/>
              <a:cxnLst/>
              <a:rect l="0" t="0" r="0" b="0"/>
              <a:pathLst>
                <a:path w="36028" h="64555">
                  <a:moveTo>
                    <a:pt x="25797" y="9818"/>
                  </a:moveTo>
                  <a:lnTo>
                    <a:pt x="36028" y="39589"/>
                  </a:lnTo>
                  <a:lnTo>
                    <a:pt x="19904" y="32913"/>
                  </a:lnTo>
                  <a:lnTo>
                    <a:pt x="21676" y="41893"/>
                  </a:lnTo>
                  <a:lnTo>
                    <a:pt x="28857" y="58302"/>
                  </a:lnTo>
                  <a:lnTo>
                    <a:pt x="20406" y="64555"/>
                  </a:lnTo>
                  <a:lnTo>
                    <a:pt x="16908" y="45735"/>
                  </a:lnTo>
                  <a:lnTo>
                    <a:pt x="10831" y="44509"/>
                  </a:lnTo>
                  <a:lnTo>
                    <a:pt x="5323" y="28397"/>
                  </a:lnTo>
                  <a:lnTo>
                    <a:pt x="17118" y="30194"/>
                  </a:lnTo>
                  <a:lnTo>
                    <a:pt x="15262" y="20065"/>
                  </a:lnTo>
                  <a:lnTo>
                    <a:pt x="0" y="14"/>
                  </a:lnTo>
                  <a:lnTo>
                    <a:pt x="18756" y="0"/>
                  </a:lnTo>
                  <a:lnTo>
                    <a:pt x="25797" y="9818"/>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83" name="Polygon form 47"/>
            <p:cNvSpPr/>
            <p:nvPr/>
          </p:nvSpPr>
          <p:spPr>
            <a:xfrm>
              <a:off x="6359462" y="3744920"/>
              <a:ext cx="29294" cy="59644"/>
            </a:xfrm>
            <a:custGeom>
              <a:avLst/>
              <a:gdLst/>
              <a:ahLst/>
              <a:cxnLst/>
              <a:rect l="0" t="0" r="0" b="0"/>
              <a:pathLst>
                <a:path w="29294" h="59644">
                  <a:moveTo>
                    <a:pt x="29294" y="25568"/>
                  </a:moveTo>
                  <a:lnTo>
                    <a:pt x="23472" y="34541"/>
                  </a:lnTo>
                  <a:lnTo>
                    <a:pt x="19529" y="51586"/>
                  </a:lnTo>
                  <a:lnTo>
                    <a:pt x="14353" y="59644"/>
                  </a:lnTo>
                  <a:lnTo>
                    <a:pt x="0" y="41469"/>
                  </a:lnTo>
                  <a:lnTo>
                    <a:pt x="3093" y="34225"/>
                  </a:lnTo>
                  <a:lnTo>
                    <a:pt x="6988" y="26622"/>
                  </a:lnTo>
                  <a:lnTo>
                    <a:pt x="6802" y="9993"/>
                  </a:lnTo>
                  <a:lnTo>
                    <a:pt x="17328" y="8127"/>
                  </a:lnTo>
                  <a:lnTo>
                    <a:pt x="16745" y="26202"/>
                  </a:lnTo>
                  <a:lnTo>
                    <a:pt x="27452" y="0"/>
                  </a:lnTo>
                  <a:lnTo>
                    <a:pt x="29294" y="25568"/>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84" name="Polygon form 48"/>
            <p:cNvSpPr/>
            <p:nvPr/>
          </p:nvSpPr>
          <p:spPr>
            <a:xfrm>
              <a:off x="6261711" y="3743772"/>
              <a:ext cx="42204" cy="80618"/>
            </a:xfrm>
            <a:custGeom>
              <a:avLst/>
              <a:gdLst/>
              <a:ahLst/>
              <a:cxnLst/>
              <a:rect l="0" t="0" r="0" b="0"/>
              <a:pathLst>
                <a:path w="42204" h="80618">
                  <a:moveTo>
                    <a:pt x="23237" y="54939"/>
                  </a:moveTo>
                  <a:lnTo>
                    <a:pt x="0" y="80618"/>
                  </a:lnTo>
                  <a:lnTo>
                    <a:pt x="7563" y="61908"/>
                  </a:lnTo>
                  <a:lnTo>
                    <a:pt x="19748" y="45234"/>
                  </a:lnTo>
                  <a:lnTo>
                    <a:pt x="29125" y="26614"/>
                  </a:lnTo>
                  <a:lnTo>
                    <a:pt x="35655" y="0"/>
                  </a:lnTo>
                  <a:lnTo>
                    <a:pt x="42204" y="21545"/>
                  </a:lnTo>
                  <a:lnTo>
                    <a:pt x="31245" y="36477"/>
                  </a:lnTo>
                  <a:lnTo>
                    <a:pt x="23237" y="54939"/>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85" name="Polygon form 49"/>
            <p:cNvSpPr/>
            <p:nvPr/>
          </p:nvSpPr>
          <p:spPr>
            <a:xfrm>
              <a:off x="6341456" y="3728582"/>
              <a:ext cx="26682" cy="38585"/>
            </a:xfrm>
            <a:custGeom>
              <a:avLst/>
              <a:gdLst/>
              <a:ahLst/>
              <a:cxnLst/>
              <a:rect l="0" t="0" r="0" b="0"/>
              <a:pathLst>
                <a:path w="26682" h="38585">
                  <a:moveTo>
                    <a:pt x="0" y="0"/>
                  </a:moveTo>
                  <a:lnTo>
                    <a:pt x="12973" y="7905"/>
                  </a:lnTo>
                  <a:lnTo>
                    <a:pt x="25362" y="7505"/>
                  </a:lnTo>
                  <a:lnTo>
                    <a:pt x="26682" y="18666"/>
                  </a:lnTo>
                  <a:lnTo>
                    <a:pt x="19308" y="30248"/>
                  </a:lnTo>
                  <a:lnTo>
                    <a:pt x="8037" y="38585"/>
                  </a:lnTo>
                  <a:lnTo>
                    <a:pt x="5599" y="26219"/>
                  </a:lnTo>
                  <a:lnTo>
                    <a:pt x="4973" y="12588"/>
                  </a:lnTo>
                  <a:lnTo>
                    <a:pt x="0" y="0"/>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86" name="Polygon form 50"/>
            <p:cNvSpPr/>
            <p:nvPr/>
          </p:nvSpPr>
          <p:spPr>
            <a:xfrm>
              <a:off x="6304165" y="3687682"/>
              <a:ext cx="25193" cy="32910"/>
            </a:xfrm>
            <a:custGeom>
              <a:avLst/>
              <a:gdLst/>
              <a:ahLst/>
              <a:cxnLst/>
              <a:rect l="0" t="0" r="0" b="0"/>
              <a:pathLst>
                <a:path w="25193" h="32910">
                  <a:moveTo>
                    <a:pt x="25193" y="9777"/>
                  </a:moveTo>
                  <a:lnTo>
                    <a:pt x="23872" y="32910"/>
                  </a:lnTo>
                  <a:lnTo>
                    <a:pt x="13374" y="19906"/>
                  </a:lnTo>
                  <a:lnTo>
                    <a:pt x="0" y="0"/>
                  </a:lnTo>
                  <a:lnTo>
                    <a:pt x="16783" y="428"/>
                  </a:lnTo>
                  <a:lnTo>
                    <a:pt x="25193" y="9777"/>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87" name="Polygon form 51"/>
            <p:cNvSpPr/>
            <p:nvPr/>
          </p:nvSpPr>
          <p:spPr>
            <a:xfrm>
              <a:off x="6726380" y="4118403"/>
              <a:ext cx="185349" cy="229741"/>
            </a:xfrm>
            <a:custGeom>
              <a:avLst/>
              <a:gdLst/>
              <a:ahLst/>
              <a:cxnLst/>
              <a:rect l="0" t="0" r="0" b="0"/>
              <a:pathLst>
                <a:path w="185349" h="229741">
                  <a:moveTo>
                    <a:pt x="126955" y="135955"/>
                  </a:moveTo>
                  <a:lnTo>
                    <a:pt x="142089" y="154898"/>
                  </a:lnTo>
                  <a:lnTo>
                    <a:pt x="150521" y="185178"/>
                  </a:lnTo>
                  <a:lnTo>
                    <a:pt x="161851" y="184599"/>
                  </a:lnTo>
                  <a:lnTo>
                    <a:pt x="159115" y="197079"/>
                  </a:lnTo>
                  <a:lnTo>
                    <a:pt x="173401" y="202393"/>
                  </a:lnTo>
                  <a:lnTo>
                    <a:pt x="166674" y="207518"/>
                  </a:lnTo>
                  <a:lnTo>
                    <a:pt x="185349" y="220164"/>
                  </a:lnTo>
                  <a:lnTo>
                    <a:pt x="181736" y="228260"/>
                  </a:lnTo>
                  <a:lnTo>
                    <a:pt x="168499" y="229741"/>
                  </a:lnTo>
                  <a:lnTo>
                    <a:pt x="165011" y="222242"/>
                  </a:lnTo>
                  <a:lnTo>
                    <a:pt x="148832" y="218461"/>
                  </a:lnTo>
                  <a:lnTo>
                    <a:pt x="129876" y="213522"/>
                  </a:lnTo>
                  <a:lnTo>
                    <a:pt x="117622" y="195079"/>
                  </a:lnTo>
                  <a:lnTo>
                    <a:pt x="108877" y="179292"/>
                  </a:lnTo>
                  <a:lnTo>
                    <a:pt x="102133" y="154447"/>
                  </a:lnTo>
                  <a:lnTo>
                    <a:pt x="78140" y="141523"/>
                  </a:lnTo>
                  <a:lnTo>
                    <a:pt x="60545" y="149063"/>
                  </a:lnTo>
                  <a:lnTo>
                    <a:pt x="47394" y="157952"/>
                  </a:lnTo>
                  <a:lnTo>
                    <a:pt x="47063" y="178572"/>
                  </a:lnTo>
                  <a:lnTo>
                    <a:pt x="30317" y="187679"/>
                  </a:lnTo>
                  <a:lnTo>
                    <a:pt x="20052" y="182705"/>
                  </a:lnTo>
                  <a:lnTo>
                    <a:pt x="0" y="180955"/>
                  </a:lnTo>
                  <a:lnTo>
                    <a:pt x="10261" y="90551"/>
                  </a:lnTo>
                  <a:lnTo>
                    <a:pt x="15911" y="0"/>
                  </a:lnTo>
                  <a:lnTo>
                    <a:pt x="49238" y="19515"/>
                  </a:lnTo>
                  <a:lnTo>
                    <a:pt x="84764" y="35946"/>
                  </a:lnTo>
                  <a:lnTo>
                    <a:pt x="97386" y="50498"/>
                  </a:lnTo>
                  <a:lnTo>
                    <a:pt x="107286" y="64784"/>
                  </a:lnTo>
                  <a:lnTo>
                    <a:pt x="108886" y="81385"/>
                  </a:lnTo>
                  <a:lnTo>
                    <a:pt x="139992" y="99427"/>
                  </a:lnTo>
                  <a:lnTo>
                    <a:pt x="143195" y="114486"/>
                  </a:lnTo>
                  <a:lnTo>
                    <a:pt x="124797" y="117101"/>
                  </a:lnTo>
                  <a:lnTo>
                    <a:pt x="126955" y="135955"/>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88" name="Polygon form 52"/>
            <p:cNvSpPr/>
            <p:nvPr/>
          </p:nvSpPr>
          <p:spPr>
            <a:xfrm>
              <a:off x="6880487" y="4164566"/>
              <a:ext cx="82549" cy="61000"/>
            </a:xfrm>
            <a:custGeom>
              <a:avLst/>
              <a:gdLst/>
              <a:ahLst/>
              <a:cxnLst/>
              <a:rect l="0" t="0" r="0" b="0"/>
              <a:pathLst>
                <a:path w="82549" h="61000">
                  <a:moveTo>
                    <a:pt x="72756" y="37857"/>
                  </a:moveTo>
                  <a:lnTo>
                    <a:pt x="62239" y="39990"/>
                  </a:lnTo>
                  <a:lnTo>
                    <a:pt x="58363" y="47907"/>
                  </a:lnTo>
                  <a:lnTo>
                    <a:pt x="46916" y="54583"/>
                  </a:lnTo>
                  <a:lnTo>
                    <a:pt x="36138" y="61000"/>
                  </a:lnTo>
                  <a:lnTo>
                    <a:pt x="25709" y="60728"/>
                  </a:lnTo>
                  <a:lnTo>
                    <a:pt x="10452" y="52154"/>
                  </a:lnTo>
                  <a:lnTo>
                    <a:pt x="0" y="44040"/>
                  </a:lnTo>
                  <a:lnTo>
                    <a:pt x="2442" y="35333"/>
                  </a:lnTo>
                  <a:lnTo>
                    <a:pt x="19693" y="39804"/>
                  </a:lnTo>
                  <a:lnTo>
                    <a:pt x="30658" y="37800"/>
                  </a:lnTo>
                  <a:lnTo>
                    <a:pt x="34827" y="24260"/>
                  </a:lnTo>
                  <a:lnTo>
                    <a:pt x="37710" y="23608"/>
                  </a:lnTo>
                  <a:lnTo>
                    <a:pt x="38283" y="38710"/>
                  </a:lnTo>
                  <a:lnTo>
                    <a:pt x="49704" y="36763"/>
                  </a:lnTo>
                  <a:lnTo>
                    <a:pt x="56127" y="27141"/>
                  </a:lnTo>
                  <a:lnTo>
                    <a:pt x="67965" y="17187"/>
                  </a:lnTo>
                  <a:lnTo>
                    <a:pt x="67076" y="362"/>
                  </a:lnTo>
                  <a:lnTo>
                    <a:pt x="78912" y="0"/>
                  </a:lnTo>
                  <a:lnTo>
                    <a:pt x="82549" y="4748"/>
                  </a:lnTo>
                  <a:lnTo>
                    <a:pt x="80907" y="20573"/>
                  </a:lnTo>
                  <a:lnTo>
                    <a:pt x="72756" y="37857"/>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89" name="Polygon form 53"/>
            <p:cNvSpPr/>
            <p:nvPr/>
          </p:nvSpPr>
          <p:spPr>
            <a:xfrm>
              <a:off x="6932685" y="4117287"/>
              <a:ext cx="45723" cy="65140"/>
            </a:xfrm>
            <a:custGeom>
              <a:avLst/>
              <a:gdLst/>
              <a:ahLst/>
              <a:cxnLst/>
              <a:rect l="0" t="0" r="0" b="0"/>
              <a:pathLst>
                <a:path w="45723" h="65140">
                  <a:moveTo>
                    <a:pt x="45723" y="57629"/>
                  </a:moveTo>
                  <a:lnTo>
                    <a:pt x="38958" y="65140"/>
                  </a:lnTo>
                  <a:lnTo>
                    <a:pt x="36543" y="48211"/>
                  </a:lnTo>
                  <a:lnTo>
                    <a:pt x="32716" y="37107"/>
                  </a:lnTo>
                  <a:lnTo>
                    <a:pt x="24374" y="27634"/>
                  </a:lnTo>
                  <a:lnTo>
                    <a:pt x="13832" y="15337"/>
                  </a:lnTo>
                  <a:lnTo>
                    <a:pt x="0" y="6819"/>
                  </a:lnTo>
                  <a:lnTo>
                    <a:pt x="5786" y="0"/>
                  </a:lnTo>
                  <a:lnTo>
                    <a:pt x="16079" y="8077"/>
                  </a:lnTo>
                  <a:lnTo>
                    <a:pt x="22475" y="14421"/>
                  </a:lnTo>
                  <a:lnTo>
                    <a:pt x="30390" y="21366"/>
                  </a:lnTo>
                  <a:lnTo>
                    <a:pt x="37564" y="33463"/>
                  </a:lnTo>
                  <a:lnTo>
                    <a:pt x="44448" y="42719"/>
                  </a:lnTo>
                  <a:lnTo>
                    <a:pt x="45723" y="57629"/>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90" name="Polygon form 54"/>
            <p:cNvSpPr/>
            <p:nvPr/>
          </p:nvSpPr>
          <p:spPr>
            <a:xfrm>
              <a:off x="7003915" y="4190994"/>
              <a:ext cx="25453" cy="54355"/>
            </a:xfrm>
            <a:custGeom>
              <a:avLst/>
              <a:gdLst/>
              <a:ahLst/>
              <a:cxnLst/>
              <a:rect l="0" t="0" r="0" b="0"/>
              <a:pathLst>
                <a:path w="25453" h="54355">
                  <a:moveTo>
                    <a:pt x="21755" y="51626"/>
                  </a:moveTo>
                  <a:lnTo>
                    <a:pt x="15914" y="54355"/>
                  </a:lnTo>
                  <a:lnTo>
                    <a:pt x="8726" y="43103"/>
                  </a:lnTo>
                  <a:lnTo>
                    <a:pt x="2118" y="24668"/>
                  </a:lnTo>
                  <a:lnTo>
                    <a:pt x="0" y="2722"/>
                  </a:lnTo>
                  <a:lnTo>
                    <a:pt x="2969" y="0"/>
                  </a:lnTo>
                  <a:lnTo>
                    <a:pt x="4307" y="8584"/>
                  </a:lnTo>
                  <a:lnTo>
                    <a:pt x="9641" y="15221"/>
                  </a:lnTo>
                  <a:lnTo>
                    <a:pt x="17281" y="33652"/>
                  </a:lnTo>
                  <a:lnTo>
                    <a:pt x="25453" y="43642"/>
                  </a:lnTo>
                  <a:lnTo>
                    <a:pt x="21755" y="51626"/>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91" name="Polygon form 55"/>
            <p:cNvSpPr/>
            <p:nvPr/>
          </p:nvSpPr>
          <p:spPr>
            <a:xfrm>
              <a:off x="4185740" y="2720978"/>
              <a:ext cx="168594" cy="139327"/>
            </a:xfrm>
            <a:custGeom>
              <a:avLst/>
              <a:gdLst/>
              <a:ahLst/>
              <a:cxnLst/>
              <a:rect l="0" t="0" r="0" b="0"/>
              <a:pathLst>
                <a:path w="168594" h="139327">
                  <a:moveTo>
                    <a:pt x="20085" y="90876"/>
                  </a:moveTo>
                  <a:lnTo>
                    <a:pt x="12068" y="75541"/>
                  </a:lnTo>
                  <a:lnTo>
                    <a:pt x="12610" y="67208"/>
                  </a:lnTo>
                  <a:lnTo>
                    <a:pt x="7484" y="54344"/>
                  </a:lnTo>
                  <a:lnTo>
                    <a:pt x="896" y="45806"/>
                  </a:lnTo>
                  <a:lnTo>
                    <a:pt x="4813" y="39318"/>
                  </a:lnTo>
                  <a:lnTo>
                    <a:pt x="0" y="27081"/>
                  </a:lnTo>
                  <a:lnTo>
                    <a:pt x="10250" y="19875"/>
                  </a:lnTo>
                  <a:lnTo>
                    <a:pt x="33933" y="8423"/>
                  </a:lnTo>
                  <a:lnTo>
                    <a:pt x="52965" y="0"/>
                  </a:lnTo>
                  <a:lnTo>
                    <a:pt x="69197" y="3857"/>
                  </a:lnTo>
                  <a:lnTo>
                    <a:pt x="71083" y="9725"/>
                  </a:lnTo>
                  <a:lnTo>
                    <a:pt x="86397" y="9805"/>
                  </a:lnTo>
                  <a:lnTo>
                    <a:pt x="106264" y="12243"/>
                  </a:lnTo>
                  <a:lnTo>
                    <a:pt x="135359" y="11395"/>
                  </a:lnTo>
                  <a:lnTo>
                    <a:pt x="143862" y="13833"/>
                  </a:lnTo>
                  <a:lnTo>
                    <a:pt x="148761" y="21200"/>
                  </a:lnTo>
                  <a:lnTo>
                    <a:pt x="151007" y="31864"/>
                  </a:lnTo>
                  <a:lnTo>
                    <a:pt x="156778" y="40965"/>
                  </a:lnTo>
                  <a:lnTo>
                    <a:pt x="158078" y="50589"/>
                  </a:lnTo>
                  <a:lnTo>
                    <a:pt x="149120" y="55686"/>
                  </a:lnTo>
                  <a:lnTo>
                    <a:pt x="155666" y="66784"/>
                  </a:lnTo>
                  <a:lnTo>
                    <a:pt x="157472" y="77525"/>
                  </a:lnTo>
                  <a:lnTo>
                    <a:pt x="168594" y="98460"/>
                  </a:lnTo>
                  <a:lnTo>
                    <a:pt x="167770" y="105264"/>
                  </a:lnTo>
                  <a:lnTo>
                    <a:pt x="160004" y="108214"/>
                  </a:lnTo>
                  <a:lnTo>
                    <a:pt x="147641" y="128545"/>
                  </a:lnTo>
                  <a:lnTo>
                    <a:pt x="153284" y="139327"/>
                  </a:lnTo>
                  <a:lnTo>
                    <a:pt x="149483" y="137976"/>
                  </a:lnTo>
                  <a:lnTo>
                    <a:pt x="132594" y="128944"/>
                  </a:lnTo>
                  <a:lnTo>
                    <a:pt x="121079" y="132537"/>
                  </a:lnTo>
                  <a:lnTo>
                    <a:pt x="112973" y="130174"/>
                  </a:lnTo>
                  <a:lnTo>
                    <a:pt x="103762" y="135488"/>
                  </a:lnTo>
                  <a:lnTo>
                    <a:pt x="94474" y="127048"/>
                  </a:lnTo>
                  <a:lnTo>
                    <a:pt x="88019" y="130418"/>
                  </a:lnTo>
                  <a:lnTo>
                    <a:pt x="86931" y="128973"/>
                  </a:lnTo>
                  <a:lnTo>
                    <a:pt x="78083" y="117189"/>
                  </a:lnTo>
                  <a:lnTo>
                    <a:pt x="65679" y="115889"/>
                  </a:lnTo>
                  <a:lnTo>
                    <a:pt x="63360" y="108352"/>
                  </a:lnTo>
                  <a:lnTo>
                    <a:pt x="51826" y="105793"/>
                  </a:lnTo>
                  <a:lnTo>
                    <a:pt x="49969" y="112056"/>
                  </a:lnTo>
                  <a:lnTo>
                    <a:pt x="40566" y="107169"/>
                  </a:lnTo>
                  <a:lnTo>
                    <a:pt x="40972" y="100517"/>
                  </a:lnTo>
                  <a:lnTo>
                    <a:pt x="28526" y="98559"/>
                  </a:lnTo>
                  <a:lnTo>
                    <a:pt x="20085" y="90876"/>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92" name="Polygon form 56"/>
            <p:cNvSpPr/>
            <p:nvPr/>
          </p:nvSpPr>
          <p:spPr>
            <a:xfrm>
              <a:off x="2661898" y="3586417"/>
              <a:ext cx="31593" cy="14192"/>
            </a:xfrm>
            <a:custGeom>
              <a:avLst/>
              <a:gdLst/>
              <a:ahLst/>
              <a:cxnLst/>
              <a:rect l="0" t="0" r="0" b="0"/>
              <a:pathLst>
                <a:path w="31593" h="14192">
                  <a:moveTo>
                    <a:pt x="19172" y="469"/>
                  </a:moveTo>
                  <a:lnTo>
                    <a:pt x="28739" y="2850"/>
                  </a:lnTo>
                  <a:lnTo>
                    <a:pt x="31593" y="7836"/>
                  </a:lnTo>
                  <a:lnTo>
                    <a:pt x="25877" y="13978"/>
                  </a:lnTo>
                  <a:lnTo>
                    <a:pt x="11377" y="13544"/>
                  </a:lnTo>
                  <a:lnTo>
                    <a:pt x="0" y="14192"/>
                  </a:lnTo>
                  <a:lnTo>
                    <a:pt x="233" y="3565"/>
                  </a:lnTo>
                  <a:lnTo>
                    <a:pt x="3433" y="0"/>
                  </a:lnTo>
                  <a:lnTo>
                    <a:pt x="19172" y="469"/>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93" name="Polygon form 57"/>
            <p:cNvSpPr/>
            <p:nvPr/>
          </p:nvSpPr>
          <p:spPr>
            <a:xfrm>
              <a:off x="6123175" y="2905058"/>
              <a:ext cx="88772" cy="143299"/>
            </a:xfrm>
            <a:custGeom>
              <a:avLst/>
              <a:gdLst/>
              <a:ahLst/>
              <a:cxnLst/>
              <a:rect l="0" t="0" r="0" b="0"/>
              <a:pathLst>
                <a:path w="88772" h="143299">
                  <a:moveTo>
                    <a:pt x="66228" y="13786"/>
                  </a:moveTo>
                  <a:lnTo>
                    <a:pt x="71383" y="17971"/>
                  </a:lnTo>
                  <a:lnTo>
                    <a:pt x="64247" y="17128"/>
                  </a:lnTo>
                  <a:lnTo>
                    <a:pt x="62754" y="26483"/>
                  </a:lnTo>
                  <a:lnTo>
                    <a:pt x="63401" y="35643"/>
                  </a:lnTo>
                  <a:lnTo>
                    <a:pt x="75475" y="53838"/>
                  </a:lnTo>
                  <a:lnTo>
                    <a:pt x="70454" y="60362"/>
                  </a:lnTo>
                  <a:lnTo>
                    <a:pt x="70278" y="65160"/>
                  </a:lnTo>
                  <a:lnTo>
                    <a:pt x="68623" y="73339"/>
                  </a:lnTo>
                  <a:lnTo>
                    <a:pt x="60110" y="78662"/>
                  </a:lnTo>
                  <a:lnTo>
                    <a:pt x="56967" y="86241"/>
                  </a:lnTo>
                  <a:lnTo>
                    <a:pt x="62922" y="97343"/>
                  </a:lnTo>
                  <a:lnTo>
                    <a:pt x="62613" y="100359"/>
                  </a:lnTo>
                  <a:lnTo>
                    <a:pt x="71675" y="103851"/>
                  </a:lnTo>
                  <a:lnTo>
                    <a:pt x="87643" y="114133"/>
                  </a:lnTo>
                  <a:lnTo>
                    <a:pt x="88772" y="120569"/>
                  </a:lnTo>
                  <a:lnTo>
                    <a:pt x="82567" y="122962"/>
                  </a:lnTo>
                  <a:lnTo>
                    <a:pt x="71360" y="125363"/>
                  </a:lnTo>
                  <a:lnTo>
                    <a:pt x="71227" y="137563"/>
                  </a:lnTo>
                  <a:lnTo>
                    <a:pt x="63164" y="137371"/>
                  </a:lnTo>
                  <a:lnTo>
                    <a:pt x="63383" y="139796"/>
                  </a:lnTo>
                  <a:lnTo>
                    <a:pt x="52474" y="135700"/>
                  </a:lnTo>
                  <a:lnTo>
                    <a:pt x="53068" y="140705"/>
                  </a:lnTo>
                  <a:lnTo>
                    <a:pt x="49253" y="143299"/>
                  </a:lnTo>
                  <a:lnTo>
                    <a:pt x="46028" y="138536"/>
                  </a:lnTo>
                  <a:lnTo>
                    <a:pt x="40356" y="136604"/>
                  </a:lnTo>
                  <a:lnTo>
                    <a:pt x="33569" y="132951"/>
                  </a:lnTo>
                  <a:lnTo>
                    <a:pt x="31983" y="121265"/>
                  </a:lnTo>
                  <a:lnTo>
                    <a:pt x="34286" y="117888"/>
                  </a:lnTo>
                  <a:lnTo>
                    <a:pt x="30170" y="113366"/>
                  </a:lnTo>
                  <a:lnTo>
                    <a:pt x="26621" y="99196"/>
                  </a:lnTo>
                  <a:lnTo>
                    <a:pt x="23138" y="95138"/>
                  </a:lnTo>
                  <a:lnTo>
                    <a:pt x="11794" y="93312"/>
                  </a:lnTo>
                  <a:lnTo>
                    <a:pt x="0" y="87255"/>
                  </a:lnTo>
                  <a:lnTo>
                    <a:pt x="4036" y="69629"/>
                  </a:lnTo>
                  <a:lnTo>
                    <a:pt x="14075" y="54155"/>
                  </a:lnTo>
                  <a:lnTo>
                    <a:pt x="14312" y="35016"/>
                  </a:lnTo>
                  <a:lnTo>
                    <a:pt x="27000" y="42149"/>
                  </a:lnTo>
                  <a:lnTo>
                    <a:pt x="41721" y="41589"/>
                  </a:lnTo>
                  <a:lnTo>
                    <a:pt x="30786" y="28485"/>
                  </a:lnTo>
                  <a:lnTo>
                    <a:pt x="48871" y="14880"/>
                  </a:lnTo>
                  <a:lnTo>
                    <a:pt x="46013" y="0"/>
                  </a:lnTo>
                  <a:lnTo>
                    <a:pt x="66228" y="13786"/>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94" name="Polygon form 58"/>
            <p:cNvSpPr/>
            <p:nvPr/>
          </p:nvSpPr>
          <p:spPr>
            <a:xfrm>
              <a:off x="3975402" y="3750917"/>
              <a:ext cx="59279" cy="147012"/>
            </a:xfrm>
            <a:custGeom>
              <a:avLst/>
              <a:gdLst/>
              <a:ahLst/>
              <a:cxnLst/>
              <a:rect l="0" t="0" r="0" b="0"/>
              <a:pathLst>
                <a:path w="59279" h="147012">
                  <a:moveTo>
                    <a:pt x="37865" y="144194"/>
                  </a:moveTo>
                  <a:lnTo>
                    <a:pt x="21593" y="147012"/>
                  </a:lnTo>
                  <a:lnTo>
                    <a:pt x="16724" y="130370"/>
                  </a:lnTo>
                  <a:lnTo>
                    <a:pt x="17546" y="74966"/>
                  </a:lnTo>
                  <a:lnTo>
                    <a:pt x="13583" y="69997"/>
                  </a:lnTo>
                  <a:lnTo>
                    <a:pt x="12821" y="58157"/>
                  </a:lnTo>
                  <a:lnTo>
                    <a:pt x="5997" y="49710"/>
                  </a:lnTo>
                  <a:lnTo>
                    <a:pt x="0" y="42589"/>
                  </a:lnTo>
                  <a:lnTo>
                    <a:pt x="2482" y="29887"/>
                  </a:lnTo>
                  <a:lnTo>
                    <a:pt x="9216" y="27155"/>
                  </a:lnTo>
                  <a:lnTo>
                    <a:pt x="13189" y="16607"/>
                  </a:lnTo>
                  <a:lnTo>
                    <a:pt x="22753" y="14350"/>
                  </a:lnTo>
                  <a:lnTo>
                    <a:pt x="27012" y="7135"/>
                  </a:lnTo>
                  <a:lnTo>
                    <a:pt x="33558" y="66"/>
                  </a:lnTo>
                  <a:lnTo>
                    <a:pt x="40569" y="0"/>
                  </a:lnTo>
                  <a:lnTo>
                    <a:pt x="55543" y="13875"/>
                  </a:lnTo>
                  <a:lnTo>
                    <a:pt x="54814" y="21891"/>
                  </a:lnTo>
                  <a:lnTo>
                    <a:pt x="59279" y="36199"/>
                  </a:lnTo>
                  <a:lnTo>
                    <a:pt x="55455" y="45914"/>
                  </a:lnTo>
                  <a:lnTo>
                    <a:pt x="57546" y="52402"/>
                  </a:lnTo>
                  <a:lnTo>
                    <a:pt x="48078" y="67343"/>
                  </a:lnTo>
                  <a:lnTo>
                    <a:pt x="42051" y="74741"/>
                  </a:lnTo>
                  <a:lnTo>
                    <a:pt x="38386" y="89960"/>
                  </a:lnTo>
                  <a:lnTo>
                    <a:pt x="38918" y="105306"/>
                  </a:lnTo>
                  <a:lnTo>
                    <a:pt x="37865" y="144194"/>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95" name="Polygon form 59"/>
            <p:cNvSpPr/>
            <p:nvPr/>
          </p:nvSpPr>
          <p:spPr>
            <a:xfrm>
              <a:off x="3790275" y="3025751"/>
              <a:ext cx="57752" cy="131354"/>
            </a:xfrm>
            <a:custGeom>
              <a:avLst/>
              <a:gdLst/>
              <a:ahLst/>
              <a:cxnLst/>
              <a:rect l="0" t="0" r="0" b="0"/>
              <a:pathLst>
                <a:path w="57752" h="131354">
                  <a:moveTo>
                    <a:pt x="11778" y="9577"/>
                  </a:moveTo>
                  <a:lnTo>
                    <a:pt x="18376" y="3480"/>
                  </a:lnTo>
                  <a:lnTo>
                    <a:pt x="25643" y="0"/>
                  </a:lnTo>
                  <a:lnTo>
                    <a:pt x="29586" y="11836"/>
                  </a:lnTo>
                  <a:lnTo>
                    <a:pt x="39934" y="11856"/>
                  </a:lnTo>
                  <a:lnTo>
                    <a:pt x="43035" y="8823"/>
                  </a:lnTo>
                  <a:lnTo>
                    <a:pt x="53209" y="9711"/>
                  </a:lnTo>
                  <a:lnTo>
                    <a:pt x="57752" y="21832"/>
                  </a:lnTo>
                  <a:lnTo>
                    <a:pt x="49435" y="28331"/>
                  </a:lnTo>
                  <a:lnTo>
                    <a:pt x="48635" y="47156"/>
                  </a:lnTo>
                  <a:lnTo>
                    <a:pt x="45656" y="50675"/>
                  </a:lnTo>
                  <a:lnTo>
                    <a:pt x="44595" y="62076"/>
                  </a:lnTo>
                  <a:lnTo>
                    <a:pt x="36866" y="64029"/>
                  </a:lnTo>
                  <a:lnTo>
                    <a:pt x="43539" y="78525"/>
                  </a:lnTo>
                  <a:lnTo>
                    <a:pt x="38132" y="94357"/>
                  </a:lnTo>
                  <a:lnTo>
                    <a:pt x="44089" y="101556"/>
                  </a:lnTo>
                  <a:lnTo>
                    <a:pt x="41439" y="108106"/>
                  </a:lnTo>
                  <a:lnTo>
                    <a:pt x="34516" y="117127"/>
                  </a:lnTo>
                  <a:lnTo>
                    <a:pt x="35775" y="125123"/>
                  </a:lnTo>
                  <a:lnTo>
                    <a:pt x="28344" y="131354"/>
                  </a:lnTo>
                  <a:lnTo>
                    <a:pt x="18953" y="127918"/>
                  </a:lnTo>
                  <a:lnTo>
                    <a:pt x="9562" y="130530"/>
                  </a:lnTo>
                  <a:lnTo>
                    <a:pt x="12978" y="111660"/>
                  </a:lnTo>
                  <a:lnTo>
                    <a:pt x="11830" y="96813"/>
                  </a:lnTo>
                  <a:lnTo>
                    <a:pt x="3912" y="94545"/>
                  </a:lnTo>
                  <a:lnTo>
                    <a:pt x="0" y="85377"/>
                  </a:lnTo>
                  <a:lnTo>
                    <a:pt x="2051" y="69587"/>
                  </a:lnTo>
                  <a:lnTo>
                    <a:pt x="9478" y="60866"/>
                  </a:lnTo>
                  <a:lnTo>
                    <a:pt x="11116" y="51118"/>
                  </a:lnTo>
                  <a:lnTo>
                    <a:pt x="15369" y="36627"/>
                  </a:lnTo>
                  <a:lnTo>
                    <a:pt x="15379" y="26401"/>
                  </a:lnTo>
                  <a:lnTo>
                    <a:pt x="12215" y="17716"/>
                  </a:lnTo>
                  <a:lnTo>
                    <a:pt x="11778" y="9577"/>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96" name="Polygon form 60"/>
            <p:cNvSpPr/>
            <p:nvPr/>
          </p:nvSpPr>
          <p:spPr>
            <a:xfrm>
              <a:off x="2762713" y="4523405"/>
              <a:ext cx="167573" cy="200214"/>
            </a:xfrm>
            <a:custGeom>
              <a:avLst/>
              <a:gdLst/>
              <a:ahLst/>
              <a:cxnLst/>
              <a:rect l="0" t="0" r="0" b="0"/>
              <a:pathLst>
                <a:path w="167573" h="200214">
                  <a:moveTo>
                    <a:pt x="0" y="72707"/>
                  </a:moveTo>
                  <a:lnTo>
                    <a:pt x="3320" y="43004"/>
                  </a:lnTo>
                  <a:lnTo>
                    <a:pt x="2000" y="29725"/>
                  </a:lnTo>
                  <a:lnTo>
                    <a:pt x="8369" y="7827"/>
                  </a:lnTo>
                  <a:lnTo>
                    <a:pt x="40969" y="0"/>
                  </a:lnTo>
                  <a:lnTo>
                    <a:pt x="58864" y="11"/>
                  </a:lnTo>
                  <a:lnTo>
                    <a:pt x="78278" y="12264"/>
                  </a:lnTo>
                  <a:lnTo>
                    <a:pt x="79530" y="19842"/>
                  </a:lnTo>
                  <a:lnTo>
                    <a:pt x="86897" y="33408"/>
                  </a:lnTo>
                  <a:lnTo>
                    <a:pt x="89964" y="66813"/>
                  </a:lnTo>
                  <a:lnTo>
                    <a:pt x="110726" y="71114"/>
                  </a:lnTo>
                  <a:lnTo>
                    <a:pt x="117876" y="66144"/>
                  </a:lnTo>
                  <a:lnTo>
                    <a:pt x="131625" y="72529"/>
                  </a:lnTo>
                  <a:lnTo>
                    <a:pt x="136158" y="79788"/>
                  </a:lnTo>
                  <a:lnTo>
                    <a:pt x="140962" y="102241"/>
                  </a:lnTo>
                  <a:lnTo>
                    <a:pt x="144489" y="111638"/>
                  </a:lnTo>
                  <a:lnTo>
                    <a:pt x="151710" y="112575"/>
                  </a:lnTo>
                  <a:lnTo>
                    <a:pt x="158277" y="108458"/>
                  </a:lnTo>
                  <a:lnTo>
                    <a:pt x="165712" y="112763"/>
                  </a:lnTo>
                  <a:lnTo>
                    <a:pt x="167573" y="126242"/>
                  </a:lnTo>
                  <a:lnTo>
                    <a:pt x="167077" y="140794"/>
                  </a:lnTo>
                  <a:lnTo>
                    <a:pt x="165444" y="155021"/>
                  </a:lnTo>
                  <a:lnTo>
                    <a:pt x="165641" y="176722"/>
                  </a:lnTo>
                  <a:lnTo>
                    <a:pt x="151600" y="195907"/>
                  </a:lnTo>
                  <a:lnTo>
                    <a:pt x="137443" y="200214"/>
                  </a:lnTo>
                  <a:lnTo>
                    <a:pt x="115809" y="197002"/>
                  </a:lnTo>
                  <a:lnTo>
                    <a:pt x="95806" y="190804"/>
                  </a:lnTo>
                  <a:lnTo>
                    <a:pt x="108246" y="153015"/>
                  </a:lnTo>
                  <a:lnTo>
                    <a:pt x="103862" y="142241"/>
                  </a:lnTo>
                  <a:lnTo>
                    <a:pt x="82934" y="133096"/>
                  </a:lnTo>
                  <a:lnTo>
                    <a:pt x="57036" y="115476"/>
                  </a:lnTo>
                  <a:lnTo>
                    <a:pt x="40971" y="112100"/>
                  </a:lnTo>
                  <a:lnTo>
                    <a:pt x="0" y="72707"/>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97" name="Polygon form 61"/>
            <p:cNvSpPr/>
            <p:nvPr/>
          </p:nvSpPr>
          <p:spPr>
            <a:xfrm>
              <a:off x="4605762" y="3255622"/>
              <a:ext cx="10760" cy="28689"/>
            </a:xfrm>
            <a:custGeom>
              <a:avLst/>
              <a:gdLst/>
              <a:ahLst/>
              <a:cxnLst/>
              <a:rect l="0" t="0" r="0" b="0"/>
              <a:pathLst>
                <a:path w="10760" h="28689">
                  <a:moveTo>
                    <a:pt x="8965" y="3243"/>
                  </a:moveTo>
                  <a:lnTo>
                    <a:pt x="10760" y="18081"/>
                  </a:lnTo>
                  <a:lnTo>
                    <a:pt x="8885" y="25249"/>
                  </a:lnTo>
                  <a:lnTo>
                    <a:pt x="591" y="28689"/>
                  </a:lnTo>
                  <a:lnTo>
                    <a:pt x="640" y="22286"/>
                  </a:lnTo>
                  <a:lnTo>
                    <a:pt x="4954" y="18867"/>
                  </a:lnTo>
                  <a:lnTo>
                    <a:pt x="0" y="16224"/>
                  </a:lnTo>
                  <a:lnTo>
                    <a:pt x="1907" y="0"/>
                  </a:lnTo>
                  <a:lnTo>
                    <a:pt x="8965" y="3243"/>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98" name="Polygon form 62"/>
            <p:cNvSpPr/>
            <p:nvPr/>
          </p:nvSpPr>
          <p:spPr>
            <a:xfrm>
              <a:off x="4920059" y="3405983"/>
              <a:ext cx="17182" cy="38191"/>
            </a:xfrm>
            <a:custGeom>
              <a:avLst/>
              <a:gdLst/>
              <a:ahLst/>
              <a:cxnLst/>
              <a:rect l="0" t="0" r="0" b="0"/>
              <a:pathLst>
                <a:path w="17182" h="38191">
                  <a:moveTo>
                    <a:pt x="3640" y="33452"/>
                  </a:moveTo>
                  <a:lnTo>
                    <a:pt x="0" y="15678"/>
                  </a:lnTo>
                  <a:lnTo>
                    <a:pt x="3309" y="2741"/>
                  </a:lnTo>
                  <a:lnTo>
                    <a:pt x="8082" y="0"/>
                  </a:lnTo>
                  <a:lnTo>
                    <a:pt x="14862" y="7547"/>
                  </a:lnTo>
                  <a:lnTo>
                    <a:pt x="17182" y="21866"/>
                  </a:lnTo>
                  <a:lnTo>
                    <a:pt x="15021" y="36347"/>
                  </a:lnTo>
                  <a:lnTo>
                    <a:pt x="10004" y="38191"/>
                  </a:lnTo>
                  <a:lnTo>
                    <a:pt x="3640" y="33452"/>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99" name="Polygon form 63"/>
            <p:cNvSpPr/>
            <p:nvPr/>
          </p:nvSpPr>
          <p:spPr>
            <a:xfrm>
              <a:off x="4304120" y="2878669"/>
              <a:ext cx="163616" cy="109838"/>
            </a:xfrm>
            <a:custGeom>
              <a:avLst/>
              <a:gdLst/>
              <a:ahLst/>
              <a:cxnLst/>
              <a:rect l="0" t="0" r="0" b="0"/>
              <a:pathLst>
                <a:path w="163616" h="109838">
                  <a:moveTo>
                    <a:pt x="37235" y="9308"/>
                  </a:moveTo>
                  <a:lnTo>
                    <a:pt x="43823" y="4020"/>
                  </a:lnTo>
                  <a:lnTo>
                    <a:pt x="54515" y="6525"/>
                  </a:lnTo>
                  <a:lnTo>
                    <a:pt x="65257" y="6434"/>
                  </a:lnTo>
                  <a:lnTo>
                    <a:pt x="73815" y="12202"/>
                  </a:lnTo>
                  <a:lnTo>
                    <a:pt x="79038" y="8394"/>
                  </a:lnTo>
                  <a:lnTo>
                    <a:pt x="91074" y="5851"/>
                  </a:lnTo>
                  <a:lnTo>
                    <a:pt x="94482" y="127"/>
                  </a:lnTo>
                  <a:lnTo>
                    <a:pt x="101527" y="0"/>
                  </a:lnTo>
                  <a:lnTo>
                    <a:pt x="106960" y="2259"/>
                  </a:lnTo>
                  <a:lnTo>
                    <a:pt x="113187" y="9324"/>
                  </a:lnTo>
                  <a:lnTo>
                    <a:pt x="120000" y="19411"/>
                  </a:lnTo>
                  <a:lnTo>
                    <a:pt x="131824" y="33594"/>
                  </a:lnTo>
                  <a:lnTo>
                    <a:pt x="133919" y="44192"/>
                  </a:lnTo>
                  <a:lnTo>
                    <a:pt x="133623" y="54547"/>
                  </a:lnTo>
                  <a:lnTo>
                    <a:pt x="138250" y="65519"/>
                  </a:lnTo>
                  <a:lnTo>
                    <a:pt x="146498" y="69828"/>
                  </a:lnTo>
                  <a:lnTo>
                    <a:pt x="153943" y="65782"/>
                  </a:lnTo>
                  <a:lnTo>
                    <a:pt x="162291" y="69779"/>
                  </a:lnTo>
                  <a:lnTo>
                    <a:pt x="163616" y="76007"/>
                  </a:lnTo>
                  <a:lnTo>
                    <a:pt x="156084" y="81373"/>
                  </a:lnTo>
                  <a:lnTo>
                    <a:pt x="150558" y="79209"/>
                  </a:lnTo>
                  <a:lnTo>
                    <a:pt x="149859" y="108471"/>
                  </a:lnTo>
                  <a:lnTo>
                    <a:pt x="139370" y="106119"/>
                  </a:lnTo>
                  <a:lnTo>
                    <a:pt x="125657" y="97556"/>
                  </a:lnTo>
                  <a:lnTo>
                    <a:pt x="106115" y="103530"/>
                  </a:lnTo>
                  <a:lnTo>
                    <a:pt x="98331" y="109838"/>
                  </a:lnTo>
                  <a:lnTo>
                    <a:pt x="72822" y="108976"/>
                  </a:lnTo>
                  <a:lnTo>
                    <a:pt x="59130" y="105412"/>
                  </a:lnTo>
                  <a:lnTo>
                    <a:pt x="52643" y="107281"/>
                  </a:lnTo>
                  <a:lnTo>
                    <a:pt x="46583" y="97422"/>
                  </a:lnTo>
                  <a:lnTo>
                    <a:pt x="42967" y="93258"/>
                  </a:lnTo>
                  <a:lnTo>
                    <a:pt x="46495" y="89121"/>
                  </a:lnTo>
                  <a:lnTo>
                    <a:pt x="41925" y="86176"/>
                  </a:lnTo>
                  <a:lnTo>
                    <a:pt x="37131" y="91669"/>
                  </a:lnTo>
                  <a:lnTo>
                    <a:pt x="26364" y="84795"/>
                  </a:lnTo>
                  <a:lnTo>
                    <a:pt x="23951" y="74857"/>
                  </a:lnTo>
                  <a:lnTo>
                    <a:pt x="12936" y="69323"/>
                  </a:lnTo>
                  <a:lnTo>
                    <a:pt x="10213" y="61665"/>
                  </a:lnTo>
                  <a:lnTo>
                    <a:pt x="0" y="52304"/>
                  </a:lnTo>
                  <a:lnTo>
                    <a:pt x="13126" y="47559"/>
                  </a:lnTo>
                  <a:lnTo>
                    <a:pt x="21534" y="31033"/>
                  </a:lnTo>
                  <a:lnTo>
                    <a:pt x="27601" y="14534"/>
                  </a:lnTo>
                  <a:lnTo>
                    <a:pt x="37235" y="9308"/>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00" name="Polygon form 64"/>
            <p:cNvSpPr/>
            <p:nvPr/>
          </p:nvSpPr>
          <p:spPr>
            <a:xfrm>
              <a:off x="4338051" y="2128317"/>
              <a:ext cx="2066174" cy="912588"/>
            </a:xfrm>
            <a:custGeom>
              <a:avLst/>
              <a:gdLst/>
              <a:ahLst/>
              <a:cxnLst/>
              <a:rect l="0" t="0" r="0" b="0"/>
              <a:pathLst>
                <a:path w="2066174" h="912588">
                  <a:moveTo>
                    <a:pt x="806528" y="13421"/>
                  </a:moveTo>
                  <a:lnTo>
                    <a:pt x="821804" y="23867"/>
                  </a:lnTo>
                  <a:lnTo>
                    <a:pt x="825158" y="17788"/>
                  </a:lnTo>
                  <a:lnTo>
                    <a:pt x="855748" y="15426"/>
                  </a:lnTo>
                  <a:lnTo>
                    <a:pt x="891827" y="23749"/>
                  </a:lnTo>
                  <a:lnTo>
                    <a:pt x="910029" y="30983"/>
                  </a:lnTo>
                  <a:lnTo>
                    <a:pt x="921045" y="42384"/>
                  </a:lnTo>
                  <a:lnTo>
                    <a:pt x="917015" y="49884"/>
                  </a:lnTo>
                  <a:lnTo>
                    <a:pt x="902964" y="64609"/>
                  </a:lnTo>
                  <a:lnTo>
                    <a:pt x="902203" y="71862"/>
                  </a:lnTo>
                  <a:lnTo>
                    <a:pt x="919159" y="73642"/>
                  </a:lnTo>
                  <a:lnTo>
                    <a:pt x="941565" y="77590"/>
                  </a:lnTo>
                  <a:lnTo>
                    <a:pt x="946560" y="72506"/>
                  </a:lnTo>
                  <a:lnTo>
                    <a:pt x="968361" y="85943"/>
                  </a:lnTo>
                  <a:lnTo>
                    <a:pt x="966570" y="79796"/>
                  </a:lnTo>
                  <a:lnTo>
                    <a:pt x="979862" y="74609"/>
                  </a:lnTo>
                  <a:lnTo>
                    <a:pt x="1018769" y="74584"/>
                  </a:lnTo>
                  <a:lnTo>
                    <a:pt x="1033713" y="84398"/>
                  </a:lnTo>
                  <a:lnTo>
                    <a:pt x="1082835" y="82640"/>
                  </a:lnTo>
                  <a:lnTo>
                    <a:pt x="1062691" y="66250"/>
                  </a:lnTo>
                  <a:lnTo>
                    <a:pt x="1089992" y="67453"/>
                  </a:lnTo>
                  <a:lnTo>
                    <a:pt x="1106699" y="65409"/>
                  </a:lnTo>
                  <a:lnTo>
                    <a:pt x="1138525" y="74553"/>
                  </a:lnTo>
                  <a:lnTo>
                    <a:pt x="1161349" y="87534"/>
                  </a:lnTo>
                  <a:lnTo>
                    <a:pt x="1166629" y="97225"/>
                  </a:lnTo>
                  <a:lnTo>
                    <a:pt x="1202004" y="112387"/>
                  </a:lnTo>
                  <a:lnTo>
                    <a:pt x="1230418" y="118924"/>
                  </a:lnTo>
                  <a:lnTo>
                    <a:pt x="1211442" y="95227"/>
                  </a:lnTo>
                  <a:lnTo>
                    <a:pt x="1241418" y="102557"/>
                  </a:lnTo>
                  <a:lnTo>
                    <a:pt x="1251928" y="94498"/>
                  </a:lnTo>
                  <a:lnTo>
                    <a:pt x="1281428" y="98229"/>
                  </a:lnTo>
                  <a:lnTo>
                    <a:pt x="1281030" y="91298"/>
                  </a:lnTo>
                  <a:lnTo>
                    <a:pt x="1302400" y="91874"/>
                  </a:lnTo>
                  <a:lnTo>
                    <a:pt x="1267275" y="73611"/>
                  </a:lnTo>
                  <a:lnTo>
                    <a:pt x="1267897" y="62853"/>
                  </a:lnTo>
                  <a:lnTo>
                    <a:pt x="1379724" y="63065"/>
                  </a:lnTo>
                  <a:lnTo>
                    <a:pt x="1407029" y="73739"/>
                  </a:lnTo>
                  <a:lnTo>
                    <a:pt x="1457726" y="85053"/>
                  </a:lnTo>
                  <a:lnTo>
                    <a:pt x="1492296" y="74662"/>
                  </a:lnTo>
                  <a:lnTo>
                    <a:pt x="1517449" y="74629"/>
                  </a:lnTo>
                  <a:lnTo>
                    <a:pt x="1539238" y="81432"/>
                  </a:lnTo>
                  <a:lnTo>
                    <a:pt x="1561845" y="96261"/>
                  </a:lnTo>
                  <a:lnTo>
                    <a:pt x="1583504" y="99794"/>
                  </a:lnTo>
                  <a:lnTo>
                    <a:pt x="1590218" y="93300"/>
                  </a:lnTo>
                  <a:lnTo>
                    <a:pt x="1606969" y="89589"/>
                  </a:lnTo>
                  <a:lnTo>
                    <a:pt x="1632122" y="90028"/>
                  </a:lnTo>
                  <a:lnTo>
                    <a:pt x="1646955" y="84353"/>
                  </a:lnTo>
                  <a:lnTo>
                    <a:pt x="1693944" y="98519"/>
                  </a:lnTo>
                  <a:lnTo>
                    <a:pt x="1695175" y="89855"/>
                  </a:lnTo>
                  <a:lnTo>
                    <a:pt x="1665607" y="78945"/>
                  </a:lnTo>
                  <a:lnTo>
                    <a:pt x="1654690" y="69532"/>
                  </a:lnTo>
                  <a:lnTo>
                    <a:pt x="1694577" y="68935"/>
                  </a:lnTo>
                  <a:lnTo>
                    <a:pt x="1711989" y="63845"/>
                  </a:lnTo>
                  <a:lnTo>
                    <a:pt x="1755446" y="67274"/>
                  </a:lnTo>
                  <a:lnTo>
                    <a:pt x="1783793" y="72704"/>
                  </a:lnTo>
                  <a:lnTo>
                    <a:pt x="1922702" y="150281"/>
                  </a:lnTo>
                  <a:lnTo>
                    <a:pt x="1922816" y="150406"/>
                  </a:lnTo>
                  <a:lnTo>
                    <a:pt x="1925089" y="162255"/>
                  </a:lnTo>
                  <a:lnTo>
                    <a:pt x="1909627" y="163762"/>
                  </a:lnTo>
                  <a:lnTo>
                    <a:pt x="1936695" y="172527"/>
                  </a:lnTo>
                  <a:lnTo>
                    <a:pt x="1970517" y="188049"/>
                  </a:lnTo>
                  <a:lnTo>
                    <a:pt x="1984293" y="192502"/>
                  </a:lnTo>
                  <a:lnTo>
                    <a:pt x="1999380" y="200808"/>
                  </a:lnTo>
                  <a:lnTo>
                    <a:pt x="2005588" y="206971"/>
                  </a:lnTo>
                  <a:lnTo>
                    <a:pt x="1979014" y="206975"/>
                  </a:lnTo>
                  <a:lnTo>
                    <a:pt x="1974210" y="229675"/>
                  </a:lnTo>
                  <a:lnTo>
                    <a:pt x="1968433" y="234317"/>
                  </a:lnTo>
                  <a:lnTo>
                    <a:pt x="1974247" y="253157"/>
                  </a:lnTo>
                  <a:lnTo>
                    <a:pt x="1977474" y="270055"/>
                  </a:lnTo>
                  <a:lnTo>
                    <a:pt x="1987478" y="280933"/>
                  </a:lnTo>
                  <a:lnTo>
                    <a:pt x="1949942" y="269185"/>
                  </a:lnTo>
                  <a:lnTo>
                    <a:pt x="1944303" y="292723"/>
                  </a:lnTo>
                  <a:lnTo>
                    <a:pt x="1927847" y="285555"/>
                  </a:lnTo>
                  <a:lnTo>
                    <a:pt x="1929613" y="297344"/>
                  </a:lnTo>
                  <a:lnTo>
                    <a:pt x="1909973" y="297412"/>
                  </a:lnTo>
                  <a:lnTo>
                    <a:pt x="1925628" y="312898"/>
                  </a:lnTo>
                  <a:lnTo>
                    <a:pt x="1939483" y="337603"/>
                  </a:lnTo>
                  <a:lnTo>
                    <a:pt x="1951518" y="346731"/>
                  </a:lnTo>
                  <a:lnTo>
                    <a:pt x="1971740" y="349136"/>
                  </a:lnTo>
                  <a:lnTo>
                    <a:pt x="2011544" y="382965"/>
                  </a:lnTo>
                  <a:lnTo>
                    <a:pt x="2001057" y="386079"/>
                  </a:lnTo>
                  <a:lnTo>
                    <a:pt x="2018912" y="406615"/>
                  </a:lnTo>
                  <a:lnTo>
                    <a:pt x="2036020" y="415692"/>
                  </a:lnTo>
                  <a:lnTo>
                    <a:pt x="2027545" y="431989"/>
                  </a:lnTo>
                  <a:lnTo>
                    <a:pt x="2053444" y="459946"/>
                  </a:lnTo>
                  <a:lnTo>
                    <a:pt x="2040177" y="469390"/>
                  </a:lnTo>
                  <a:lnTo>
                    <a:pt x="2062315" y="494535"/>
                  </a:lnTo>
                  <a:lnTo>
                    <a:pt x="2066174" y="520579"/>
                  </a:lnTo>
                  <a:lnTo>
                    <a:pt x="2043962" y="504746"/>
                  </a:lnTo>
                  <a:lnTo>
                    <a:pt x="2001298" y="470643"/>
                  </a:lnTo>
                  <a:lnTo>
                    <a:pt x="1936277" y="419213"/>
                  </a:lnTo>
                  <a:lnTo>
                    <a:pt x="1905390" y="385686"/>
                  </a:lnTo>
                  <a:lnTo>
                    <a:pt x="1899727" y="369936"/>
                  </a:lnTo>
                  <a:lnTo>
                    <a:pt x="1887512" y="359048"/>
                  </a:lnTo>
                  <a:lnTo>
                    <a:pt x="1900428" y="350370"/>
                  </a:lnTo>
                  <a:lnTo>
                    <a:pt x="1886237" y="317653"/>
                  </a:lnTo>
                  <a:lnTo>
                    <a:pt x="1876497" y="290671"/>
                  </a:lnTo>
                  <a:lnTo>
                    <a:pt x="1873373" y="268912"/>
                  </a:lnTo>
                  <a:lnTo>
                    <a:pt x="1839379" y="236339"/>
                  </a:lnTo>
                  <a:lnTo>
                    <a:pt x="1828433" y="240859"/>
                  </a:lnTo>
                  <a:lnTo>
                    <a:pt x="1846708" y="260171"/>
                  </a:lnTo>
                  <a:lnTo>
                    <a:pt x="1850143" y="290137"/>
                  </a:lnTo>
                  <a:lnTo>
                    <a:pt x="1804409" y="264679"/>
                  </a:lnTo>
                  <a:lnTo>
                    <a:pt x="1784420" y="277774"/>
                  </a:lnTo>
                  <a:lnTo>
                    <a:pt x="1802297" y="320811"/>
                  </a:lnTo>
                  <a:lnTo>
                    <a:pt x="1829416" y="332947"/>
                  </a:lnTo>
                  <a:lnTo>
                    <a:pt x="1809191" y="343779"/>
                  </a:lnTo>
                  <a:lnTo>
                    <a:pt x="1792804" y="349469"/>
                  </a:lnTo>
                  <a:lnTo>
                    <a:pt x="1774118" y="332764"/>
                  </a:lnTo>
                  <a:lnTo>
                    <a:pt x="1750843" y="332572"/>
                  </a:lnTo>
                  <a:lnTo>
                    <a:pt x="1748610" y="346405"/>
                  </a:lnTo>
                  <a:lnTo>
                    <a:pt x="1705738" y="348732"/>
                  </a:lnTo>
                  <a:lnTo>
                    <a:pt x="1671614" y="362150"/>
                  </a:lnTo>
                  <a:lnTo>
                    <a:pt x="1677415" y="414093"/>
                  </a:lnTo>
                  <a:lnTo>
                    <a:pt x="1679800" y="477522"/>
                  </a:lnTo>
                  <a:lnTo>
                    <a:pt x="1704437" y="477489"/>
                  </a:lnTo>
                  <a:lnTo>
                    <a:pt x="1725292" y="491541"/>
                  </a:lnTo>
                  <a:lnTo>
                    <a:pt x="1743799" y="494964"/>
                  </a:lnTo>
                  <a:lnTo>
                    <a:pt x="1741404" y="481699"/>
                  </a:lnTo>
                  <a:lnTo>
                    <a:pt x="1758029" y="481054"/>
                  </a:lnTo>
                  <a:lnTo>
                    <a:pt x="1803164" y="504559"/>
                  </a:lnTo>
                  <a:lnTo>
                    <a:pt x="1822840" y="525057"/>
                  </a:lnTo>
                  <a:lnTo>
                    <a:pt x="1833830" y="550954"/>
                  </a:lnTo>
                  <a:lnTo>
                    <a:pt x="1858395" y="580343"/>
                  </a:lnTo>
                  <a:lnTo>
                    <a:pt x="1885289" y="620686"/>
                  </a:lnTo>
                  <a:lnTo>
                    <a:pt x="1891862" y="659692"/>
                  </a:lnTo>
                  <a:lnTo>
                    <a:pt x="1900295" y="677637"/>
                  </a:lnTo>
                  <a:lnTo>
                    <a:pt x="1901548" y="709514"/>
                  </a:lnTo>
                  <a:lnTo>
                    <a:pt x="1901639" y="741200"/>
                  </a:lnTo>
                  <a:lnTo>
                    <a:pt x="1901942" y="757358"/>
                  </a:lnTo>
                  <a:lnTo>
                    <a:pt x="1890911" y="774706"/>
                  </a:lnTo>
                  <a:lnTo>
                    <a:pt x="1881033" y="776198"/>
                  </a:lnTo>
                  <a:lnTo>
                    <a:pt x="1862662" y="765052"/>
                  </a:lnTo>
                  <a:lnTo>
                    <a:pt x="1853507" y="786002"/>
                  </a:lnTo>
                  <a:lnTo>
                    <a:pt x="1856507" y="794713"/>
                  </a:lnTo>
                  <a:lnTo>
                    <a:pt x="1851352" y="790528"/>
                  </a:lnTo>
                  <a:lnTo>
                    <a:pt x="1842795" y="777680"/>
                  </a:lnTo>
                  <a:lnTo>
                    <a:pt x="1850546" y="776079"/>
                  </a:lnTo>
                  <a:lnTo>
                    <a:pt x="1832652" y="745999"/>
                  </a:lnTo>
                  <a:lnTo>
                    <a:pt x="1813522" y="724953"/>
                  </a:lnTo>
                  <a:lnTo>
                    <a:pt x="1820706" y="714515"/>
                  </a:lnTo>
                  <a:lnTo>
                    <a:pt x="1842870" y="716696"/>
                  </a:lnTo>
                  <a:lnTo>
                    <a:pt x="1835526" y="691060"/>
                  </a:lnTo>
                  <a:lnTo>
                    <a:pt x="1820197" y="663083"/>
                  </a:lnTo>
                  <a:lnTo>
                    <a:pt x="1819099" y="653240"/>
                  </a:lnTo>
                  <a:lnTo>
                    <a:pt x="1809496" y="629919"/>
                  </a:lnTo>
                  <a:lnTo>
                    <a:pt x="1790363" y="640390"/>
                  </a:lnTo>
                  <a:lnTo>
                    <a:pt x="1784779" y="651809"/>
                  </a:lnTo>
                  <a:lnTo>
                    <a:pt x="1761622" y="654620"/>
                  </a:lnTo>
                  <a:lnTo>
                    <a:pt x="1737733" y="632121"/>
                  </a:lnTo>
                  <a:lnTo>
                    <a:pt x="1706342" y="616776"/>
                  </a:lnTo>
                  <a:lnTo>
                    <a:pt x="1674142" y="612073"/>
                  </a:lnTo>
                  <a:lnTo>
                    <a:pt x="1649924" y="588721"/>
                  </a:lnTo>
                  <a:lnTo>
                    <a:pt x="1632898" y="574342"/>
                  </a:lnTo>
                  <a:lnTo>
                    <a:pt x="1619004" y="564521"/>
                  </a:lnTo>
                  <a:lnTo>
                    <a:pt x="1590152" y="541114"/>
                  </a:lnTo>
                  <a:lnTo>
                    <a:pt x="1570130" y="533738"/>
                  </a:lnTo>
                  <a:lnTo>
                    <a:pt x="1542593" y="529132"/>
                  </a:lnTo>
                  <a:lnTo>
                    <a:pt x="1523903" y="532051"/>
                  </a:lnTo>
                  <a:lnTo>
                    <a:pt x="1509289" y="538508"/>
                  </a:lnTo>
                  <a:lnTo>
                    <a:pt x="1506610" y="551942"/>
                  </a:lnTo>
                  <a:lnTo>
                    <a:pt x="1519141" y="556796"/>
                  </a:lnTo>
                  <a:lnTo>
                    <a:pt x="1529629" y="570196"/>
                  </a:lnTo>
                  <a:lnTo>
                    <a:pt x="1527282" y="578930"/>
                  </a:lnTo>
                  <a:lnTo>
                    <a:pt x="1532911" y="606324"/>
                  </a:lnTo>
                  <a:lnTo>
                    <a:pt x="1540844" y="617086"/>
                  </a:lnTo>
                  <a:lnTo>
                    <a:pt x="1530354" y="634889"/>
                  </a:lnTo>
                  <a:lnTo>
                    <a:pt x="1505519" y="627553"/>
                  </a:lnTo>
                  <a:lnTo>
                    <a:pt x="1488673" y="631491"/>
                  </a:lnTo>
                  <a:lnTo>
                    <a:pt x="1475001" y="624102"/>
                  </a:lnTo>
                  <a:lnTo>
                    <a:pt x="1464013" y="622393"/>
                  </a:lnTo>
                  <a:lnTo>
                    <a:pt x="1453213" y="641930"/>
                  </a:lnTo>
                  <a:lnTo>
                    <a:pt x="1435540" y="647994"/>
                  </a:lnTo>
                  <a:lnTo>
                    <a:pt x="1425225" y="655456"/>
                  </a:lnTo>
                  <a:lnTo>
                    <a:pt x="1403067" y="653323"/>
                  </a:lnTo>
                  <a:lnTo>
                    <a:pt x="1388795" y="654934"/>
                  </a:lnTo>
                  <a:lnTo>
                    <a:pt x="1371401" y="643282"/>
                  </a:lnTo>
                  <a:lnTo>
                    <a:pt x="1348739" y="632929"/>
                  </a:lnTo>
                  <a:lnTo>
                    <a:pt x="1331205" y="631135"/>
                  </a:lnTo>
                  <a:lnTo>
                    <a:pt x="1313636" y="636107"/>
                  </a:lnTo>
                  <a:lnTo>
                    <a:pt x="1301770" y="641950"/>
                  </a:lnTo>
                  <a:lnTo>
                    <a:pt x="1273404" y="633613"/>
                  </a:lnTo>
                  <a:lnTo>
                    <a:pt x="1259186" y="615589"/>
                  </a:lnTo>
                  <a:lnTo>
                    <a:pt x="1237219" y="610913"/>
                  </a:lnTo>
                  <a:lnTo>
                    <a:pt x="1221507" y="609268"/>
                  </a:lnTo>
                  <a:lnTo>
                    <a:pt x="1198147" y="600685"/>
                  </a:lnTo>
                  <a:lnTo>
                    <a:pt x="1197331" y="627260"/>
                  </a:lnTo>
                  <a:lnTo>
                    <a:pt x="1212078" y="641095"/>
                  </a:lnTo>
                  <a:lnTo>
                    <a:pt x="1206645" y="659354"/>
                  </a:lnTo>
                  <a:lnTo>
                    <a:pt x="1180432" y="655036"/>
                  </a:lnTo>
                  <a:lnTo>
                    <a:pt x="1164242" y="655399"/>
                  </a:lnTo>
                  <a:lnTo>
                    <a:pt x="1147388" y="644822"/>
                  </a:lnTo>
                  <a:lnTo>
                    <a:pt x="1130826" y="645735"/>
                  </a:lnTo>
                  <a:lnTo>
                    <a:pt x="1113071" y="639303"/>
                  </a:lnTo>
                  <a:lnTo>
                    <a:pt x="1095401" y="652575"/>
                  </a:lnTo>
                  <a:lnTo>
                    <a:pt x="1076171" y="675803"/>
                  </a:lnTo>
                  <a:lnTo>
                    <a:pt x="1061507" y="681230"/>
                  </a:lnTo>
                  <a:lnTo>
                    <a:pt x="1056262" y="683677"/>
                  </a:lnTo>
                  <a:lnTo>
                    <a:pt x="1040309" y="669340"/>
                  </a:lnTo>
                  <a:lnTo>
                    <a:pt x="1021430" y="674026"/>
                  </a:lnTo>
                  <a:lnTo>
                    <a:pt x="1009525" y="664143"/>
                  </a:lnTo>
                  <a:lnTo>
                    <a:pt x="996079" y="660172"/>
                  </a:lnTo>
                  <a:lnTo>
                    <a:pt x="981470" y="646623"/>
                  </a:lnTo>
                  <a:lnTo>
                    <a:pt x="970579" y="642838"/>
                  </a:lnTo>
                  <a:lnTo>
                    <a:pt x="950955" y="650609"/>
                  </a:lnTo>
                  <a:lnTo>
                    <a:pt x="922410" y="638030"/>
                  </a:lnTo>
                  <a:lnTo>
                    <a:pt x="920087" y="651303"/>
                  </a:lnTo>
                  <a:lnTo>
                    <a:pt x="855381" y="591928"/>
                  </a:lnTo>
                  <a:lnTo>
                    <a:pt x="826544" y="574490"/>
                  </a:lnTo>
                  <a:lnTo>
                    <a:pt x="828424" y="566553"/>
                  </a:lnTo>
                  <a:lnTo>
                    <a:pt x="800798" y="591791"/>
                  </a:lnTo>
                  <a:lnTo>
                    <a:pt x="786555" y="594071"/>
                  </a:lnTo>
                  <a:lnTo>
                    <a:pt x="781699" y="580789"/>
                  </a:lnTo>
                  <a:lnTo>
                    <a:pt x="758049" y="573731"/>
                  </a:lnTo>
                  <a:lnTo>
                    <a:pt x="744636" y="580563"/>
                  </a:lnTo>
                  <a:lnTo>
                    <a:pt x="728319" y="555804"/>
                  </a:lnTo>
                  <a:lnTo>
                    <a:pt x="698461" y="552190"/>
                  </a:lnTo>
                  <a:lnTo>
                    <a:pt x="689167" y="562985"/>
                  </a:lnTo>
                  <a:lnTo>
                    <a:pt x="654461" y="574011"/>
                  </a:lnTo>
                  <a:lnTo>
                    <a:pt x="649404" y="580381"/>
                  </a:lnTo>
                  <a:lnTo>
                    <a:pt x="594593" y="591761"/>
                  </a:lnTo>
                  <a:lnTo>
                    <a:pt x="590605" y="600362"/>
                  </a:lnTo>
                  <a:lnTo>
                    <a:pt x="608267" y="616380"/>
                  </a:lnTo>
                  <a:lnTo>
                    <a:pt x="595483" y="623405"/>
                  </a:lnTo>
                  <a:lnTo>
                    <a:pt x="600899" y="629858"/>
                  </a:lnTo>
                  <a:lnTo>
                    <a:pt x="589963" y="642374"/>
                  </a:lnTo>
                  <a:lnTo>
                    <a:pt x="621896" y="657815"/>
                  </a:lnTo>
                  <a:lnTo>
                    <a:pt x="622027" y="669487"/>
                  </a:lnTo>
                  <a:lnTo>
                    <a:pt x="599047" y="669494"/>
                  </a:lnTo>
                  <a:lnTo>
                    <a:pt x="596872" y="676903"/>
                  </a:lnTo>
                  <a:lnTo>
                    <a:pt x="571927" y="665274"/>
                  </a:lnTo>
                  <a:lnTo>
                    <a:pt x="546579" y="666886"/>
                  </a:lnTo>
                  <a:lnTo>
                    <a:pt x="532815" y="677840"/>
                  </a:lnTo>
                  <a:lnTo>
                    <a:pt x="510537" y="668842"/>
                  </a:lnTo>
                  <a:lnTo>
                    <a:pt x="469786" y="653526"/>
                  </a:lnTo>
                  <a:lnTo>
                    <a:pt x="444902" y="655141"/>
                  </a:lnTo>
                  <a:lnTo>
                    <a:pt x="419252" y="682720"/>
                  </a:lnTo>
                  <a:lnTo>
                    <a:pt x="422161" y="700477"/>
                  </a:lnTo>
                  <a:lnTo>
                    <a:pt x="401527" y="687037"/>
                  </a:lnTo>
                  <a:lnTo>
                    <a:pt x="395620" y="714093"/>
                  </a:lnTo>
                  <a:lnTo>
                    <a:pt x="401719" y="718867"/>
                  </a:lnTo>
                  <a:lnTo>
                    <a:pt x="396938" y="737550"/>
                  </a:lnTo>
                  <a:lnTo>
                    <a:pt x="415222" y="753511"/>
                  </a:lnTo>
                  <a:lnTo>
                    <a:pt x="427399" y="752412"/>
                  </a:lnTo>
                  <a:lnTo>
                    <a:pt x="442226" y="768246"/>
                  </a:lnTo>
                  <a:lnTo>
                    <a:pt x="443725" y="780786"/>
                  </a:lnTo>
                  <a:lnTo>
                    <a:pt x="453260" y="784416"/>
                  </a:lnTo>
                  <a:lnTo>
                    <a:pt x="449219" y="799068"/>
                  </a:lnTo>
                  <a:lnTo>
                    <a:pt x="433816" y="803614"/>
                  </a:lnTo>
                  <a:lnTo>
                    <a:pt x="422890" y="829208"/>
                  </a:lnTo>
                  <a:lnTo>
                    <a:pt x="443775" y="851755"/>
                  </a:lnTo>
                  <a:lnTo>
                    <a:pt x="445819" y="868167"/>
                  </a:lnTo>
                  <a:lnTo>
                    <a:pt x="471167" y="896194"/>
                  </a:lnTo>
                  <a:lnTo>
                    <a:pt x="462945" y="906313"/>
                  </a:lnTo>
                  <a:lnTo>
                    <a:pt x="461297" y="912588"/>
                  </a:lnTo>
                  <a:lnTo>
                    <a:pt x="453217" y="911161"/>
                  </a:lnTo>
                  <a:lnTo>
                    <a:pt x="438069" y="896760"/>
                  </a:lnTo>
                  <a:lnTo>
                    <a:pt x="433006" y="896091"/>
                  </a:lnTo>
                  <a:lnTo>
                    <a:pt x="420884" y="890785"/>
                  </a:lnTo>
                  <a:lnTo>
                    <a:pt x="413453" y="880977"/>
                  </a:lnTo>
                  <a:lnTo>
                    <a:pt x="396235" y="876371"/>
                  </a:lnTo>
                  <a:lnTo>
                    <a:pt x="386533" y="880484"/>
                  </a:lnTo>
                  <a:lnTo>
                    <a:pt x="382568" y="876059"/>
                  </a:lnTo>
                  <a:lnTo>
                    <a:pt x="356666" y="865089"/>
                  </a:lnTo>
                  <a:lnTo>
                    <a:pt x="330497" y="861858"/>
                  </a:lnTo>
                  <a:lnTo>
                    <a:pt x="315126" y="858101"/>
                  </a:lnTo>
                  <a:lnTo>
                    <a:pt x="313576" y="861019"/>
                  </a:lnTo>
                  <a:lnTo>
                    <a:pt x="287746" y="841112"/>
                  </a:lnTo>
                  <a:lnTo>
                    <a:pt x="266493" y="832473"/>
                  </a:lnTo>
                  <a:lnTo>
                    <a:pt x="249113" y="818616"/>
                  </a:lnTo>
                  <a:lnTo>
                    <a:pt x="260776" y="814436"/>
                  </a:lnTo>
                  <a:lnTo>
                    <a:pt x="270926" y="793823"/>
                  </a:lnTo>
                  <a:lnTo>
                    <a:pt x="259598" y="784492"/>
                  </a:lnTo>
                  <a:lnTo>
                    <a:pt x="282398" y="773947"/>
                  </a:lnTo>
                  <a:lnTo>
                    <a:pt x="280857" y="768668"/>
                  </a:lnTo>
                  <a:lnTo>
                    <a:pt x="266598" y="772977"/>
                  </a:lnTo>
                  <a:lnTo>
                    <a:pt x="264940" y="762212"/>
                  </a:lnTo>
                  <a:lnTo>
                    <a:pt x="272156" y="755220"/>
                  </a:lnTo>
                  <a:lnTo>
                    <a:pt x="287925" y="752996"/>
                  </a:lnTo>
                  <a:lnTo>
                    <a:pt x="288802" y="744851"/>
                  </a:lnTo>
                  <a:lnTo>
                    <a:pt x="282225" y="731612"/>
                  </a:lnTo>
                  <a:lnTo>
                    <a:pt x="286127" y="718750"/>
                  </a:lnTo>
                  <a:lnTo>
                    <a:pt x="284335" y="711652"/>
                  </a:lnTo>
                  <a:lnTo>
                    <a:pt x="258375" y="704478"/>
                  </a:lnTo>
                  <a:lnTo>
                    <a:pt x="248844" y="705008"/>
                  </a:lnTo>
                  <a:lnTo>
                    <a:pt x="236299" y="693965"/>
                  </a:lnTo>
                  <a:lnTo>
                    <a:pt x="224556" y="698135"/>
                  </a:lnTo>
                  <a:lnTo>
                    <a:pt x="202029" y="690186"/>
                  </a:lnTo>
                  <a:lnTo>
                    <a:pt x="201413" y="685421"/>
                  </a:lnTo>
                  <a:lnTo>
                    <a:pt x="193476" y="675093"/>
                  </a:lnTo>
                  <a:lnTo>
                    <a:pt x="180286" y="674256"/>
                  </a:lnTo>
                  <a:lnTo>
                    <a:pt x="177435" y="666790"/>
                  </a:lnTo>
                  <a:lnTo>
                    <a:pt x="180486" y="661795"/>
                  </a:lnTo>
                  <a:lnTo>
                    <a:pt x="167396" y="648382"/>
                  </a:lnTo>
                  <a:lnTo>
                    <a:pt x="151168" y="651133"/>
                  </a:lnTo>
                  <a:lnTo>
                    <a:pt x="146039" y="650040"/>
                  </a:lnTo>
                  <a:lnTo>
                    <a:pt x="143028" y="655632"/>
                  </a:lnTo>
                  <a:lnTo>
                    <a:pt x="136816" y="654800"/>
                  </a:lnTo>
                  <a:lnTo>
                    <a:pt x="129911" y="639429"/>
                  </a:lnTo>
                  <a:lnTo>
                    <a:pt x="124616" y="631503"/>
                  </a:lnTo>
                  <a:lnTo>
                    <a:pt x="127258" y="629174"/>
                  </a:lnTo>
                  <a:lnTo>
                    <a:pt x="140315" y="629699"/>
                  </a:lnTo>
                  <a:lnTo>
                    <a:pt x="145473" y="624265"/>
                  </a:lnTo>
                  <a:lnTo>
                    <a:pt x="139591" y="617941"/>
                  </a:lnTo>
                  <a:lnTo>
                    <a:pt x="128028" y="613956"/>
                  </a:lnTo>
                  <a:lnTo>
                    <a:pt x="128119" y="609572"/>
                  </a:lnTo>
                  <a:lnTo>
                    <a:pt x="120801" y="605325"/>
                  </a:lnTo>
                  <a:lnTo>
                    <a:pt x="107804" y="589760"/>
                  </a:lnTo>
                  <a:lnTo>
                    <a:pt x="109887" y="583169"/>
                  </a:lnTo>
                  <a:lnTo>
                    <a:pt x="106096" y="571878"/>
                  </a:lnTo>
                  <a:lnTo>
                    <a:pt x="89709" y="566486"/>
                  </a:lnTo>
                  <a:lnTo>
                    <a:pt x="82082" y="569555"/>
                  </a:lnTo>
                  <a:lnTo>
                    <a:pt x="78724" y="563616"/>
                  </a:lnTo>
                  <a:lnTo>
                    <a:pt x="61215" y="557934"/>
                  </a:lnTo>
                  <a:lnTo>
                    <a:pt x="53599" y="543806"/>
                  </a:lnTo>
                  <a:lnTo>
                    <a:pt x="50108" y="532137"/>
                  </a:lnTo>
                  <a:lnTo>
                    <a:pt x="41683" y="526745"/>
                  </a:lnTo>
                  <a:lnTo>
                    <a:pt x="46808" y="518947"/>
                  </a:lnTo>
                  <a:lnTo>
                    <a:pt x="38030" y="496556"/>
                  </a:lnTo>
                  <a:lnTo>
                    <a:pt x="46045" y="482423"/>
                  </a:lnTo>
                  <a:lnTo>
                    <a:pt x="42951" y="478266"/>
                  </a:lnTo>
                  <a:lnTo>
                    <a:pt x="57215" y="464551"/>
                  </a:lnTo>
                  <a:lnTo>
                    <a:pt x="39297" y="453453"/>
                  </a:lnTo>
                  <a:lnTo>
                    <a:pt x="64152" y="421947"/>
                  </a:lnTo>
                  <a:lnTo>
                    <a:pt x="74426" y="407694"/>
                  </a:lnTo>
                  <a:lnTo>
                    <a:pt x="76920" y="395275"/>
                  </a:lnTo>
                  <a:lnTo>
                    <a:pt x="51839" y="379320"/>
                  </a:lnTo>
                  <a:lnTo>
                    <a:pt x="53927" y="363489"/>
                  </a:lnTo>
                  <a:lnTo>
                    <a:pt x="37014" y="345894"/>
                  </a:lnTo>
                  <a:lnTo>
                    <a:pt x="41389" y="325035"/>
                  </a:lnTo>
                  <a:lnTo>
                    <a:pt x="18756" y="298049"/>
                  </a:lnTo>
                  <a:lnTo>
                    <a:pt x="26714" y="279614"/>
                  </a:lnTo>
                  <a:lnTo>
                    <a:pt x="2237" y="264092"/>
                  </a:lnTo>
                  <a:lnTo>
                    <a:pt x="0" y="247215"/>
                  </a:lnTo>
                  <a:lnTo>
                    <a:pt x="10053" y="244746"/>
                  </a:lnTo>
                  <a:lnTo>
                    <a:pt x="29749" y="234553"/>
                  </a:lnTo>
                  <a:lnTo>
                    <a:pt x="40811" y="225852"/>
                  </a:lnTo>
                  <a:lnTo>
                    <a:pt x="66428" y="239777"/>
                  </a:lnTo>
                  <a:lnTo>
                    <a:pt x="104033" y="244440"/>
                  </a:lnTo>
                  <a:lnTo>
                    <a:pt x="162953" y="269952"/>
                  </a:lnTo>
                  <a:lnTo>
                    <a:pt x="177152" y="280992"/>
                  </a:lnTo>
                  <a:lnTo>
                    <a:pt x="183562" y="296915"/>
                  </a:lnTo>
                  <a:lnTo>
                    <a:pt x="172726" y="310031"/>
                  </a:lnTo>
                  <a:lnTo>
                    <a:pt x="152455" y="317165"/>
                  </a:lnTo>
                  <a:lnTo>
                    <a:pt x="86041" y="300754"/>
                  </a:lnTo>
                  <a:lnTo>
                    <a:pt x="76900" y="304087"/>
                  </a:lnTo>
                  <a:lnTo>
                    <a:pt x="104158" y="321053"/>
                  </a:lnTo>
                  <a:lnTo>
                    <a:pt x="108202" y="332177"/>
                  </a:lnTo>
                  <a:lnTo>
                    <a:pt x="115983" y="356716"/>
                  </a:lnTo>
                  <a:lnTo>
                    <a:pt x="136159" y="363510"/>
                  </a:lnTo>
                  <a:lnTo>
                    <a:pt x="148985" y="369415"/>
                  </a:lnTo>
                  <a:lnTo>
                    <a:pt x="147405" y="357702"/>
                  </a:lnTo>
                  <a:lnTo>
                    <a:pt x="135942" y="347633"/>
                  </a:lnTo>
                  <a:lnTo>
                    <a:pt x="142117" y="338258"/>
                  </a:lnTo>
                  <a:lnTo>
                    <a:pt x="180409" y="352128"/>
                  </a:lnTo>
                  <a:lnTo>
                    <a:pt x="190302" y="345881"/>
                  </a:lnTo>
                  <a:lnTo>
                    <a:pt x="175285" y="328611"/>
                  </a:lnTo>
                  <a:lnTo>
                    <a:pt x="199298" y="304017"/>
                  </a:lnTo>
                  <a:lnTo>
                    <a:pt x="212327" y="304950"/>
                  </a:lnTo>
                  <a:lnTo>
                    <a:pt x="228056" y="312861"/>
                  </a:lnTo>
                  <a:lnTo>
                    <a:pt x="229919" y="296099"/>
                  </a:lnTo>
                  <a:lnTo>
                    <a:pt x="213401" y="282240"/>
                  </a:lnTo>
                  <a:lnTo>
                    <a:pt x="214563" y="267683"/>
                  </a:lnTo>
                  <a:lnTo>
                    <a:pt x="199234" y="253199"/>
                  </a:lnTo>
                  <a:lnTo>
                    <a:pt x="239050" y="259482"/>
                  </a:lnTo>
                  <a:lnTo>
                    <a:pt x="251971" y="272574"/>
                  </a:lnTo>
                  <a:lnTo>
                    <a:pt x="236274" y="276184"/>
                  </a:lnTo>
                  <a:lnTo>
                    <a:pt x="241502" y="289497"/>
                  </a:lnTo>
                  <a:lnTo>
                    <a:pt x="255269" y="297281"/>
                  </a:lnTo>
                  <a:lnTo>
                    <a:pt x="274045" y="291262"/>
                  </a:lnTo>
                  <a:lnTo>
                    <a:pt x="271125" y="275878"/>
                  </a:lnTo>
                  <a:lnTo>
                    <a:pt x="294027" y="263349"/>
                  </a:lnTo>
                  <a:lnTo>
                    <a:pt x="330451" y="240869"/>
                  </a:lnTo>
                  <a:lnTo>
                    <a:pt x="340800" y="241592"/>
                  </a:lnTo>
                  <a:lnTo>
                    <a:pt x="334738" y="256632"/>
                  </a:lnTo>
                  <a:lnTo>
                    <a:pt x="352181" y="258368"/>
                  </a:lnTo>
                  <a:lnTo>
                    <a:pt x="357667" y="249795"/>
                  </a:lnTo>
                  <a:lnTo>
                    <a:pt x="381774" y="247966"/>
                  </a:lnTo>
                  <a:lnTo>
                    <a:pt x="396015" y="237165"/>
                  </a:lnTo>
                  <a:lnTo>
                    <a:pt x="418233" y="250717"/>
                  </a:lnTo>
                  <a:lnTo>
                    <a:pt x="424609" y="234244"/>
                  </a:lnTo>
                  <a:lnTo>
                    <a:pt x="403783" y="221209"/>
                  </a:lnTo>
                  <a:lnTo>
                    <a:pt x="406170" y="213054"/>
                  </a:lnTo>
                  <a:lnTo>
                    <a:pt x="447682" y="218231"/>
                  </a:lnTo>
                  <a:lnTo>
                    <a:pt x="469552" y="224650"/>
                  </a:lnTo>
                  <a:lnTo>
                    <a:pt x="532001" y="248966"/>
                  </a:lnTo>
                  <a:lnTo>
                    <a:pt x="533158" y="236097"/>
                  </a:lnTo>
                  <a:lnTo>
                    <a:pt x="512578" y="224397"/>
                  </a:lnTo>
                  <a:lnTo>
                    <a:pt x="509161" y="219417"/>
                  </a:lnTo>
                  <a:lnTo>
                    <a:pt x="492472" y="217991"/>
                  </a:lnTo>
                  <a:lnTo>
                    <a:pt x="489875" y="206575"/>
                  </a:lnTo>
                  <a:lnTo>
                    <a:pt x="471943" y="188589"/>
                  </a:lnTo>
                  <a:lnTo>
                    <a:pt x="466924" y="181082"/>
                  </a:lnTo>
                  <a:lnTo>
                    <a:pt x="476039" y="158539"/>
                  </a:lnTo>
                  <a:lnTo>
                    <a:pt x="469917" y="136822"/>
                  </a:lnTo>
                  <a:lnTo>
                    <a:pt x="475667" y="131721"/>
                  </a:lnTo>
                  <a:lnTo>
                    <a:pt x="511357" y="136002"/>
                  </a:lnTo>
                  <a:lnTo>
                    <a:pt x="522909" y="148810"/>
                  </a:lnTo>
                  <a:lnTo>
                    <a:pt x="524417" y="168452"/>
                  </a:lnTo>
                  <a:lnTo>
                    <a:pt x="537055" y="175441"/>
                  </a:lnTo>
                  <a:lnTo>
                    <a:pt x="552024" y="191559"/>
                  </a:lnTo>
                  <a:lnTo>
                    <a:pt x="570332" y="223898"/>
                  </a:lnTo>
                  <a:lnTo>
                    <a:pt x="593729" y="237419"/>
                  </a:lnTo>
                  <a:lnTo>
                    <a:pt x="598297" y="253493"/>
                  </a:lnTo>
                  <a:lnTo>
                    <a:pt x="593333" y="288674"/>
                  </a:lnTo>
                  <a:lnTo>
                    <a:pt x="610597" y="291206"/>
                  </a:lnTo>
                  <a:lnTo>
                    <a:pt x="610658" y="282354"/>
                  </a:lnTo>
                  <a:lnTo>
                    <a:pt x="621363" y="275353"/>
                  </a:lnTo>
                  <a:lnTo>
                    <a:pt x="617444" y="263451"/>
                  </a:lnTo>
                  <a:lnTo>
                    <a:pt x="621429" y="251496"/>
                  </a:lnTo>
                  <a:lnTo>
                    <a:pt x="605196" y="238610"/>
                  </a:lnTo>
                  <a:lnTo>
                    <a:pt x="600871" y="222713"/>
                  </a:lnTo>
                  <a:lnTo>
                    <a:pt x="585747" y="221678"/>
                  </a:lnTo>
                  <a:lnTo>
                    <a:pt x="574067" y="208819"/>
                  </a:lnTo>
                  <a:lnTo>
                    <a:pt x="568076" y="184670"/>
                  </a:lnTo>
                  <a:lnTo>
                    <a:pt x="539071" y="166619"/>
                  </a:lnTo>
                  <a:lnTo>
                    <a:pt x="549668" y="149547"/>
                  </a:lnTo>
                  <a:lnTo>
                    <a:pt x="535006" y="133187"/>
                  </a:lnTo>
                  <a:lnTo>
                    <a:pt x="540525" y="132290"/>
                  </a:lnTo>
                  <a:lnTo>
                    <a:pt x="556147" y="144771"/>
                  </a:lnTo>
                  <a:lnTo>
                    <a:pt x="567495" y="167539"/>
                  </a:lnTo>
                  <a:lnTo>
                    <a:pt x="583543" y="170952"/>
                  </a:lnTo>
                  <a:lnTo>
                    <a:pt x="565961" y="154520"/>
                  </a:lnTo>
                  <a:lnTo>
                    <a:pt x="579300" y="144082"/>
                  </a:lnTo>
                  <a:lnTo>
                    <a:pt x="603057" y="141209"/>
                  </a:lnTo>
                  <a:lnTo>
                    <a:pt x="635255" y="152882"/>
                  </a:lnTo>
                  <a:lnTo>
                    <a:pt x="609700" y="134364"/>
                  </a:lnTo>
                  <a:lnTo>
                    <a:pt x="589138" y="109886"/>
                  </a:lnTo>
                  <a:lnTo>
                    <a:pt x="605433" y="103893"/>
                  </a:lnTo>
                  <a:lnTo>
                    <a:pt x="633878" y="102984"/>
                  </a:lnTo>
                  <a:lnTo>
                    <a:pt x="656074" y="98222"/>
                  </a:lnTo>
                  <a:lnTo>
                    <a:pt x="636473" y="86975"/>
                  </a:lnTo>
                  <a:lnTo>
                    <a:pt x="636242" y="71136"/>
                  </a:lnTo>
                  <a:lnTo>
                    <a:pt x="648450" y="69602"/>
                  </a:lnTo>
                  <a:lnTo>
                    <a:pt x="659521" y="56860"/>
                  </a:lnTo>
                  <a:lnTo>
                    <a:pt x="685484" y="51741"/>
                  </a:lnTo>
                  <a:lnTo>
                    <a:pt x="683097" y="45348"/>
                  </a:lnTo>
                  <a:lnTo>
                    <a:pt x="709333" y="41141"/>
                  </a:lnTo>
                  <a:lnTo>
                    <a:pt x="723228" y="45448"/>
                  </a:lnTo>
                  <a:lnTo>
                    <a:pt x="734989" y="31808"/>
                  </a:lnTo>
                  <a:lnTo>
                    <a:pt x="754863" y="30625"/>
                  </a:lnTo>
                  <a:lnTo>
                    <a:pt x="747455" y="20928"/>
                  </a:lnTo>
                  <a:lnTo>
                    <a:pt x="747131" y="10840"/>
                  </a:lnTo>
                  <a:lnTo>
                    <a:pt x="761345" y="0"/>
                  </a:lnTo>
                  <a:lnTo>
                    <a:pt x="787102" y="5571"/>
                  </a:lnTo>
                  <a:lnTo>
                    <a:pt x="779227" y="12056"/>
                  </a:lnTo>
                  <a:lnTo>
                    <a:pt x="806528" y="13421"/>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01" name="Polygon form 65"/>
            <p:cNvSpPr/>
            <p:nvPr/>
          </p:nvSpPr>
          <p:spPr>
            <a:xfrm>
              <a:off x="4603992" y="2170554"/>
              <a:ext cx="140223" cy="154535"/>
            </a:xfrm>
            <a:custGeom>
              <a:avLst/>
              <a:gdLst/>
              <a:ahLst/>
              <a:cxnLst/>
              <a:rect l="0" t="0" r="0" b="0"/>
              <a:pathLst>
                <a:path w="140223" h="154535">
                  <a:moveTo>
                    <a:pt x="91138" y="152100"/>
                  </a:moveTo>
                  <a:lnTo>
                    <a:pt x="84812" y="154535"/>
                  </a:lnTo>
                  <a:lnTo>
                    <a:pt x="42169" y="153357"/>
                  </a:lnTo>
                  <a:lnTo>
                    <a:pt x="33649" y="142965"/>
                  </a:lnTo>
                  <a:lnTo>
                    <a:pt x="7988" y="137583"/>
                  </a:lnTo>
                  <a:lnTo>
                    <a:pt x="0" y="124835"/>
                  </a:lnTo>
                  <a:lnTo>
                    <a:pt x="10083" y="119207"/>
                  </a:lnTo>
                  <a:lnTo>
                    <a:pt x="3220" y="106298"/>
                  </a:lnTo>
                  <a:lnTo>
                    <a:pt x="16692" y="85080"/>
                  </a:lnTo>
                  <a:lnTo>
                    <a:pt x="4206" y="82667"/>
                  </a:lnTo>
                  <a:lnTo>
                    <a:pt x="21280" y="60714"/>
                  </a:lnTo>
                  <a:lnTo>
                    <a:pt x="12157" y="50160"/>
                  </a:lnTo>
                  <a:lnTo>
                    <a:pt x="30773" y="36601"/>
                  </a:lnTo>
                  <a:lnTo>
                    <a:pt x="59025" y="19828"/>
                  </a:lnTo>
                  <a:lnTo>
                    <a:pt x="93485" y="13665"/>
                  </a:lnTo>
                  <a:lnTo>
                    <a:pt x="106624" y="4103"/>
                  </a:lnTo>
                  <a:lnTo>
                    <a:pt x="125961" y="0"/>
                  </a:lnTo>
                  <a:lnTo>
                    <a:pt x="140223" y="8736"/>
                  </a:lnTo>
                  <a:lnTo>
                    <a:pt x="137902" y="16337"/>
                  </a:lnTo>
                  <a:lnTo>
                    <a:pt x="105953" y="29919"/>
                  </a:lnTo>
                  <a:lnTo>
                    <a:pt x="78302" y="42781"/>
                  </a:lnTo>
                  <a:lnTo>
                    <a:pt x="55695" y="66836"/>
                  </a:lnTo>
                  <a:lnTo>
                    <a:pt x="51050" y="90653"/>
                  </a:lnTo>
                  <a:lnTo>
                    <a:pt x="44358" y="114250"/>
                  </a:lnTo>
                  <a:lnTo>
                    <a:pt x="57133" y="133800"/>
                  </a:lnTo>
                  <a:lnTo>
                    <a:pt x="91138" y="152100"/>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02" name="Polygon form 66"/>
            <p:cNvSpPr/>
            <p:nvPr/>
          </p:nvSpPr>
          <p:spPr>
            <a:xfrm>
              <a:off x="1659765" y="2201021"/>
              <a:ext cx="146305" cy="108524"/>
            </a:xfrm>
            <a:custGeom>
              <a:avLst/>
              <a:gdLst/>
              <a:ahLst/>
              <a:cxnLst/>
              <a:rect l="0" t="0" r="0" b="0"/>
              <a:pathLst>
                <a:path w="146305" h="108524">
                  <a:moveTo>
                    <a:pt x="103914" y="56566"/>
                  </a:moveTo>
                  <a:lnTo>
                    <a:pt x="102151" y="62986"/>
                  </a:lnTo>
                  <a:lnTo>
                    <a:pt x="124520" y="48001"/>
                  </a:lnTo>
                  <a:lnTo>
                    <a:pt x="146305" y="56648"/>
                  </a:lnTo>
                  <a:lnTo>
                    <a:pt x="134921" y="79704"/>
                  </a:lnTo>
                  <a:lnTo>
                    <a:pt x="110401" y="86511"/>
                  </a:lnTo>
                  <a:lnTo>
                    <a:pt x="90242" y="85076"/>
                  </a:lnTo>
                  <a:lnTo>
                    <a:pt x="57651" y="105114"/>
                  </a:lnTo>
                  <a:lnTo>
                    <a:pt x="46655" y="108524"/>
                  </a:lnTo>
                  <a:lnTo>
                    <a:pt x="37974" y="105783"/>
                  </a:lnTo>
                  <a:lnTo>
                    <a:pt x="41754" y="96876"/>
                  </a:lnTo>
                  <a:lnTo>
                    <a:pt x="38052" y="87908"/>
                  </a:lnTo>
                  <a:lnTo>
                    <a:pt x="50448" y="78605"/>
                  </a:lnTo>
                  <a:lnTo>
                    <a:pt x="45898" y="73036"/>
                  </a:lnTo>
                  <a:lnTo>
                    <a:pt x="30231" y="73082"/>
                  </a:lnTo>
                  <a:lnTo>
                    <a:pt x="36891" y="64862"/>
                  </a:lnTo>
                  <a:lnTo>
                    <a:pt x="51798" y="57959"/>
                  </a:lnTo>
                  <a:lnTo>
                    <a:pt x="31965" y="59994"/>
                  </a:lnTo>
                  <a:lnTo>
                    <a:pt x="20149" y="70377"/>
                  </a:lnTo>
                  <a:lnTo>
                    <a:pt x="0" y="77577"/>
                  </a:lnTo>
                  <a:lnTo>
                    <a:pt x="138910" y="0"/>
                  </a:lnTo>
                  <a:lnTo>
                    <a:pt x="135018" y="19558"/>
                  </a:lnTo>
                  <a:lnTo>
                    <a:pt x="125935" y="44408"/>
                  </a:lnTo>
                  <a:lnTo>
                    <a:pt x="103914" y="56566"/>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03" name="Polygon form 67"/>
            <p:cNvSpPr/>
            <p:nvPr/>
          </p:nvSpPr>
          <p:spPr>
            <a:xfrm>
              <a:off x="6126979" y="2599533"/>
              <a:ext cx="195139" cy="207112"/>
            </a:xfrm>
            <a:custGeom>
              <a:avLst/>
              <a:gdLst/>
              <a:ahLst/>
              <a:cxnLst/>
              <a:rect l="0" t="0" r="0" b="0"/>
              <a:pathLst>
                <a:path w="195139" h="207112">
                  <a:moveTo>
                    <a:pt x="99379" y="85398"/>
                  </a:moveTo>
                  <a:lnTo>
                    <a:pt x="152746" y="126779"/>
                  </a:lnTo>
                  <a:lnTo>
                    <a:pt x="124037" y="121774"/>
                  </a:lnTo>
                  <a:lnTo>
                    <a:pt x="145557" y="158828"/>
                  </a:lnTo>
                  <a:lnTo>
                    <a:pt x="181309" y="182319"/>
                  </a:lnTo>
                  <a:lnTo>
                    <a:pt x="195139" y="199873"/>
                  </a:lnTo>
                  <a:lnTo>
                    <a:pt x="171458" y="186365"/>
                  </a:lnTo>
                  <a:lnTo>
                    <a:pt x="177127" y="207112"/>
                  </a:lnTo>
                  <a:lnTo>
                    <a:pt x="157468" y="186485"/>
                  </a:lnTo>
                  <a:lnTo>
                    <a:pt x="139208" y="161978"/>
                  </a:lnTo>
                  <a:lnTo>
                    <a:pt x="114983" y="135472"/>
                  </a:lnTo>
                  <a:lnTo>
                    <a:pt x="102283" y="116349"/>
                  </a:lnTo>
                  <a:lnTo>
                    <a:pt x="73855" y="83477"/>
                  </a:lnTo>
                  <a:lnTo>
                    <a:pt x="43727" y="60756"/>
                  </a:lnTo>
                  <a:lnTo>
                    <a:pt x="14084" y="27532"/>
                  </a:lnTo>
                  <a:lnTo>
                    <a:pt x="16253" y="14560"/>
                  </a:lnTo>
                  <a:lnTo>
                    <a:pt x="0" y="4277"/>
                  </a:lnTo>
                  <a:lnTo>
                    <a:pt x="2796" y="0"/>
                  </a:lnTo>
                  <a:lnTo>
                    <a:pt x="21829" y="15303"/>
                  </a:lnTo>
                  <a:lnTo>
                    <a:pt x="48908" y="37786"/>
                  </a:lnTo>
                  <a:lnTo>
                    <a:pt x="70937" y="61677"/>
                  </a:lnTo>
                  <a:lnTo>
                    <a:pt x="99379" y="85398"/>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04" name="Polygon form 68"/>
            <p:cNvSpPr/>
            <p:nvPr/>
          </p:nvSpPr>
          <p:spPr>
            <a:xfrm>
              <a:off x="4902839" y="2057542"/>
              <a:ext cx="122379" cy="52868"/>
            </a:xfrm>
            <a:custGeom>
              <a:avLst/>
              <a:gdLst/>
              <a:ahLst/>
              <a:cxnLst/>
              <a:rect l="0" t="0" r="0" b="0"/>
              <a:pathLst>
                <a:path w="122379" h="52868">
                  <a:moveTo>
                    <a:pt x="122379" y="48580"/>
                  </a:moveTo>
                  <a:lnTo>
                    <a:pt x="103348" y="52868"/>
                  </a:lnTo>
                  <a:lnTo>
                    <a:pt x="68255" y="48521"/>
                  </a:lnTo>
                  <a:lnTo>
                    <a:pt x="42554" y="41272"/>
                  </a:lnTo>
                  <a:lnTo>
                    <a:pt x="18125" y="26054"/>
                  </a:lnTo>
                  <a:lnTo>
                    <a:pt x="0" y="22556"/>
                  </a:lnTo>
                  <a:lnTo>
                    <a:pt x="9322" y="6133"/>
                  </a:lnTo>
                  <a:lnTo>
                    <a:pt x="24740" y="0"/>
                  </a:lnTo>
                  <a:lnTo>
                    <a:pt x="55964" y="9677"/>
                  </a:lnTo>
                  <a:lnTo>
                    <a:pt x="102586" y="28986"/>
                  </a:lnTo>
                  <a:lnTo>
                    <a:pt x="122379" y="48580"/>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05" name="Polygon form 69"/>
            <p:cNvSpPr/>
            <p:nvPr/>
          </p:nvSpPr>
          <p:spPr>
            <a:xfrm>
              <a:off x="5481768" y="2124589"/>
              <a:ext cx="101709" cy="32664"/>
            </a:xfrm>
            <a:custGeom>
              <a:avLst/>
              <a:gdLst/>
              <a:ahLst/>
              <a:cxnLst/>
              <a:rect l="0" t="0" r="0" b="0"/>
              <a:pathLst>
                <a:path w="101709" h="32664">
                  <a:moveTo>
                    <a:pt x="85767" y="6057"/>
                  </a:moveTo>
                  <a:lnTo>
                    <a:pt x="101709" y="21694"/>
                  </a:lnTo>
                  <a:lnTo>
                    <a:pt x="64552" y="25822"/>
                  </a:lnTo>
                  <a:lnTo>
                    <a:pt x="55321" y="32664"/>
                  </a:lnTo>
                  <a:lnTo>
                    <a:pt x="15747" y="21950"/>
                  </a:lnTo>
                  <a:lnTo>
                    <a:pt x="0" y="7485"/>
                  </a:lnTo>
                  <a:lnTo>
                    <a:pt x="7079" y="2213"/>
                  </a:lnTo>
                  <a:lnTo>
                    <a:pt x="34053" y="0"/>
                  </a:lnTo>
                  <a:lnTo>
                    <a:pt x="85767" y="6057"/>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06" name="Polygon form 70"/>
            <p:cNvSpPr/>
            <p:nvPr/>
          </p:nvSpPr>
          <p:spPr>
            <a:xfrm>
              <a:off x="5029766" y="2094527"/>
              <a:ext cx="61636" cy="32846"/>
            </a:xfrm>
            <a:custGeom>
              <a:avLst/>
              <a:gdLst/>
              <a:ahLst/>
              <a:cxnLst/>
              <a:rect l="0" t="0" r="0" b="0"/>
              <a:pathLst>
                <a:path w="61636" h="32846">
                  <a:moveTo>
                    <a:pt x="61636" y="20083"/>
                  </a:moveTo>
                  <a:lnTo>
                    <a:pt x="13679" y="32846"/>
                  </a:lnTo>
                  <a:lnTo>
                    <a:pt x="0" y="3008"/>
                  </a:lnTo>
                  <a:lnTo>
                    <a:pt x="5362" y="0"/>
                  </a:lnTo>
                  <a:lnTo>
                    <a:pt x="14478" y="857"/>
                  </a:lnTo>
                  <a:lnTo>
                    <a:pt x="54247" y="11133"/>
                  </a:lnTo>
                  <a:lnTo>
                    <a:pt x="61636" y="20083"/>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07" name="Polygon form 71"/>
            <p:cNvSpPr/>
            <p:nvPr/>
          </p:nvSpPr>
          <p:spPr>
            <a:xfrm>
              <a:off x="4272137" y="2711940"/>
              <a:ext cx="48962" cy="21281"/>
            </a:xfrm>
            <a:custGeom>
              <a:avLst/>
              <a:gdLst/>
              <a:ahLst/>
              <a:cxnLst/>
              <a:rect l="0" t="0" r="0" b="0"/>
              <a:pathLst>
                <a:path w="48962" h="21281">
                  <a:moveTo>
                    <a:pt x="48962" y="20432"/>
                  </a:moveTo>
                  <a:lnTo>
                    <a:pt x="19867" y="21281"/>
                  </a:lnTo>
                  <a:lnTo>
                    <a:pt x="0" y="18843"/>
                  </a:lnTo>
                  <a:lnTo>
                    <a:pt x="2272" y="8170"/>
                  </a:lnTo>
                  <a:lnTo>
                    <a:pt x="22971" y="0"/>
                  </a:lnTo>
                  <a:lnTo>
                    <a:pt x="40033" y="3950"/>
                  </a:lnTo>
                  <a:lnTo>
                    <a:pt x="47546" y="7659"/>
                  </a:lnTo>
                  <a:lnTo>
                    <a:pt x="46814" y="14296"/>
                  </a:lnTo>
                  <a:lnTo>
                    <a:pt x="48962" y="20432"/>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08" name="Polygon form 72"/>
            <p:cNvSpPr/>
            <p:nvPr/>
          </p:nvSpPr>
          <p:spPr>
            <a:xfrm>
              <a:off x="4428392" y="2085893"/>
              <a:ext cx="67321" cy="22150"/>
            </a:xfrm>
            <a:custGeom>
              <a:avLst/>
              <a:gdLst/>
              <a:ahLst/>
              <a:cxnLst/>
              <a:rect l="0" t="0" r="0" b="0"/>
              <a:pathLst>
                <a:path w="67321" h="22150">
                  <a:moveTo>
                    <a:pt x="65422" y="8347"/>
                  </a:moveTo>
                  <a:lnTo>
                    <a:pt x="53329" y="11891"/>
                  </a:lnTo>
                  <a:lnTo>
                    <a:pt x="45006" y="13971"/>
                  </a:lnTo>
                  <a:lnTo>
                    <a:pt x="45670" y="17874"/>
                  </a:lnTo>
                  <a:lnTo>
                    <a:pt x="35564" y="22150"/>
                  </a:lnTo>
                  <a:lnTo>
                    <a:pt x="21322" y="16917"/>
                  </a:lnTo>
                  <a:lnTo>
                    <a:pt x="23360" y="9386"/>
                  </a:lnTo>
                  <a:lnTo>
                    <a:pt x="0" y="9349"/>
                  </a:lnTo>
                  <a:lnTo>
                    <a:pt x="17890" y="4469"/>
                  </a:lnTo>
                  <a:lnTo>
                    <a:pt x="33334" y="3714"/>
                  </a:lnTo>
                  <a:lnTo>
                    <a:pt x="38905" y="9980"/>
                  </a:lnTo>
                  <a:lnTo>
                    <a:pt x="41712" y="4171"/>
                  </a:lnTo>
                  <a:lnTo>
                    <a:pt x="49180" y="0"/>
                  </a:lnTo>
                  <a:lnTo>
                    <a:pt x="67321" y="4645"/>
                  </a:lnTo>
                  <a:lnTo>
                    <a:pt x="65422" y="8347"/>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09" name="Polygon form 73"/>
            <p:cNvSpPr/>
            <p:nvPr/>
          </p:nvSpPr>
          <p:spPr>
            <a:xfrm>
              <a:off x="5581891" y="2130347"/>
              <a:ext cx="57043" cy="11975"/>
            </a:xfrm>
            <a:custGeom>
              <a:avLst/>
              <a:gdLst/>
              <a:ahLst/>
              <a:cxnLst/>
              <a:rect l="0" t="0" r="0" b="0"/>
              <a:pathLst>
                <a:path w="57043" h="11975">
                  <a:moveTo>
                    <a:pt x="55266" y="2403"/>
                  </a:moveTo>
                  <a:lnTo>
                    <a:pt x="57043" y="11606"/>
                  </a:lnTo>
                  <a:lnTo>
                    <a:pt x="38714" y="11975"/>
                  </a:lnTo>
                  <a:lnTo>
                    <a:pt x="8074" y="6643"/>
                  </a:lnTo>
                  <a:lnTo>
                    <a:pt x="0" y="0"/>
                  </a:lnTo>
                  <a:lnTo>
                    <a:pt x="22755" y="582"/>
                  </a:lnTo>
                  <a:lnTo>
                    <a:pt x="55266" y="2403"/>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10" name="Polygon form 74"/>
            <p:cNvSpPr/>
            <p:nvPr/>
          </p:nvSpPr>
          <p:spPr>
            <a:xfrm>
              <a:off x="5581606" y="2168479"/>
              <a:ext cx="45151" cy="13698"/>
            </a:xfrm>
            <a:custGeom>
              <a:avLst/>
              <a:gdLst/>
              <a:ahLst/>
              <a:cxnLst/>
              <a:rect l="0" t="0" r="0" b="0"/>
              <a:pathLst>
                <a:path w="45151" h="13698">
                  <a:moveTo>
                    <a:pt x="45151" y="10960"/>
                  </a:moveTo>
                  <a:lnTo>
                    <a:pt x="30030" y="13189"/>
                  </a:lnTo>
                  <a:lnTo>
                    <a:pt x="5803" y="13698"/>
                  </a:lnTo>
                  <a:lnTo>
                    <a:pt x="2418" y="12851"/>
                  </a:lnTo>
                  <a:lnTo>
                    <a:pt x="0" y="3533"/>
                  </a:lnTo>
                  <a:lnTo>
                    <a:pt x="9731" y="0"/>
                  </a:lnTo>
                  <a:lnTo>
                    <a:pt x="35806" y="5810"/>
                  </a:lnTo>
                  <a:lnTo>
                    <a:pt x="45151" y="10960"/>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11" name="Polygon form 75"/>
            <p:cNvSpPr/>
            <p:nvPr/>
          </p:nvSpPr>
          <p:spPr>
            <a:xfrm>
              <a:off x="1865166" y="2153366"/>
              <a:ext cx="37423" cy="14267"/>
            </a:xfrm>
            <a:custGeom>
              <a:avLst/>
              <a:gdLst/>
              <a:ahLst/>
              <a:cxnLst/>
              <a:rect l="0" t="0" r="0" b="0"/>
              <a:pathLst>
                <a:path w="37423" h="14267">
                  <a:moveTo>
                    <a:pt x="13937" y="14267"/>
                  </a:moveTo>
                  <a:lnTo>
                    <a:pt x="0" y="12949"/>
                  </a:lnTo>
                  <a:lnTo>
                    <a:pt x="24515" y="525"/>
                  </a:lnTo>
                  <a:lnTo>
                    <a:pt x="27161" y="0"/>
                  </a:lnTo>
                  <a:lnTo>
                    <a:pt x="34639" y="1568"/>
                  </a:lnTo>
                  <a:lnTo>
                    <a:pt x="37423" y="9402"/>
                  </a:lnTo>
                  <a:lnTo>
                    <a:pt x="31787" y="11757"/>
                  </a:lnTo>
                  <a:lnTo>
                    <a:pt x="13937" y="14267"/>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12" name="Polygon form 76"/>
            <p:cNvSpPr/>
            <p:nvPr/>
          </p:nvSpPr>
          <p:spPr>
            <a:xfrm>
              <a:off x="6030837" y="2153891"/>
              <a:ext cx="24515" cy="15408"/>
            </a:xfrm>
            <a:custGeom>
              <a:avLst/>
              <a:gdLst/>
              <a:ahLst/>
              <a:cxnLst/>
              <a:rect l="0" t="0" r="0" b="0"/>
              <a:pathLst>
                <a:path w="24515" h="15408">
                  <a:moveTo>
                    <a:pt x="24515" y="12424"/>
                  </a:moveTo>
                  <a:lnTo>
                    <a:pt x="16460" y="15408"/>
                  </a:lnTo>
                  <a:lnTo>
                    <a:pt x="3525" y="9910"/>
                  </a:lnTo>
                  <a:lnTo>
                    <a:pt x="0" y="0"/>
                  </a:lnTo>
                  <a:lnTo>
                    <a:pt x="24515" y="12424"/>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13" name="Polygon form 77"/>
            <p:cNvSpPr/>
            <p:nvPr/>
          </p:nvSpPr>
          <p:spPr>
            <a:xfrm>
              <a:off x="4532954" y="4073642"/>
              <a:ext cx="35540" cy="43251"/>
            </a:xfrm>
            <a:custGeom>
              <a:avLst/>
              <a:gdLst/>
              <a:ahLst/>
              <a:cxnLst/>
              <a:rect l="0" t="0" r="0" b="0"/>
              <a:pathLst>
                <a:path w="35540" h="43251">
                  <a:moveTo>
                    <a:pt x="27763" y="0"/>
                  </a:moveTo>
                  <a:lnTo>
                    <a:pt x="35540" y="13699"/>
                  </a:lnTo>
                  <a:lnTo>
                    <a:pt x="34309" y="27977"/>
                  </a:lnTo>
                  <a:lnTo>
                    <a:pt x="28591" y="31043"/>
                  </a:lnTo>
                  <a:lnTo>
                    <a:pt x="18117" y="29445"/>
                  </a:lnTo>
                  <a:lnTo>
                    <a:pt x="11965" y="43251"/>
                  </a:lnTo>
                  <a:lnTo>
                    <a:pt x="0" y="41329"/>
                  </a:lnTo>
                  <a:lnTo>
                    <a:pt x="1927" y="28063"/>
                  </a:lnTo>
                  <a:lnTo>
                    <a:pt x="4650" y="26195"/>
                  </a:lnTo>
                  <a:lnTo>
                    <a:pt x="5464" y="11762"/>
                  </a:lnTo>
                  <a:lnTo>
                    <a:pt x="11171" y="5004"/>
                  </a:lnTo>
                  <a:lnTo>
                    <a:pt x="15938" y="7482"/>
                  </a:lnTo>
                  <a:lnTo>
                    <a:pt x="27763" y="0"/>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114" name="Polygon form 78"/>
            <p:cNvSpPr/>
            <p:nvPr/>
          </p:nvSpPr>
          <p:spPr>
            <a:xfrm>
              <a:off x="3632735" y="3378609"/>
              <a:ext cx="164709" cy="159991"/>
            </a:xfrm>
            <a:custGeom>
              <a:avLst/>
              <a:gdLst/>
              <a:ahLst/>
              <a:cxnLst/>
              <a:rect l="0" t="0" r="0" b="0"/>
              <a:pathLst>
                <a:path w="164709" h="159991">
                  <a:moveTo>
                    <a:pt x="161953" y="12931"/>
                  </a:moveTo>
                  <a:lnTo>
                    <a:pt x="161849" y="0"/>
                  </a:lnTo>
                  <a:lnTo>
                    <a:pt x="164709" y="11"/>
                  </a:lnTo>
                  <a:lnTo>
                    <a:pt x="164677" y="1626"/>
                  </a:lnTo>
                  <a:lnTo>
                    <a:pt x="164198" y="6300"/>
                  </a:lnTo>
                  <a:lnTo>
                    <a:pt x="163259" y="42855"/>
                  </a:lnTo>
                  <a:lnTo>
                    <a:pt x="101245" y="41339"/>
                  </a:lnTo>
                  <a:lnTo>
                    <a:pt x="99960" y="103117"/>
                  </a:lnTo>
                  <a:lnTo>
                    <a:pt x="82032" y="105205"/>
                  </a:lnTo>
                  <a:lnTo>
                    <a:pt x="76980" y="117585"/>
                  </a:lnTo>
                  <a:lnTo>
                    <a:pt x="79572" y="152473"/>
                  </a:lnTo>
                  <a:lnTo>
                    <a:pt x="4486" y="151954"/>
                  </a:lnTo>
                  <a:lnTo>
                    <a:pt x="0" y="159991"/>
                  </a:lnTo>
                  <a:lnTo>
                    <a:pt x="1207" y="149785"/>
                  </a:lnTo>
                  <a:lnTo>
                    <a:pt x="1540" y="149825"/>
                  </a:lnTo>
                  <a:lnTo>
                    <a:pt x="44773" y="148123"/>
                  </a:lnTo>
                  <a:lnTo>
                    <a:pt x="47362" y="139431"/>
                  </a:lnTo>
                  <a:lnTo>
                    <a:pt x="55559" y="128619"/>
                  </a:lnTo>
                  <a:lnTo>
                    <a:pt x="62976" y="95303"/>
                  </a:lnTo>
                  <a:lnTo>
                    <a:pt x="90269" y="69375"/>
                  </a:lnTo>
                  <a:lnTo>
                    <a:pt x="100163" y="38979"/>
                  </a:lnTo>
                  <a:lnTo>
                    <a:pt x="106125" y="37239"/>
                  </a:lnTo>
                  <a:lnTo>
                    <a:pt x="112871" y="18454"/>
                  </a:lnTo>
                  <a:lnTo>
                    <a:pt x="128798" y="15933"/>
                  </a:lnTo>
                  <a:lnTo>
                    <a:pt x="135522" y="19097"/>
                  </a:lnTo>
                  <a:lnTo>
                    <a:pt x="144078" y="19132"/>
                  </a:lnTo>
                  <a:lnTo>
                    <a:pt x="150296" y="13665"/>
                  </a:lnTo>
                  <a:lnTo>
                    <a:pt x="161953" y="12931"/>
                  </a:lnTo>
                  <a:close/>
                </a:path>
              </a:pathLst>
            </a:custGeom>
            <a:solidFill>
              <a:srgbClr val="DEEBF7">
                <a:alpha val="100000"/>
              </a:srgbClr>
            </a:solidFill>
            <a:ln w="5400">
              <a:solidFill>
                <a:srgbClr val="7F7F7F">
                  <a:alpha val="100000"/>
                </a:srgbClr>
              </a:solidFill>
              <a:prstDash val="solid"/>
              <a:round/>
            </a:ln>
          </p:spPr>
          <p:txBody>
            <a:bodyPr/>
            <a:lstStyle/>
            <a:p/>
          </p:txBody>
        </p:sp>
        <p:sp>
          <p:nvSpPr>
            <p:cNvPr id="115" name="Polygon form 79"/>
            <p:cNvSpPr/>
            <p:nvPr/>
          </p:nvSpPr>
          <p:spPr>
            <a:xfrm>
              <a:off x="4609607" y="3263267"/>
              <a:ext cx="415204" cy="383908"/>
            </a:xfrm>
            <a:custGeom>
              <a:avLst/>
              <a:gdLst/>
              <a:ahLst/>
              <a:cxnLst/>
              <a:rect l="0" t="0" r="0" b="0"/>
              <a:pathLst>
                <a:path w="415204" h="383908">
                  <a:moveTo>
                    <a:pt x="180822" y="383908"/>
                  </a:moveTo>
                  <a:lnTo>
                    <a:pt x="177546" y="373529"/>
                  </a:lnTo>
                  <a:lnTo>
                    <a:pt x="171158" y="366252"/>
                  </a:lnTo>
                  <a:lnTo>
                    <a:pt x="168930" y="356543"/>
                  </a:lnTo>
                  <a:lnTo>
                    <a:pt x="158272" y="347926"/>
                  </a:lnTo>
                  <a:lnTo>
                    <a:pt x="146377" y="327615"/>
                  </a:lnTo>
                  <a:lnTo>
                    <a:pt x="139329" y="307831"/>
                  </a:lnTo>
                  <a:lnTo>
                    <a:pt x="124626" y="291241"/>
                  </a:lnTo>
                  <a:lnTo>
                    <a:pt x="115722" y="287352"/>
                  </a:lnTo>
                  <a:lnTo>
                    <a:pt x="101037" y="264321"/>
                  </a:lnTo>
                  <a:lnTo>
                    <a:pt x="97334" y="247440"/>
                  </a:lnTo>
                  <a:lnTo>
                    <a:pt x="96841" y="233006"/>
                  </a:lnTo>
                  <a:lnTo>
                    <a:pt x="83389" y="206189"/>
                  </a:lnTo>
                  <a:lnTo>
                    <a:pt x="73572" y="196827"/>
                  </a:lnTo>
                  <a:lnTo>
                    <a:pt x="62835" y="191946"/>
                  </a:lnTo>
                  <a:lnTo>
                    <a:pt x="55264" y="178109"/>
                  </a:lnTo>
                  <a:lnTo>
                    <a:pt x="55765" y="172600"/>
                  </a:lnTo>
                  <a:lnTo>
                    <a:pt x="49270" y="160078"/>
                  </a:lnTo>
                  <a:lnTo>
                    <a:pt x="43216" y="154735"/>
                  </a:lnTo>
                  <a:lnTo>
                    <a:pt x="34042" y="136773"/>
                  </a:lnTo>
                  <a:lnTo>
                    <a:pt x="20596" y="117362"/>
                  </a:lnTo>
                  <a:lnTo>
                    <a:pt x="9311" y="100833"/>
                  </a:lnTo>
                  <a:lnTo>
                    <a:pt x="0" y="101092"/>
                  </a:lnTo>
                  <a:lnTo>
                    <a:pt x="1526" y="87725"/>
                  </a:lnTo>
                  <a:lnTo>
                    <a:pt x="1457" y="79216"/>
                  </a:lnTo>
                  <a:lnTo>
                    <a:pt x="2725" y="69494"/>
                  </a:lnTo>
                  <a:lnTo>
                    <a:pt x="23886" y="73020"/>
                  </a:lnTo>
                  <a:lnTo>
                    <a:pt x="31096" y="65414"/>
                  </a:lnTo>
                  <a:lnTo>
                    <a:pt x="34541" y="56595"/>
                  </a:lnTo>
                  <a:lnTo>
                    <a:pt x="48322" y="52987"/>
                  </a:lnTo>
                  <a:lnTo>
                    <a:pt x="50397" y="44798"/>
                  </a:lnTo>
                  <a:lnTo>
                    <a:pt x="56024" y="40563"/>
                  </a:lnTo>
                  <a:lnTo>
                    <a:pt x="34595" y="16612"/>
                  </a:lnTo>
                  <a:lnTo>
                    <a:pt x="69933" y="3732"/>
                  </a:lnTo>
                  <a:lnTo>
                    <a:pt x="72949" y="0"/>
                  </a:lnTo>
                  <a:lnTo>
                    <a:pt x="96007" y="6147"/>
                  </a:lnTo>
                  <a:lnTo>
                    <a:pt x="125831" y="22612"/>
                  </a:lnTo>
                  <a:lnTo>
                    <a:pt x="184903" y="70502"/>
                  </a:lnTo>
                  <a:lnTo>
                    <a:pt x="219793" y="71722"/>
                  </a:lnTo>
                  <a:lnTo>
                    <a:pt x="236727" y="73718"/>
                  </a:lnTo>
                  <a:lnTo>
                    <a:pt x="243056" y="85243"/>
                  </a:lnTo>
                  <a:lnTo>
                    <a:pt x="256159" y="84322"/>
                  </a:lnTo>
                  <a:lnTo>
                    <a:pt x="266522" y="105219"/>
                  </a:lnTo>
                  <a:lnTo>
                    <a:pt x="276534" y="110600"/>
                  </a:lnTo>
                  <a:lnTo>
                    <a:pt x="280968" y="119111"/>
                  </a:lnTo>
                  <a:lnTo>
                    <a:pt x="295217" y="129110"/>
                  </a:lnTo>
                  <a:lnTo>
                    <a:pt x="297770" y="139173"/>
                  </a:lnTo>
                  <a:lnTo>
                    <a:pt x="297018" y="147354"/>
                  </a:lnTo>
                  <a:lnTo>
                    <a:pt x="300524" y="155518"/>
                  </a:lnTo>
                  <a:lnTo>
                    <a:pt x="306877" y="162260"/>
                  </a:lnTo>
                  <a:lnTo>
                    <a:pt x="310468" y="170229"/>
                  </a:lnTo>
                  <a:lnTo>
                    <a:pt x="314093" y="176168"/>
                  </a:lnTo>
                  <a:lnTo>
                    <a:pt x="320456" y="180907"/>
                  </a:lnTo>
                  <a:lnTo>
                    <a:pt x="325473" y="179063"/>
                  </a:lnTo>
                  <a:lnTo>
                    <a:pt x="330307" y="188336"/>
                  </a:lnTo>
                  <a:lnTo>
                    <a:pt x="331771" y="193983"/>
                  </a:lnTo>
                  <a:lnTo>
                    <a:pt x="342220" y="218644"/>
                  </a:lnTo>
                  <a:lnTo>
                    <a:pt x="401045" y="229880"/>
                  </a:lnTo>
                  <a:lnTo>
                    <a:pt x="404207" y="224615"/>
                  </a:lnTo>
                  <a:lnTo>
                    <a:pt x="415204" y="241825"/>
                  </a:lnTo>
                  <a:lnTo>
                    <a:pt x="408411" y="291166"/>
                  </a:lnTo>
                  <a:lnTo>
                    <a:pt x="353391" y="316670"/>
                  </a:lnTo>
                  <a:lnTo>
                    <a:pt x="298758" y="326909"/>
                  </a:lnTo>
                  <a:lnTo>
                    <a:pt x="281774" y="338175"/>
                  </a:lnTo>
                  <a:lnTo>
                    <a:pt x="270169" y="364038"/>
                  </a:lnTo>
                  <a:lnTo>
                    <a:pt x="261474" y="368230"/>
                  </a:lnTo>
                  <a:lnTo>
                    <a:pt x="255958" y="360145"/>
                  </a:lnTo>
                  <a:lnTo>
                    <a:pt x="248642" y="361463"/>
                  </a:lnTo>
                  <a:lnTo>
                    <a:pt x="229737" y="359257"/>
                  </a:lnTo>
                  <a:lnTo>
                    <a:pt x="225991" y="356860"/>
                  </a:lnTo>
                  <a:lnTo>
                    <a:pt x="203713" y="357698"/>
                  </a:lnTo>
                  <a:lnTo>
                    <a:pt x="198642" y="359967"/>
                  </a:lnTo>
                  <a:lnTo>
                    <a:pt x="190197" y="353720"/>
                  </a:lnTo>
                  <a:lnTo>
                    <a:pt x="186000" y="365771"/>
                  </a:lnTo>
                  <a:lnTo>
                    <a:pt x="188762" y="376031"/>
                  </a:lnTo>
                  <a:lnTo>
                    <a:pt x="180822" y="383908"/>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16" name="Polygon form 80"/>
            <p:cNvSpPr/>
            <p:nvPr/>
          </p:nvSpPr>
          <p:spPr>
            <a:xfrm>
              <a:off x="4389024" y="3510930"/>
              <a:ext cx="313925" cy="326480"/>
            </a:xfrm>
            <a:custGeom>
              <a:avLst/>
              <a:gdLst/>
              <a:ahLst/>
              <a:cxnLst/>
              <a:rect l="0" t="0" r="0" b="0"/>
              <a:pathLst>
                <a:path w="313925" h="326480">
                  <a:moveTo>
                    <a:pt x="237933" y="305182"/>
                  </a:moveTo>
                  <a:lnTo>
                    <a:pt x="235200" y="304715"/>
                  </a:lnTo>
                  <a:lnTo>
                    <a:pt x="235129" y="292617"/>
                  </a:lnTo>
                  <a:lnTo>
                    <a:pt x="232480" y="284288"/>
                  </a:lnTo>
                  <a:lnTo>
                    <a:pt x="222039" y="274752"/>
                  </a:lnTo>
                  <a:lnTo>
                    <a:pt x="219026" y="257253"/>
                  </a:lnTo>
                  <a:lnTo>
                    <a:pt x="220658" y="239309"/>
                  </a:lnTo>
                  <a:lnTo>
                    <a:pt x="211526" y="237699"/>
                  </a:lnTo>
                  <a:lnTo>
                    <a:pt x="210404" y="243127"/>
                  </a:lnTo>
                  <a:lnTo>
                    <a:pt x="198702" y="244449"/>
                  </a:lnTo>
                  <a:lnTo>
                    <a:pt x="203681" y="251507"/>
                  </a:lnTo>
                  <a:lnTo>
                    <a:pt x="205912" y="266086"/>
                  </a:lnTo>
                  <a:lnTo>
                    <a:pt x="195622" y="279483"/>
                  </a:lnTo>
                  <a:lnTo>
                    <a:pt x="186435" y="297035"/>
                  </a:lnTo>
                  <a:lnTo>
                    <a:pt x="176408" y="299583"/>
                  </a:lnTo>
                  <a:lnTo>
                    <a:pt x="159467" y="285500"/>
                  </a:lnTo>
                  <a:lnTo>
                    <a:pt x="152216" y="290532"/>
                  </a:lnTo>
                  <a:lnTo>
                    <a:pt x="150408" y="297621"/>
                  </a:lnTo>
                  <a:lnTo>
                    <a:pt x="140435" y="302246"/>
                  </a:lnTo>
                  <a:lnTo>
                    <a:pt x="139902" y="307245"/>
                  </a:lnTo>
                  <a:lnTo>
                    <a:pt x="120356" y="307327"/>
                  </a:lnTo>
                  <a:lnTo>
                    <a:pt x="117525" y="302344"/>
                  </a:lnTo>
                  <a:lnTo>
                    <a:pt x="103352" y="301570"/>
                  </a:lnTo>
                  <a:lnTo>
                    <a:pt x="96386" y="305759"/>
                  </a:lnTo>
                  <a:lnTo>
                    <a:pt x="90941" y="303701"/>
                  </a:lnTo>
                  <a:lnTo>
                    <a:pt x="80463" y="289600"/>
                  </a:lnTo>
                  <a:lnTo>
                    <a:pt x="76916" y="282960"/>
                  </a:lnTo>
                  <a:lnTo>
                    <a:pt x="62868" y="286345"/>
                  </a:lnTo>
                  <a:lnTo>
                    <a:pt x="57768" y="297591"/>
                  </a:lnTo>
                  <a:lnTo>
                    <a:pt x="53222" y="319227"/>
                  </a:lnTo>
                  <a:lnTo>
                    <a:pt x="46578" y="323822"/>
                  </a:lnTo>
                  <a:lnTo>
                    <a:pt x="40601" y="326480"/>
                  </a:lnTo>
                  <a:lnTo>
                    <a:pt x="38982" y="325358"/>
                  </a:lnTo>
                  <a:lnTo>
                    <a:pt x="32022" y="318409"/>
                  </a:lnTo>
                  <a:lnTo>
                    <a:pt x="30596" y="310890"/>
                  </a:lnTo>
                  <a:lnTo>
                    <a:pt x="33557" y="300805"/>
                  </a:lnTo>
                  <a:lnTo>
                    <a:pt x="33264" y="290927"/>
                  </a:lnTo>
                  <a:lnTo>
                    <a:pt x="21582" y="275837"/>
                  </a:lnTo>
                  <a:lnTo>
                    <a:pt x="19095" y="265488"/>
                  </a:lnTo>
                  <a:lnTo>
                    <a:pt x="19177" y="259625"/>
                  </a:lnTo>
                  <a:lnTo>
                    <a:pt x="11791" y="252522"/>
                  </a:lnTo>
                  <a:lnTo>
                    <a:pt x="11187" y="238466"/>
                  </a:lnTo>
                  <a:lnTo>
                    <a:pt x="6823" y="229147"/>
                  </a:lnTo>
                  <a:lnTo>
                    <a:pt x="0" y="230578"/>
                  </a:lnTo>
                  <a:lnTo>
                    <a:pt x="1713" y="221682"/>
                  </a:lnTo>
                  <a:lnTo>
                    <a:pt x="6469" y="211573"/>
                  </a:lnTo>
                  <a:lnTo>
                    <a:pt x="3948" y="201562"/>
                  </a:lnTo>
                  <a:lnTo>
                    <a:pt x="10121" y="194109"/>
                  </a:lnTo>
                  <a:lnTo>
                    <a:pt x="5872" y="188476"/>
                  </a:lnTo>
                  <a:lnTo>
                    <a:pt x="10518" y="173508"/>
                  </a:lnTo>
                  <a:lnTo>
                    <a:pt x="18760" y="155639"/>
                  </a:lnTo>
                  <a:lnTo>
                    <a:pt x="35583" y="157234"/>
                  </a:lnTo>
                  <a:lnTo>
                    <a:pt x="30472" y="61156"/>
                  </a:lnTo>
                  <a:lnTo>
                    <a:pt x="30214" y="51000"/>
                  </a:lnTo>
                  <a:lnTo>
                    <a:pt x="52334" y="50759"/>
                  </a:lnTo>
                  <a:lnTo>
                    <a:pt x="49703" y="2413"/>
                  </a:lnTo>
                  <a:lnTo>
                    <a:pt x="126604" y="1702"/>
                  </a:lnTo>
                  <a:lnTo>
                    <a:pt x="200810" y="913"/>
                  </a:lnTo>
                  <a:lnTo>
                    <a:pt x="276646" y="0"/>
                  </a:lnTo>
                  <a:lnTo>
                    <a:pt x="284797" y="23776"/>
                  </a:lnTo>
                  <a:lnTo>
                    <a:pt x="280947" y="28238"/>
                  </a:lnTo>
                  <a:lnTo>
                    <a:pt x="285694" y="53236"/>
                  </a:lnTo>
                  <a:lnTo>
                    <a:pt x="294922" y="82190"/>
                  </a:lnTo>
                  <a:lnTo>
                    <a:pt x="302708" y="88099"/>
                  </a:lnTo>
                  <a:lnTo>
                    <a:pt x="313925" y="96975"/>
                  </a:lnTo>
                  <a:lnTo>
                    <a:pt x="305109" y="110967"/>
                  </a:lnTo>
                  <a:lnTo>
                    <a:pt x="291123" y="115113"/>
                  </a:lnTo>
                  <a:lnTo>
                    <a:pt x="285512" y="122631"/>
                  </a:lnTo>
                  <a:lnTo>
                    <a:pt x="284621" y="138814"/>
                  </a:lnTo>
                  <a:lnTo>
                    <a:pt x="278346" y="174622"/>
                  </a:lnTo>
                  <a:lnTo>
                    <a:pt x="280949" y="184341"/>
                  </a:lnTo>
                  <a:lnTo>
                    <a:pt x="278937" y="205251"/>
                  </a:lnTo>
                  <a:lnTo>
                    <a:pt x="272160" y="229263"/>
                  </a:lnTo>
                  <a:lnTo>
                    <a:pt x="260912" y="241390"/>
                  </a:lnTo>
                  <a:lnTo>
                    <a:pt x="253302" y="260013"/>
                  </a:lnTo>
                  <a:lnTo>
                    <a:pt x="251728" y="269961"/>
                  </a:lnTo>
                  <a:lnTo>
                    <a:pt x="242706" y="276822"/>
                  </a:lnTo>
                  <a:lnTo>
                    <a:pt x="237802" y="302284"/>
                  </a:lnTo>
                  <a:lnTo>
                    <a:pt x="237933" y="305182"/>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117" name="Polygon form 81"/>
            <p:cNvSpPr/>
            <p:nvPr/>
          </p:nvSpPr>
          <p:spPr>
            <a:xfrm>
              <a:off x="3853070" y="3681441"/>
              <a:ext cx="149741" cy="132785"/>
            </a:xfrm>
            <a:custGeom>
              <a:avLst/>
              <a:gdLst/>
              <a:ahLst/>
              <a:cxnLst/>
              <a:rect l="0" t="0" r="0" b="0"/>
              <a:pathLst>
                <a:path w="149741" h="132785">
                  <a:moveTo>
                    <a:pt x="51694" y="132038"/>
                  </a:moveTo>
                  <a:lnTo>
                    <a:pt x="38283" y="125810"/>
                  </a:lnTo>
                  <a:lnTo>
                    <a:pt x="29086" y="126721"/>
                  </a:lnTo>
                  <a:lnTo>
                    <a:pt x="22196" y="132785"/>
                  </a:lnTo>
                  <a:lnTo>
                    <a:pt x="13395" y="127684"/>
                  </a:lnTo>
                  <a:lnTo>
                    <a:pt x="10006" y="119702"/>
                  </a:lnTo>
                  <a:lnTo>
                    <a:pt x="1215" y="114434"/>
                  </a:lnTo>
                  <a:lnTo>
                    <a:pt x="0" y="100426"/>
                  </a:lnTo>
                  <a:lnTo>
                    <a:pt x="5404" y="90203"/>
                  </a:lnTo>
                  <a:lnTo>
                    <a:pt x="5002" y="82030"/>
                  </a:lnTo>
                  <a:lnTo>
                    <a:pt x="20648" y="62047"/>
                  </a:lnTo>
                  <a:lnTo>
                    <a:pt x="23610" y="45504"/>
                  </a:lnTo>
                  <a:lnTo>
                    <a:pt x="28993" y="39620"/>
                  </a:lnTo>
                  <a:lnTo>
                    <a:pt x="38416" y="42880"/>
                  </a:lnTo>
                  <a:lnTo>
                    <a:pt x="46618" y="37974"/>
                  </a:lnTo>
                  <a:lnTo>
                    <a:pt x="49298" y="31778"/>
                  </a:lnTo>
                  <a:lnTo>
                    <a:pt x="64467" y="20972"/>
                  </a:lnTo>
                  <a:lnTo>
                    <a:pt x="68208" y="13433"/>
                  </a:lnTo>
                  <a:lnTo>
                    <a:pt x="86432" y="3432"/>
                  </a:lnTo>
                  <a:lnTo>
                    <a:pt x="97151" y="0"/>
                  </a:lnTo>
                  <a:lnTo>
                    <a:pt x="102006" y="4629"/>
                  </a:lnTo>
                  <a:lnTo>
                    <a:pt x="114487" y="4518"/>
                  </a:lnTo>
                  <a:lnTo>
                    <a:pt x="112950" y="16210"/>
                  </a:lnTo>
                  <a:lnTo>
                    <a:pt x="115573" y="27198"/>
                  </a:lnTo>
                  <a:lnTo>
                    <a:pt x="126576" y="42950"/>
                  </a:lnTo>
                  <a:lnTo>
                    <a:pt x="127198" y="54624"/>
                  </a:lnTo>
                  <a:lnTo>
                    <a:pt x="149741" y="60088"/>
                  </a:lnTo>
                  <a:lnTo>
                    <a:pt x="149344" y="76611"/>
                  </a:lnTo>
                  <a:lnTo>
                    <a:pt x="145085" y="83826"/>
                  </a:lnTo>
                  <a:lnTo>
                    <a:pt x="135521" y="86083"/>
                  </a:lnTo>
                  <a:lnTo>
                    <a:pt x="131548" y="96631"/>
                  </a:lnTo>
                  <a:lnTo>
                    <a:pt x="124814" y="99363"/>
                  </a:lnTo>
                  <a:lnTo>
                    <a:pt x="107656" y="98849"/>
                  </a:lnTo>
                  <a:lnTo>
                    <a:pt x="98595" y="96927"/>
                  </a:lnTo>
                  <a:lnTo>
                    <a:pt x="92267" y="100820"/>
                  </a:lnTo>
                  <a:lnTo>
                    <a:pt x="83613" y="99060"/>
                  </a:lnTo>
                  <a:lnTo>
                    <a:pt x="49576" y="100185"/>
                  </a:lnTo>
                  <a:lnTo>
                    <a:pt x="49072" y="113873"/>
                  </a:lnTo>
                  <a:lnTo>
                    <a:pt x="51694" y="132038"/>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118" name="Polygon form 82"/>
            <p:cNvSpPr/>
            <p:nvPr/>
          </p:nvSpPr>
          <p:spPr>
            <a:xfrm>
              <a:off x="4429625" y="3748629"/>
              <a:ext cx="226128" cy="212308"/>
            </a:xfrm>
            <a:custGeom>
              <a:avLst/>
              <a:gdLst/>
              <a:ahLst/>
              <a:cxnLst/>
              <a:rect l="0" t="0" r="0" b="0"/>
              <a:pathLst>
                <a:path w="226128" h="212308">
                  <a:moveTo>
                    <a:pt x="197332" y="67483"/>
                  </a:moveTo>
                  <a:lnTo>
                    <a:pt x="198157" y="86429"/>
                  </a:lnTo>
                  <a:lnTo>
                    <a:pt x="195440" y="93863"/>
                  </a:lnTo>
                  <a:lnTo>
                    <a:pt x="185028" y="94507"/>
                  </a:lnTo>
                  <a:lnTo>
                    <a:pt x="178710" y="108371"/>
                  </a:lnTo>
                  <a:lnTo>
                    <a:pt x="190832" y="110062"/>
                  </a:lnTo>
                  <a:lnTo>
                    <a:pt x="201107" y="121865"/>
                  </a:lnTo>
                  <a:lnTo>
                    <a:pt x="204793" y="131570"/>
                  </a:lnTo>
                  <a:lnTo>
                    <a:pt x="213916" y="137173"/>
                  </a:lnTo>
                  <a:lnTo>
                    <a:pt x="226128" y="163591"/>
                  </a:lnTo>
                  <a:lnTo>
                    <a:pt x="213066" y="179648"/>
                  </a:lnTo>
                  <a:lnTo>
                    <a:pt x="201169" y="194194"/>
                  </a:lnTo>
                  <a:lnTo>
                    <a:pt x="189195" y="205395"/>
                  </a:lnTo>
                  <a:lnTo>
                    <a:pt x="175318" y="205366"/>
                  </a:lnTo>
                  <a:lnTo>
                    <a:pt x="159510" y="211079"/>
                  </a:lnTo>
                  <a:lnTo>
                    <a:pt x="146903" y="205673"/>
                  </a:lnTo>
                  <a:lnTo>
                    <a:pt x="138859" y="212308"/>
                  </a:lnTo>
                  <a:lnTo>
                    <a:pt x="121304" y="196214"/>
                  </a:lnTo>
                  <a:lnTo>
                    <a:pt x="116483" y="185861"/>
                  </a:lnTo>
                  <a:lnTo>
                    <a:pt x="105572" y="191016"/>
                  </a:lnTo>
                  <a:lnTo>
                    <a:pt x="96435" y="189438"/>
                  </a:lnTo>
                  <a:lnTo>
                    <a:pt x="91208" y="193520"/>
                  </a:lnTo>
                  <a:lnTo>
                    <a:pt x="82318" y="190597"/>
                  </a:lnTo>
                  <a:lnTo>
                    <a:pt x="70106" y="170610"/>
                  </a:lnTo>
                  <a:lnTo>
                    <a:pt x="66822" y="162934"/>
                  </a:lnTo>
                  <a:lnTo>
                    <a:pt x="51945" y="153378"/>
                  </a:lnTo>
                  <a:lnTo>
                    <a:pt x="46729" y="138856"/>
                  </a:lnTo>
                  <a:lnTo>
                    <a:pt x="38338" y="128395"/>
                  </a:lnTo>
                  <a:lnTo>
                    <a:pt x="24868" y="115819"/>
                  </a:lnTo>
                  <a:lnTo>
                    <a:pt x="24533" y="107947"/>
                  </a:lnTo>
                  <a:lnTo>
                    <a:pt x="13568" y="98195"/>
                  </a:lnTo>
                  <a:lnTo>
                    <a:pt x="0" y="88782"/>
                  </a:lnTo>
                  <a:lnTo>
                    <a:pt x="5977" y="86124"/>
                  </a:lnTo>
                  <a:lnTo>
                    <a:pt x="12622" y="81528"/>
                  </a:lnTo>
                  <a:lnTo>
                    <a:pt x="17167" y="59893"/>
                  </a:lnTo>
                  <a:lnTo>
                    <a:pt x="22267" y="48646"/>
                  </a:lnTo>
                  <a:lnTo>
                    <a:pt x="36315" y="45261"/>
                  </a:lnTo>
                  <a:lnTo>
                    <a:pt x="39862" y="51901"/>
                  </a:lnTo>
                  <a:lnTo>
                    <a:pt x="50340" y="66002"/>
                  </a:lnTo>
                  <a:lnTo>
                    <a:pt x="55785" y="68060"/>
                  </a:lnTo>
                  <a:lnTo>
                    <a:pt x="62751" y="63872"/>
                  </a:lnTo>
                  <a:lnTo>
                    <a:pt x="76924" y="64645"/>
                  </a:lnTo>
                  <a:lnTo>
                    <a:pt x="79755" y="69628"/>
                  </a:lnTo>
                  <a:lnTo>
                    <a:pt x="99301" y="69546"/>
                  </a:lnTo>
                  <a:lnTo>
                    <a:pt x="99834" y="64547"/>
                  </a:lnTo>
                  <a:lnTo>
                    <a:pt x="109807" y="59922"/>
                  </a:lnTo>
                  <a:lnTo>
                    <a:pt x="111615" y="52834"/>
                  </a:lnTo>
                  <a:lnTo>
                    <a:pt x="118866" y="47801"/>
                  </a:lnTo>
                  <a:lnTo>
                    <a:pt x="135807" y="61884"/>
                  </a:lnTo>
                  <a:lnTo>
                    <a:pt x="145834" y="59336"/>
                  </a:lnTo>
                  <a:lnTo>
                    <a:pt x="155021" y="41784"/>
                  </a:lnTo>
                  <a:lnTo>
                    <a:pt x="165311" y="28387"/>
                  </a:lnTo>
                  <a:lnTo>
                    <a:pt x="163080" y="13808"/>
                  </a:lnTo>
                  <a:lnTo>
                    <a:pt x="158101" y="6750"/>
                  </a:lnTo>
                  <a:lnTo>
                    <a:pt x="169803" y="5428"/>
                  </a:lnTo>
                  <a:lnTo>
                    <a:pt x="170925" y="0"/>
                  </a:lnTo>
                  <a:lnTo>
                    <a:pt x="180057" y="1610"/>
                  </a:lnTo>
                  <a:lnTo>
                    <a:pt x="178426" y="19554"/>
                  </a:lnTo>
                  <a:lnTo>
                    <a:pt x="181438" y="37054"/>
                  </a:lnTo>
                  <a:lnTo>
                    <a:pt x="191879" y="46589"/>
                  </a:lnTo>
                  <a:lnTo>
                    <a:pt x="194529" y="54919"/>
                  </a:lnTo>
                  <a:lnTo>
                    <a:pt x="194600" y="67017"/>
                  </a:lnTo>
                  <a:lnTo>
                    <a:pt x="197332" y="67483"/>
                  </a:lnTo>
                  <a:close/>
                </a:path>
              </a:pathLst>
            </a:custGeom>
            <a:solidFill>
              <a:srgbClr val="F7FBFF">
                <a:alpha val="100000"/>
              </a:srgbClr>
            </a:solidFill>
            <a:ln w="5400">
              <a:solidFill>
                <a:srgbClr val="7F7F7F">
                  <a:alpha val="100000"/>
                </a:srgbClr>
              </a:solidFill>
              <a:prstDash val="solid"/>
              <a:round/>
            </a:ln>
          </p:spPr>
          <p:txBody>
            <a:bodyPr/>
            <a:lstStyle/>
            <a:p/>
          </p:txBody>
        </p:sp>
        <p:sp>
          <p:nvSpPr>
            <p:cNvPr id="119" name="Polygon form 83"/>
            <p:cNvSpPr/>
            <p:nvPr/>
          </p:nvSpPr>
          <p:spPr>
            <a:xfrm>
              <a:off x="3617040" y="3645158"/>
              <a:ext cx="119125" cy="103155"/>
            </a:xfrm>
            <a:custGeom>
              <a:avLst/>
              <a:gdLst/>
              <a:ahLst/>
              <a:cxnLst/>
              <a:rect l="0" t="0" r="0" b="0"/>
              <a:pathLst>
                <a:path w="119125" h="103155">
                  <a:moveTo>
                    <a:pt x="17080" y="72407"/>
                  </a:moveTo>
                  <a:lnTo>
                    <a:pt x="9495" y="53563"/>
                  </a:lnTo>
                  <a:lnTo>
                    <a:pt x="0" y="44920"/>
                  </a:lnTo>
                  <a:lnTo>
                    <a:pt x="8685" y="40364"/>
                  </a:lnTo>
                  <a:lnTo>
                    <a:pt x="18559" y="23436"/>
                  </a:lnTo>
                  <a:lnTo>
                    <a:pt x="23511" y="11047"/>
                  </a:lnTo>
                  <a:lnTo>
                    <a:pt x="30369" y="3327"/>
                  </a:lnTo>
                  <a:lnTo>
                    <a:pt x="39959" y="5452"/>
                  </a:lnTo>
                  <a:lnTo>
                    <a:pt x="49564" y="224"/>
                  </a:lnTo>
                  <a:lnTo>
                    <a:pt x="60403" y="0"/>
                  </a:lnTo>
                  <a:lnTo>
                    <a:pt x="69503" y="7134"/>
                  </a:lnTo>
                  <a:lnTo>
                    <a:pt x="82246" y="13577"/>
                  </a:lnTo>
                  <a:lnTo>
                    <a:pt x="93632" y="31380"/>
                  </a:lnTo>
                  <a:lnTo>
                    <a:pt x="106158" y="48003"/>
                  </a:lnTo>
                  <a:lnTo>
                    <a:pt x="106785" y="63027"/>
                  </a:lnTo>
                  <a:lnTo>
                    <a:pt x="110398" y="76863"/>
                  </a:lnTo>
                  <a:lnTo>
                    <a:pt x="117598" y="83662"/>
                  </a:lnTo>
                  <a:lnTo>
                    <a:pt x="119125" y="93002"/>
                  </a:lnTo>
                  <a:lnTo>
                    <a:pt x="118114" y="100522"/>
                  </a:lnTo>
                  <a:lnTo>
                    <a:pt x="115272" y="101877"/>
                  </a:lnTo>
                  <a:lnTo>
                    <a:pt x="104641" y="99944"/>
                  </a:lnTo>
                  <a:lnTo>
                    <a:pt x="103132" y="102626"/>
                  </a:lnTo>
                  <a:lnTo>
                    <a:pt x="98813" y="103155"/>
                  </a:lnTo>
                  <a:lnTo>
                    <a:pt x="84858" y="97233"/>
                  </a:lnTo>
                  <a:lnTo>
                    <a:pt x="75428" y="96959"/>
                  </a:lnTo>
                  <a:lnTo>
                    <a:pt x="39329" y="95842"/>
                  </a:lnTo>
                  <a:lnTo>
                    <a:pt x="34034" y="98546"/>
                  </a:lnTo>
                  <a:lnTo>
                    <a:pt x="27577" y="97748"/>
                  </a:lnTo>
                  <a:lnTo>
                    <a:pt x="17139" y="101652"/>
                  </a:lnTo>
                  <a:lnTo>
                    <a:pt x="14339" y="83117"/>
                  </a:lnTo>
                  <a:lnTo>
                    <a:pt x="32102" y="83687"/>
                  </a:lnTo>
                  <a:lnTo>
                    <a:pt x="36866" y="80318"/>
                  </a:lnTo>
                  <a:lnTo>
                    <a:pt x="40369" y="80131"/>
                  </a:lnTo>
                  <a:lnTo>
                    <a:pt x="47721" y="74574"/>
                  </a:lnTo>
                  <a:lnTo>
                    <a:pt x="55989" y="79705"/>
                  </a:lnTo>
                  <a:lnTo>
                    <a:pt x="64463" y="80156"/>
                  </a:lnTo>
                  <a:lnTo>
                    <a:pt x="73014" y="74759"/>
                  </a:lnTo>
                  <a:lnTo>
                    <a:pt x="69209" y="67767"/>
                  </a:lnTo>
                  <a:lnTo>
                    <a:pt x="62695" y="71815"/>
                  </a:lnTo>
                  <a:lnTo>
                    <a:pt x="56643" y="71683"/>
                  </a:lnTo>
                  <a:lnTo>
                    <a:pt x="49068" y="65713"/>
                  </a:lnTo>
                  <a:lnTo>
                    <a:pt x="42876" y="66082"/>
                  </a:lnTo>
                  <a:lnTo>
                    <a:pt x="38346" y="71788"/>
                  </a:lnTo>
                  <a:lnTo>
                    <a:pt x="17080" y="72407"/>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120" name="Polygon form 84"/>
            <p:cNvSpPr/>
            <p:nvPr/>
          </p:nvSpPr>
          <p:spPr>
            <a:xfrm>
              <a:off x="3700048" y="3803514"/>
              <a:ext cx="59145" cy="78752"/>
            </a:xfrm>
            <a:custGeom>
              <a:avLst/>
              <a:gdLst/>
              <a:ahLst/>
              <a:cxnLst/>
              <a:rect l="0" t="0" r="0" b="0"/>
              <a:pathLst>
                <a:path w="59145" h="78752">
                  <a:moveTo>
                    <a:pt x="35044" y="78752"/>
                  </a:moveTo>
                  <a:lnTo>
                    <a:pt x="29755" y="76954"/>
                  </a:lnTo>
                  <a:lnTo>
                    <a:pt x="15672" y="67209"/>
                  </a:lnTo>
                  <a:lnTo>
                    <a:pt x="5550" y="54257"/>
                  </a:lnTo>
                  <a:lnTo>
                    <a:pt x="2203" y="45429"/>
                  </a:lnTo>
                  <a:lnTo>
                    <a:pt x="0" y="27575"/>
                  </a:lnTo>
                  <a:lnTo>
                    <a:pt x="10627" y="16977"/>
                  </a:lnTo>
                  <a:lnTo>
                    <a:pt x="12971" y="10281"/>
                  </a:lnTo>
                  <a:lnTo>
                    <a:pt x="16387" y="5080"/>
                  </a:lnTo>
                  <a:lnTo>
                    <a:pt x="21801" y="4541"/>
                  </a:lnTo>
                  <a:lnTo>
                    <a:pt x="26429" y="0"/>
                  </a:lnTo>
                  <a:lnTo>
                    <a:pt x="42119" y="55"/>
                  </a:lnTo>
                  <a:lnTo>
                    <a:pt x="47484" y="8698"/>
                  </a:lnTo>
                  <a:lnTo>
                    <a:pt x="51634" y="18852"/>
                  </a:lnTo>
                  <a:lnTo>
                    <a:pt x="50929" y="25870"/>
                  </a:lnTo>
                  <a:lnTo>
                    <a:pt x="54021" y="32191"/>
                  </a:lnTo>
                  <a:lnTo>
                    <a:pt x="53721" y="41042"/>
                  </a:lnTo>
                  <a:lnTo>
                    <a:pt x="59145" y="39665"/>
                  </a:lnTo>
                  <a:lnTo>
                    <a:pt x="49896" y="50921"/>
                  </a:lnTo>
                  <a:lnTo>
                    <a:pt x="40912" y="64013"/>
                  </a:lnTo>
                  <a:lnTo>
                    <a:pt x="39809" y="71034"/>
                  </a:lnTo>
                  <a:lnTo>
                    <a:pt x="35044" y="78752"/>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121" name="Polygon form 85"/>
            <p:cNvSpPr/>
            <p:nvPr/>
          </p:nvSpPr>
          <p:spPr>
            <a:xfrm>
              <a:off x="2204429" y="3679533"/>
              <a:ext cx="46286" cy="32935"/>
            </a:xfrm>
            <a:custGeom>
              <a:avLst/>
              <a:gdLst/>
              <a:ahLst/>
              <a:cxnLst/>
              <a:rect l="0" t="0" r="0" b="0"/>
              <a:pathLst>
                <a:path w="46286" h="32935">
                  <a:moveTo>
                    <a:pt x="43656" y="27016"/>
                  </a:moveTo>
                  <a:lnTo>
                    <a:pt x="40762" y="32935"/>
                  </a:lnTo>
                  <a:lnTo>
                    <a:pt x="29531" y="32324"/>
                  </a:lnTo>
                  <a:lnTo>
                    <a:pt x="22824" y="29749"/>
                  </a:lnTo>
                  <a:lnTo>
                    <a:pt x="15410" y="24536"/>
                  </a:lnTo>
                  <a:lnTo>
                    <a:pt x="4801" y="22727"/>
                  </a:lnTo>
                  <a:lnTo>
                    <a:pt x="0" y="17154"/>
                  </a:lnTo>
                  <a:lnTo>
                    <a:pt x="1090" y="13445"/>
                  </a:lnTo>
                  <a:lnTo>
                    <a:pt x="8602" y="7191"/>
                  </a:lnTo>
                  <a:lnTo>
                    <a:pt x="12626" y="4468"/>
                  </a:lnTo>
                  <a:lnTo>
                    <a:pt x="11999" y="1457"/>
                  </a:lnTo>
                  <a:lnTo>
                    <a:pt x="16755" y="0"/>
                  </a:lnTo>
                  <a:lnTo>
                    <a:pt x="22190" y="2264"/>
                  </a:lnTo>
                  <a:lnTo>
                    <a:pt x="25697" y="7417"/>
                  </a:lnTo>
                  <a:lnTo>
                    <a:pt x="31027" y="11612"/>
                  </a:lnTo>
                  <a:lnTo>
                    <a:pt x="31307" y="15041"/>
                  </a:lnTo>
                  <a:lnTo>
                    <a:pt x="40226" y="12208"/>
                  </a:lnTo>
                  <a:lnTo>
                    <a:pt x="43993" y="14102"/>
                  </a:lnTo>
                  <a:lnTo>
                    <a:pt x="46286" y="16900"/>
                  </a:lnTo>
                  <a:lnTo>
                    <a:pt x="43656" y="27016"/>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122" name="Polygon form 86"/>
            <p:cNvSpPr/>
            <p:nvPr/>
          </p:nvSpPr>
          <p:spPr>
            <a:xfrm>
              <a:off x="4794467" y="3766309"/>
              <a:ext cx="126387" cy="84142"/>
            </a:xfrm>
            <a:custGeom>
              <a:avLst/>
              <a:gdLst/>
              <a:ahLst/>
              <a:cxnLst/>
              <a:rect l="0" t="0" r="0" b="0"/>
              <a:pathLst>
                <a:path w="126387" h="84142">
                  <a:moveTo>
                    <a:pt x="126387" y="48267"/>
                  </a:moveTo>
                  <a:lnTo>
                    <a:pt x="118214" y="63370"/>
                  </a:lnTo>
                  <a:lnTo>
                    <a:pt x="105365" y="83891"/>
                  </a:lnTo>
                  <a:lnTo>
                    <a:pt x="88837" y="84142"/>
                  </a:lnTo>
                  <a:lnTo>
                    <a:pt x="23450" y="55542"/>
                  </a:lnTo>
                  <a:lnTo>
                    <a:pt x="15593" y="46878"/>
                  </a:lnTo>
                  <a:lnTo>
                    <a:pt x="7848" y="35176"/>
                  </a:lnTo>
                  <a:lnTo>
                    <a:pt x="0" y="21791"/>
                  </a:lnTo>
                  <a:lnTo>
                    <a:pt x="3865" y="13115"/>
                  </a:lnTo>
                  <a:lnTo>
                    <a:pt x="10433" y="0"/>
                  </a:lnTo>
                  <a:lnTo>
                    <a:pt x="17029" y="4449"/>
                  </a:lnTo>
                  <a:lnTo>
                    <a:pt x="21368" y="14514"/>
                  </a:lnTo>
                  <a:lnTo>
                    <a:pt x="30699" y="24669"/>
                  </a:lnTo>
                  <a:lnTo>
                    <a:pt x="40432" y="24678"/>
                  </a:lnTo>
                  <a:lnTo>
                    <a:pt x="58598" y="18286"/>
                  </a:lnTo>
                  <a:lnTo>
                    <a:pt x="79773" y="15219"/>
                  </a:lnTo>
                  <a:lnTo>
                    <a:pt x="96607" y="7477"/>
                  </a:lnTo>
                  <a:lnTo>
                    <a:pt x="106228" y="5782"/>
                  </a:lnTo>
                  <a:lnTo>
                    <a:pt x="112969" y="1256"/>
                  </a:lnTo>
                  <a:lnTo>
                    <a:pt x="124063" y="296"/>
                  </a:lnTo>
                  <a:lnTo>
                    <a:pt x="123965" y="698"/>
                  </a:lnTo>
                  <a:lnTo>
                    <a:pt x="124465" y="10785"/>
                  </a:lnTo>
                  <a:lnTo>
                    <a:pt x="125764" y="35490"/>
                  </a:lnTo>
                  <a:lnTo>
                    <a:pt x="126387" y="48267"/>
                  </a:lnTo>
                  <a:close/>
                </a:path>
              </a:pathLst>
            </a:custGeom>
            <a:solidFill>
              <a:srgbClr val="F7FBFF">
                <a:alpha val="100000"/>
              </a:srgbClr>
            </a:solidFill>
            <a:ln w="5400">
              <a:solidFill>
                <a:srgbClr val="7F7F7F">
                  <a:alpha val="100000"/>
                </a:srgbClr>
              </a:solidFill>
              <a:prstDash val="solid"/>
              <a:round/>
            </a:ln>
          </p:spPr>
          <p:txBody>
            <a:bodyPr/>
            <a:lstStyle/>
            <a:p/>
          </p:txBody>
        </p:sp>
        <p:sp>
          <p:nvSpPr>
            <p:cNvPr id="123" name="Polygon form 87"/>
            <p:cNvSpPr/>
            <p:nvPr/>
          </p:nvSpPr>
          <p:spPr>
            <a:xfrm>
              <a:off x="4768874" y="3751159"/>
              <a:ext cx="191921" cy="336008"/>
            </a:xfrm>
            <a:custGeom>
              <a:avLst/>
              <a:gdLst/>
              <a:ahLst/>
              <a:cxnLst/>
              <a:rect l="0" t="0" r="0" b="0"/>
              <a:pathLst>
                <a:path w="191921" h="336008">
                  <a:moveTo>
                    <a:pt x="164686" y="11185"/>
                  </a:moveTo>
                  <a:lnTo>
                    <a:pt x="174909" y="8621"/>
                  </a:lnTo>
                  <a:lnTo>
                    <a:pt x="183645" y="141"/>
                  </a:lnTo>
                  <a:lnTo>
                    <a:pt x="191053" y="0"/>
                  </a:lnTo>
                  <a:lnTo>
                    <a:pt x="191921" y="6775"/>
                  </a:lnTo>
                  <a:lnTo>
                    <a:pt x="190976" y="21054"/>
                  </a:lnTo>
                  <a:lnTo>
                    <a:pt x="191789" y="33941"/>
                  </a:lnTo>
                  <a:lnTo>
                    <a:pt x="188138" y="42833"/>
                  </a:lnTo>
                  <a:lnTo>
                    <a:pt x="183958" y="69379"/>
                  </a:lnTo>
                  <a:lnTo>
                    <a:pt x="175725" y="96827"/>
                  </a:lnTo>
                  <a:lnTo>
                    <a:pt x="164757" y="128197"/>
                  </a:lnTo>
                  <a:lnTo>
                    <a:pt x="148956" y="164179"/>
                  </a:lnTo>
                  <a:lnTo>
                    <a:pt x="132775" y="191658"/>
                  </a:lnTo>
                  <a:lnTo>
                    <a:pt x="110149" y="225100"/>
                  </a:lnTo>
                  <a:lnTo>
                    <a:pt x="90630" y="244933"/>
                  </a:lnTo>
                  <a:lnTo>
                    <a:pt x="61278" y="269231"/>
                  </a:lnTo>
                  <a:lnTo>
                    <a:pt x="42932" y="287814"/>
                  </a:lnTo>
                  <a:lnTo>
                    <a:pt x="21288" y="317375"/>
                  </a:lnTo>
                  <a:lnTo>
                    <a:pt x="16670" y="330236"/>
                  </a:lnTo>
                  <a:lnTo>
                    <a:pt x="12174" y="336008"/>
                  </a:lnTo>
                  <a:lnTo>
                    <a:pt x="594" y="315878"/>
                  </a:lnTo>
                  <a:lnTo>
                    <a:pt x="0" y="227047"/>
                  </a:lnTo>
                  <a:lnTo>
                    <a:pt x="16849" y="199341"/>
                  </a:lnTo>
                  <a:lnTo>
                    <a:pt x="22108" y="191636"/>
                  </a:lnTo>
                  <a:lnTo>
                    <a:pt x="34740" y="191149"/>
                  </a:lnTo>
                  <a:lnTo>
                    <a:pt x="51958" y="173882"/>
                  </a:lnTo>
                  <a:lnTo>
                    <a:pt x="77609" y="172715"/>
                  </a:lnTo>
                  <a:lnTo>
                    <a:pt x="130958" y="99041"/>
                  </a:lnTo>
                  <a:lnTo>
                    <a:pt x="143808" y="78520"/>
                  </a:lnTo>
                  <a:lnTo>
                    <a:pt x="151980" y="63418"/>
                  </a:lnTo>
                  <a:lnTo>
                    <a:pt x="151357" y="50640"/>
                  </a:lnTo>
                  <a:lnTo>
                    <a:pt x="150058" y="25936"/>
                  </a:lnTo>
                  <a:lnTo>
                    <a:pt x="149558" y="15848"/>
                  </a:lnTo>
                  <a:lnTo>
                    <a:pt x="149657" y="15446"/>
                  </a:lnTo>
                  <a:lnTo>
                    <a:pt x="155882" y="14907"/>
                  </a:lnTo>
                  <a:lnTo>
                    <a:pt x="164686" y="11185"/>
                  </a:lnTo>
                  <a:close/>
                </a:path>
              </a:pathLst>
            </a:custGeom>
            <a:solidFill>
              <a:srgbClr val="9ECAE1">
                <a:alpha val="100000"/>
              </a:srgbClr>
            </a:solidFill>
            <a:ln w="5400">
              <a:solidFill>
                <a:srgbClr val="7F7F7F">
                  <a:alpha val="100000"/>
                </a:srgbClr>
              </a:solidFill>
              <a:prstDash val="solid"/>
              <a:round/>
            </a:ln>
          </p:spPr>
          <p:txBody>
            <a:bodyPr/>
            <a:lstStyle/>
            <a:p/>
          </p:txBody>
        </p:sp>
        <p:sp>
          <p:nvSpPr>
            <p:cNvPr id="124" name="Polygon form 88"/>
            <p:cNvSpPr/>
            <p:nvPr/>
          </p:nvSpPr>
          <p:spPr>
            <a:xfrm>
              <a:off x="4281007" y="2930048"/>
              <a:ext cx="78099" cy="94380"/>
            </a:xfrm>
            <a:custGeom>
              <a:avLst/>
              <a:gdLst/>
              <a:ahLst/>
              <a:cxnLst/>
              <a:rect l="0" t="0" r="0" b="0"/>
              <a:pathLst>
                <a:path w="78099" h="94380">
                  <a:moveTo>
                    <a:pt x="36048" y="17945"/>
                  </a:moveTo>
                  <a:lnTo>
                    <a:pt x="47063" y="23479"/>
                  </a:lnTo>
                  <a:lnTo>
                    <a:pt x="49476" y="33417"/>
                  </a:lnTo>
                  <a:lnTo>
                    <a:pt x="60243" y="40290"/>
                  </a:lnTo>
                  <a:lnTo>
                    <a:pt x="65037" y="34798"/>
                  </a:lnTo>
                  <a:lnTo>
                    <a:pt x="69607" y="37743"/>
                  </a:lnTo>
                  <a:lnTo>
                    <a:pt x="66079" y="41879"/>
                  </a:lnTo>
                  <a:lnTo>
                    <a:pt x="69695" y="46044"/>
                  </a:lnTo>
                  <a:lnTo>
                    <a:pt x="66048" y="51587"/>
                  </a:lnTo>
                  <a:lnTo>
                    <a:pt x="68555" y="60389"/>
                  </a:lnTo>
                  <a:lnTo>
                    <a:pt x="78099" y="70695"/>
                  </a:lnTo>
                  <a:lnTo>
                    <a:pt x="72301" y="78345"/>
                  </a:lnTo>
                  <a:lnTo>
                    <a:pt x="70190" y="86076"/>
                  </a:lnTo>
                  <a:lnTo>
                    <a:pt x="72380" y="88923"/>
                  </a:lnTo>
                  <a:lnTo>
                    <a:pt x="69870" y="92373"/>
                  </a:lnTo>
                  <a:lnTo>
                    <a:pt x="61831" y="92887"/>
                  </a:lnTo>
                  <a:lnTo>
                    <a:pt x="56036" y="94380"/>
                  </a:lnTo>
                  <a:lnTo>
                    <a:pt x="55274" y="92575"/>
                  </a:lnTo>
                  <a:lnTo>
                    <a:pt x="57069" y="89673"/>
                  </a:lnTo>
                  <a:lnTo>
                    <a:pt x="58424" y="83763"/>
                  </a:lnTo>
                  <a:lnTo>
                    <a:pt x="55967" y="83931"/>
                  </a:lnTo>
                  <a:lnTo>
                    <a:pt x="52135" y="79499"/>
                  </a:lnTo>
                  <a:lnTo>
                    <a:pt x="49163" y="78401"/>
                  </a:lnTo>
                  <a:lnTo>
                    <a:pt x="46507" y="74588"/>
                  </a:lnTo>
                  <a:lnTo>
                    <a:pt x="43115" y="73128"/>
                  </a:lnTo>
                  <a:lnTo>
                    <a:pt x="40314" y="69753"/>
                  </a:lnTo>
                  <a:lnTo>
                    <a:pt x="37336" y="71131"/>
                  </a:lnTo>
                  <a:lnTo>
                    <a:pt x="35717" y="79182"/>
                  </a:lnTo>
                  <a:lnTo>
                    <a:pt x="31727" y="80974"/>
                  </a:lnTo>
                  <a:lnTo>
                    <a:pt x="32958" y="78884"/>
                  </a:lnTo>
                  <a:lnTo>
                    <a:pt x="25861" y="73956"/>
                  </a:lnTo>
                  <a:lnTo>
                    <a:pt x="19918" y="71426"/>
                  </a:lnTo>
                  <a:lnTo>
                    <a:pt x="17074" y="68113"/>
                  </a:lnTo>
                  <a:lnTo>
                    <a:pt x="12095" y="64027"/>
                  </a:lnTo>
                  <a:lnTo>
                    <a:pt x="16070" y="62907"/>
                  </a:lnTo>
                  <a:lnTo>
                    <a:pt x="17516" y="51515"/>
                  </a:lnTo>
                  <a:lnTo>
                    <a:pt x="8334" y="42332"/>
                  </a:lnTo>
                  <a:lnTo>
                    <a:pt x="11624" y="31654"/>
                  </a:lnTo>
                  <a:lnTo>
                    <a:pt x="5414" y="31800"/>
                  </a:lnTo>
                  <a:lnTo>
                    <a:pt x="11135" y="22629"/>
                  </a:lnTo>
                  <a:lnTo>
                    <a:pt x="5041" y="15817"/>
                  </a:lnTo>
                  <a:lnTo>
                    <a:pt x="0" y="6516"/>
                  </a:lnTo>
                  <a:lnTo>
                    <a:pt x="12401" y="0"/>
                  </a:lnTo>
                  <a:lnTo>
                    <a:pt x="23112" y="926"/>
                  </a:lnTo>
                  <a:lnTo>
                    <a:pt x="33326" y="10287"/>
                  </a:lnTo>
                  <a:lnTo>
                    <a:pt x="36048" y="17945"/>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25" name="Polygon form 89"/>
            <p:cNvSpPr/>
            <p:nvPr/>
          </p:nvSpPr>
          <p:spPr>
            <a:xfrm>
              <a:off x="2815608" y="3897889"/>
              <a:ext cx="81719" cy="103470"/>
            </a:xfrm>
            <a:custGeom>
              <a:avLst/>
              <a:gdLst/>
              <a:ahLst/>
              <a:cxnLst/>
              <a:rect l="0" t="0" r="0" b="0"/>
              <a:pathLst>
                <a:path w="81719" h="103470">
                  <a:moveTo>
                    <a:pt x="19083" y="1054"/>
                  </a:moveTo>
                  <a:lnTo>
                    <a:pt x="42511" y="6114"/>
                  </a:lnTo>
                  <a:lnTo>
                    <a:pt x="44778" y="1689"/>
                  </a:lnTo>
                  <a:lnTo>
                    <a:pt x="60761" y="0"/>
                  </a:lnTo>
                  <a:lnTo>
                    <a:pt x="81719" y="6719"/>
                  </a:lnTo>
                  <a:lnTo>
                    <a:pt x="70834" y="27807"/>
                  </a:lnTo>
                  <a:lnTo>
                    <a:pt x="71964" y="44634"/>
                  </a:lnTo>
                  <a:lnTo>
                    <a:pt x="79389" y="59229"/>
                  </a:lnTo>
                  <a:lnTo>
                    <a:pt x="75741" y="69796"/>
                  </a:lnTo>
                  <a:lnTo>
                    <a:pt x="73820" y="81036"/>
                  </a:lnTo>
                  <a:lnTo>
                    <a:pt x="68641" y="91366"/>
                  </a:lnTo>
                  <a:lnTo>
                    <a:pt x="57408" y="86129"/>
                  </a:lnTo>
                  <a:lnTo>
                    <a:pt x="48056" y="88624"/>
                  </a:lnTo>
                  <a:lnTo>
                    <a:pt x="40123" y="86419"/>
                  </a:lnTo>
                  <a:lnTo>
                    <a:pt x="38052" y="93543"/>
                  </a:lnTo>
                  <a:lnTo>
                    <a:pt x="41303" y="98444"/>
                  </a:lnTo>
                  <a:lnTo>
                    <a:pt x="39469" y="103470"/>
                  </a:lnTo>
                  <a:lnTo>
                    <a:pt x="28760" y="101437"/>
                  </a:lnTo>
                  <a:lnTo>
                    <a:pt x="17001" y="79994"/>
                  </a:lnTo>
                  <a:lnTo>
                    <a:pt x="14660" y="66077"/>
                  </a:lnTo>
                  <a:lnTo>
                    <a:pt x="8346" y="66028"/>
                  </a:lnTo>
                  <a:lnTo>
                    <a:pt x="0" y="48096"/>
                  </a:lnTo>
                  <a:lnTo>
                    <a:pt x="3965" y="35393"/>
                  </a:lnTo>
                  <a:lnTo>
                    <a:pt x="3062" y="29575"/>
                  </a:lnTo>
                  <a:lnTo>
                    <a:pt x="15214" y="23200"/>
                  </a:lnTo>
                  <a:lnTo>
                    <a:pt x="19083" y="1054"/>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126" name="Polygon form 90"/>
            <p:cNvSpPr/>
            <p:nvPr/>
          </p:nvSpPr>
          <p:spPr>
            <a:xfrm>
              <a:off x="4242313" y="2848026"/>
              <a:ext cx="92911" cy="44090"/>
            </a:xfrm>
            <a:custGeom>
              <a:avLst/>
              <a:gdLst/>
              <a:ahLst/>
              <a:cxnLst/>
              <a:rect l="0" t="0" r="0" b="0"/>
              <a:pathLst>
                <a:path w="92911" h="44090">
                  <a:moveTo>
                    <a:pt x="30359" y="1924"/>
                  </a:moveTo>
                  <a:lnTo>
                    <a:pt x="31447" y="3369"/>
                  </a:lnTo>
                  <a:lnTo>
                    <a:pt x="37901" y="0"/>
                  </a:lnTo>
                  <a:lnTo>
                    <a:pt x="47189" y="8440"/>
                  </a:lnTo>
                  <a:lnTo>
                    <a:pt x="56401" y="3125"/>
                  </a:lnTo>
                  <a:lnTo>
                    <a:pt x="64506" y="5489"/>
                  </a:lnTo>
                  <a:lnTo>
                    <a:pt x="76021" y="1895"/>
                  </a:lnTo>
                  <a:lnTo>
                    <a:pt x="92911" y="10928"/>
                  </a:lnTo>
                  <a:lnTo>
                    <a:pt x="89082" y="17288"/>
                  </a:lnTo>
                  <a:lnTo>
                    <a:pt x="87012" y="27073"/>
                  </a:lnTo>
                  <a:lnTo>
                    <a:pt x="83745" y="29599"/>
                  </a:lnTo>
                  <a:lnTo>
                    <a:pt x="65025" y="22530"/>
                  </a:lnTo>
                  <a:lnTo>
                    <a:pt x="59729" y="24082"/>
                  </a:lnTo>
                  <a:lnTo>
                    <a:pt x="56445" y="29819"/>
                  </a:lnTo>
                  <a:lnTo>
                    <a:pt x="48924" y="32944"/>
                  </a:lnTo>
                  <a:lnTo>
                    <a:pt x="46951" y="31426"/>
                  </a:lnTo>
                  <a:lnTo>
                    <a:pt x="39200" y="35284"/>
                  </a:lnTo>
                  <a:lnTo>
                    <a:pt x="32622" y="36087"/>
                  </a:lnTo>
                  <a:lnTo>
                    <a:pt x="31762" y="40953"/>
                  </a:lnTo>
                  <a:lnTo>
                    <a:pt x="17970" y="44090"/>
                  </a:lnTo>
                  <a:lnTo>
                    <a:pt x="11535" y="41534"/>
                  </a:lnTo>
                  <a:lnTo>
                    <a:pt x="2435" y="35456"/>
                  </a:lnTo>
                  <a:lnTo>
                    <a:pt x="0" y="27111"/>
                  </a:lnTo>
                  <a:lnTo>
                    <a:pt x="1057" y="24031"/>
                  </a:lnTo>
                  <a:lnTo>
                    <a:pt x="2922" y="18692"/>
                  </a:lnTo>
                  <a:lnTo>
                    <a:pt x="10337" y="19011"/>
                  </a:lnTo>
                  <a:lnTo>
                    <a:pt x="15777" y="16443"/>
                  </a:lnTo>
                  <a:lnTo>
                    <a:pt x="16005" y="14192"/>
                  </a:lnTo>
                  <a:lnTo>
                    <a:pt x="19073" y="13005"/>
                  </a:lnTo>
                  <a:lnTo>
                    <a:pt x="19608" y="7498"/>
                  </a:lnTo>
                  <a:lnTo>
                    <a:pt x="23307" y="6399"/>
                  </a:lnTo>
                  <a:lnTo>
                    <a:pt x="25426" y="2020"/>
                  </a:lnTo>
                  <a:lnTo>
                    <a:pt x="30359" y="1924"/>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127" name="Polygon form 91"/>
            <p:cNvSpPr/>
            <p:nvPr/>
          </p:nvSpPr>
          <p:spPr>
            <a:xfrm>
              <a:off x="5622997" y="3376221"/>
              <a:ext cx="109438" cy="143189"/>
            </a:xfrm>
            <a:custGeom>
              <a:avLst/>
              <a:gdLst/>
              <a:ahLst/>
              <a:cxnLst/>
              <a:rect l="0" t="0" r="0" b="0"/>
              <a:pathLst>
                <a:path w="109438" h="143189">
                  <a:moveTo>
                    <a:pt x="105912" y="108235"/>
                  </a:moveTo>
                  <a:lnTo>
                    <a:pt x="109438" y="126434"/>
                  </a:lnTo>
                  <a:lnTo>
                    <a:pt x="101990" y="122829"/>
                  </a:lnTo>
                  <a:lnTo>
                    <a:pt x="107481" y="143189"/>
                  </a:lnTo>
                  <a:lnTo>
                    <a:pt x="99311" y="130158"/>
                  </a:lnTo>
                  <a:lnTo>
                    <a:pt x="95487" y="117288"/>
                  </a:lnTo>
                  <a:lnTo>
                    <a:pt x="89241" y="105224"/>
                  </a:lnTo>
                  <a:lnTo>
                    <a:pt x="78076" y="90781"/>
                  </a:lnTo>
                  <a:lnTo>
                    <a:pt x="60425" y="90413"/>
                  </a:lnTo>
                  <a:lnTo>
                    <a:pt x="64432" y="100771"/>
                  </a:lnTo>
                  <a:lnTo>
                    <a:pt x="61488" y="115053"/>
                  </a:lnTo>
                  <a:lnTo>
                    <a:pt x="52328" y="110211"/>
                  </a:lnTo>
                  <a:lnTo>
                    <a:pt x="50537" y="114907"/>
                  </a:lnTo>
                  <a:lnTo>
                    <a:pt x="44582" y="112339"/>
                  </a:lnTo>
                  <a:lnTo>
                    <a:pt x="36763" y="110333"/>
                  </a:lnTo>
                  <a:lnTo>
                    <a:pt x="29369" y="89653"/>
                  </a:lnTo>
                  <a:lnTo>
                    <a:pt x="18630" y="70926"/>
                  </a:lnTo>
                  <a:lnTo>
                    <a:pt x="18382" y="55618"/>
                  </a:lnTo>
                  <a:lnTo>
                    <a:pt x="5241" y="49307"/>
                  </a:lnTo>
                  <a:lnTo>
                    <a:pt x="7266" y="39970"/>
                  </a:lnTo>
                  <a:lnTo>
                    <a:pt x="16754" y="30127"/>
                  </a:lnTo>
                  <a:lnTo>
                    <a:pt x="0" y="17337"/>
                  </a:lnTo>
                  <a:lnTo>
                    <a:pt x="2354" y="0"/>
                  </a:lnTo>
                  <a:lnTo>
                    <a:pt x="19872" y="10270"/>
                  </a:lnTo>
                  <a:lnTo>
                    <a:pt x="29101" y="11146"/>
                  </a:lnTo>
                  <a:lnTo>
                    <a:pt x="35100" y="28606"/>
                  </a:lnTo>
                  <a:lnTo>
                    <a:pt x="53778" y="31346"/>
                  </a:lnTo>
                  <a:lnTo>
                    <a:pt x="71063" y="30263"/>
                  </a:lnTo>
                  <a:lnTo>
                    <a:pt x="82942" y="34134"/>
                  </a:lnTo>
                  <a:lnTo>
                    <a:pt x="79497" y="55883"/>
                  </a:lnTo>
                  <a:lnTo>
                    <a:pt x="71426" y="57675"/>
                  </a:lnTo>
                  <a:lnTo>
                    <a:pt x="68966" y="72287"/>
                  </a:lnTo>
                  <a:lnTo>
                    <a:pt x="82295" y="85004"/>
                  </a:lnTo>
                  <a:lnTo>
                    <a:pt x="81666" y="68716"/>
                  </a:lnTo>
                  <a:lnTo>
                    <a:pt x="86853" y="68434"/>
                  </a:lnTo>
                  <a:lnTo>
                    <a:pt x="105912" y="108235"/>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128" name="Polygon form 92"/>
            <p:cNvSpPr/>
            <p:nvPr/>
          </p:nvSpPr>
          <p:spPr>
            <a:xfrm>
              <a:off x="4193463" y="2914315"/>
              <a:ext cx="47768" cy="33955"/>
            </a:xfrm>
            <a:custGeom>
              <a:avLst/>
              <a:gdLst/>
              <a:ahLst/>
              <a:cxnLst/>
              <a:rect l="0" t="0" r="0" b="0"/>
              <a:pathLst>
                <a:path w="47768" h="33955">
                  <a:moveTo>
                    <a:pt x="999" y="8695"/>
                  </a:moveTo>
                  <a:lnTo>
                    <a:pt x="15144" y="10431"/>
                  </a:lnTo>
                  <a:lnTo>
                    <a:pt x="23273" y="4868"/>
                  </a:lnTo>
                  <a:lnTo>
                    <a:pt x="38031" y="4110"/>
                  </a:lnTo>
                  <a:lnTo>
                    <a:pt x="40914" y="0"/>
                  </a:lnTo>
                  <a:lnTo>
                    <a:pt x="43780" y="235"/>
                  </a:lnTo>
                  <a:lnTo>
                    <a:pt x="47768" y="8347"/>
                  </a:lnTo>
                  <a:lnTo>
                    <a:pt x="34797" y="14908"/>
                  </a:lnTo>
                  <a:lnTo>
                    <a:pt x="33929" y="24676"/>
                  </a:lnTo>
                  <a:lnTo>
                    <a:pt x="28201" y="27209"/>
                  </a:lnTo>
                  <a:lnTo>
                    <a:pt x="28788" y="33955"/>
                  </a:lnTo>
                  <a:lnTo>
                    <a:pt x="22049" y="33554"/>
                  </a:lnTo>
                  <a:lnTo>
                    <a:pt x="15948" y="29671"/>
                  </a:lnTo>
                  <a:lnTo>
                    <a:pt x="13120" y="33775"/>
                  </a:lnTo>
                  <a:lnTo>
                    <a:pt x="1158" y="33062"/>
                  </a:lnTo>
                  <a:lnTo>
                    <a:pt x="4805" y="30838"/>
                  </a:lnTo>
                  <a:lnTo>
                    <a:pt x="0" y="20600"/>
                  </a:lnTo>
                  <a:lnTo>
                    <a:pt x="999" y="8695"/>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29" name="Polygon form 93"/>
            <p:cNvSpPr/>
            <p:nvPr/>
          </p:nvSpPr>
          <p:spPr>
            <a:xfrm>
              <a:off x="4127463" y="2376660"/>
              <a:ext cx="163722" cy="332874"/>
            </a:xfrm>
            <a:custGeom>
              <a:avLst/>
              <a:gdLst/>
              <a:ahLst/>
              <a:cxnLst/>
              <a:rect l="0" t="0" r="0" b="0"/>
              <a:pathLst>
                <a:path w="163722" h="332874">
                  <a:moveTo>
                    <a:pt x="141201" y="81090"/>
                  </a:moveTo>
                  <a:lnTo>
                    <a:pt x="130626" y="98141"/>
                  </a:lnTo>
                  <a:lnTo>
                    <a:pt x="135320" y="112859"/>
                  </a:lnTo>
                  <a:lnTo>
                    <a:pt x="115843" y="132619"/>
                  </a:lnTo>
                  <a:lnTo>
                    <a:pt x="91094" y="153782"/>
                  </a:lnTo>
                  <a:lnTo>
                    <a:pt x="84923" y="187888"/>
                  </a:lnTo>
                  <a:lnTo>
                    <a:pt x="97608" y="204729"/>
                  </a:lnTo>
                  <a:lnTo>
                    <a:pt x="113603" y="217894"/>
                  </a:lnTo>
                  <a:lnTo>
                    <a:pt x="103335" y="245305"/>
                  </a:lnTo>
                  <a:lnTo>
                    <a:pt x="88270" y="251166"/>
                  </a:lnTo>
                  <a:lnTo>
                    <a:pt x="87027" y="291736"/>
                  </a:lnTo>
                  <a:lnTo>
                    <a:pt x="80633" y="314447"/>
                  </a:lnTo>
                  <a:lnTo>
                    <a:pt x="61492" y="312341"/>
                  </a:lnTo>
                  <a:lnTo>
                    <a:pt x="54427" y="331574"/>
                  </a:lnTo>
                  <a:lnTo>
                    <a:pt x="36334" y="332874"/>
                  </a:lnTo>
                  <a:lnTo>
                    <a:pt x="29467" y="310117"/>
                  </a:lnTo>
                  <a:lnTo>
                    <a:pt x="14284" y="282867"/>
                  </a:lnTo>
                  <a:lnTo>
                    <a:pt x="0" y="248854"/>
                  </a:lnTo>
                  <a:lnTo>
                    <a:pt x="5564" y="234894"/>
                  </a:lnTo>
                  <a:lnTo>
                    <a:pt x="16644" y="218239"/>
                  </a:lnTo>
                  <a:lnTo>
                    <a:pt x="18983" y="189834"/>
                  </a:lnTo>
                  <a:lnTo>
                    <a:pt x="8484" y="177705"/>
                  </a:lnTo>
                  <a:lnTo>
                    <a:pt x="4697" y="145686"/>
                  </a:lnTo>
                  <a:lnTo>
                    <a:pt x="11842" y="122974"/>
                  </a:lnTo>
                  <a:lnTo>
                    <a:pt x="25993" y="123235"/>
                  </a:lnTo>
                  <a:lnTo>
                    <a:pt x="29896" y="113623"/>
                  </a:lnTo>
                  <a:lnTo>
                    <a:pt x="23859" y="105445"/>
                  </a:lnTo>
                  <a:lnTo>
                    <a:pt x="41582" y="71271"/>
                  </a:lnTo>
                  <a:lnTo>
                    <a:pt x="51815" y="44373"/>
                  </a:lnTo>
                  <a:lnTo>
                    <a:pt x="58343" y="27107"/>
                  </a:lnTo>
                  <a:lnTo>
                    <a:pt x="71252" y="27005"/>
                  </a:lnTo>
                  <a:lnTo>
                    <a:pt x="72733" y="13537"/>
                  </a:lnTo>
                  <a:lnTo>
                    <a:pt x="98477" y="17004"/>
                  </a:lnTo>
                  <a:lnTo>
                    <a:pt x="97682" y="1127"/>
                  </a:lnTo>
                  <a:lnTo>
                    <a:pt x="105690" y="0"/>
                  </a:lnTo>
                  <a:lnTo>
                    <a:pt x="125519" y="11473"/>
                  </a:lnTo>
                  <a:lnTo>
                    <a:pt x="149565" y="27470"/>
                  </a:lnTo>
                  <a:lnTo>
                    <a:pt x="157249" y="64537"/>
                  </a:lnTo>
                  <a:lnTo>
                    <a:pt x="163722" y="73815"/>
                  </a:lnTo>
                  <a:lnTo>
                    <a:pt x="141201" y="81090"/>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30" name="Polygon form 94"/>
            <p:cNvSpPr/>
            <p:nvPr/>
          </p:nvSpPr>
          <p:spPr>
            <a:xfrm>
              <a:off x="4538506" y="4668813"/>
              <a:ext cx="26110" cy="39408"/>
            </a:xfrm>
            <a:custGeom>
              <a:avLst/>
              <a:gdLst/>
              <a:ahLst/>
              <a:cxnLst/>
              <a:rect l="0" t="0" r="0" b="0"/>
              <a:pathLst>
                <a:path w="26110" h="39408">
                  <a:moveTo>
                    <a:pt x="26110" y="26217"/>
                  </a:moveTo>
                  <a:lnTo>
                    <a:pt x="21305" y="36937"/>
                  </a:lnTo>
                  <a:lnTo>
                    <a:pt x="10070" y="39408"/>
                  </a:lnTo>
                  <a:lnTo>
                    <a:pt x="0" y="26120"/>
                  </a:lnTo>
                  <a:lnTo>
                    <a:pt x="541" y="17736"/>
                  </a:lnTo>
                  <a:lnTo>
                    <a:pt x="6462" y="8698"/>
                  </a:lnTo>
                  <a:lnTo>
                    <a:pt x="8839" y="1660"/>
                  </a:lnTo>
                  <a:lnTo>
                    <a:pt x="14447" y="0"/>
                  </a:lnTo>
                  <a:lnTo>
                    <a:pt x="23603" y="4562"/>
                  </a:lnTo>
                  <a:lnTo>
                    <a:pt x="25447" y="15475"/>
                  </a:lnTo>
                  <a:lnTo>
                    <a:pt x="26110" y="26217"/>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131" name="Polygon form 95"/>
            <p:cNvSpPr/>
            <p:nvPr/>
          </p:nvSpPr>
          <p:spPr>
            <a:xfrm>
              <a:off x="4611795" y="3138851"/>
              <a:ext cx="109278" cy="121552"/>
            </a:xfrm>
            <a:custGeom>
              <a:avLst/>
              <a:gdLst/>
              <a:ahLst/>
              <a:cxnLst/>
              <a:rect l="0" t="0" r="0" b="0"/>
              <a:pathLst>
                <a:path w="109278" h="121552">
                  <a:moveTo>
                    <a:pt x="59332" y="94983"/>
                  </a:moveTo>
                  <a:lnTo>
                    <a:pt x="26860" y="121552"/>
                  </a:lnTo>
                  <a:lnTo>
                    <a:pt x="5186" y="112309"/>
                  </a:lnTo>
                  <a:lnTo>
                    <a:pt x="4814" y="112149"/>
                  </a:lnTo>
                  <a:lnTo>
                    <a:pt x="6840" y="108413"/>
                  </a:lnTo>
                  <a:lnTo>
                    <a:pt x="5303" y="98487"/>
                  </a:lnTo>
                  <a:lnTo>
                    <a:pt x="8074" y="85119"/>
                  </a:lnTo>
                  <a:lnTo>
                    <a:pt x="16808" y="75785"/>
                  </a:lnTo>
                  <a:lnTo>
                    <a:pt x="12549" y="66327"/>
                  </a:lnTo>
                  <a:lnTo>
                    <a:pt x="4205" y="65248"/>
                  </a:lnTo>
                  <a:lnTo>
                    <a:pt x="0" y="46722"/>
                  </a:lnTo>
                  <a:lnTo>
                    <a:pt x="3049" y="36652"/>
                  </a:lnTo>
                  <a:lnTo>
                    <a:pt x="7138" y="31241"/>
                  </a:lnTo>
                  <a:lnTo>
                    <a:pt x="11212" y="25829"/>
                  </a:lnTo>
                  <a:lnTo>
                    <a:pt x="10226" y="12278"/>
                  </a:lnTo>
                  <a:lnTo>
                    <a:pt x="16800" y="16873"/>
                  </a:lnTo>
                  <a:lnTo>
                    <a:pt x="35579" y="9704"/>
                  </a:lnTo>
                  <a:lnTo>
                    <a:pt x="45837" y="14065"/>
                  </a:lnTo>
                  <a:lnTo>
                    <a:pt x="60610" y="13663"/>
                  </a:lnTo>
                  <a:lnTo>
                    <a:pt x="79805" y="4081"/>
                  </a:lnTo>
                  <a:lnTo>
                    <a:pt x="89533" y="4266"/>
                  </a:lnTo>
                  <a:lnTo>
                    <a:pt x="109278" y="0"/>
                  </a:lnTo>
                  <a:lnTo>
                    <a:pt x="102634" y="15382"/>
                  </a:lnTo>
                  <a:lnTo>
                    <a:pt x="93774" y="21614"/>
                  </a:lnTo>
                  <a:lnTo>
                    <a:pt x="98323" y="39323"/>
                  </a:lnTo>
                  <a:lnTo>
                    <a:pt x="96035" y="68853"/>
                  </a:lnTo>
                  <a:lnTo>
                    <a:pt x="59332" y="94983"/>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132" name="Polygon form 96"/>
            <p:cNvSpPr/>
            <p:nvPr/>
          </p:nvSpPr>
          <p:spPr>
            <a:xfrm>
              <a:off x="4224117" y="3480503"/>
              <a:ext cx="200489" cy="386291"/>
            </a:xfrm>
            <a:custGeom>
              <a:avLst/>
              <a:gdLst/>
              <a:ahLst/>
              <a:cxnLst/>
              <a:rect l="0" t="0" r="0" b="0"/>
              <a:pathLst>
                <a:path w="200489" h="386291">
                  <a:moveTo>
                    <a:pt x="19352" y="254972"/>
                  </a:moveTo>
                  <a:lnTo>
                    <a:pt x="21083" y="243588"/>
                  </a:lnTo>
                  <a:lnTo>
                    <a:pt x="8554" y="243069"/>
                  </a:lnTo>
                  <a:lnTo>
                    <a:pt x="8293" y="227533"/>
                  </a:lnTo>
                  <a:lnTo>
                    <a:pt x="0" y="218611"/>
                  </a:lnTo>
                  <a:lnTo>
                    <a:pt x="7728" y="186770"/>
                  </a:lnTo>
                  <a:lnTo>
                    <a:pt x="31944" y="163903"/>
                  </a:lnTo>
                  <a:lnTo>
                    <a:pt x="32112" y="132479"/>
                  </a:lnTo>
                  <a:lnTo>
                    <a:pt x="38062" y="83424"/>
                  </a:lnTo>
                  <a:lnTo>
                    <a:pt x="41904" y="73004"/>
                  </a:lnTo>
                  <a:lnTo>
                    <a:pt x="33632" y="64763"/>
                  </a:lnTo>
                  <a:lnTo>
                    <a:pt x="33066" y="57082"/>
                  </a:lnTo>
                  <a:lnTo>
                    <a:pt x="25678" y="50835"/>
                  </a:lnTo>
                  <a:lnTo>
                    <a:pt x="19692" y="13313"/>
                  </a:lnTo>
                  <a:lnTo>
                    <a:pt x="38460" y="0"/>
                  </a:lnTo>
                  <a:lnTo>
                    <a:pt x="116605" y="45800"/>
                  </a:lnTo>
                  <a:lnTo>
                    <a:pt x="195378" y="91583"/>
                  </a:lnTo>
                  <a:lnTo>
                    <a:pt x="200489" y="187661"/>
                  </a:lnTo>
                  <a:lnTo>
                    <a:pt x="183667" y="186066"/>
                  </a:lnTo>
                  <a:lnTo>
                    <a:pt x="175425" y="203935"/>
                  </a:lnTo>
                  <a:lnTo>
                    <a:pt x="170779" y="218903"/>
                  </a:lnTo>
                  <a:lnTo>
                    <a:pt x="175027" y="224536"/>
                  </a:lnTo>
                  <a:lnTo>
                    <a:pt x="168854" y="231989"/>
                  </a:lnTo>
                  <a:lnTo>
                    <a:pt x="171375" y="242000"/>
                  </a:lnTo>
                  <a:lnTo>
                    <a:pt x="166620" y="252109"/>
                  </a:lnTo>
                  <a:lnTo>
                    <a:pt x="164906" y="261004"/>
                  </a:lnTo>
                  <a:lnTo>
                    <a:pt x="171730" y="259574"/>
                  </a:lnTo>
                  <a:lnTo>
                    <a:pt x="176094" y="268892"/>
                  </a:lnTo>
                  <a:lnTo>
                    <a:pt x="176698" y="282948"/>
                  </a:lnTo>
                  <a:lnTo>
                    <a:pt x="184083" y="290052"/>
                  </a:lnTo>
                  <a:lnTo>
                    <a:pt x="184001" y="295915"/>
                  </a:lnTo>
                  <a:lnTo>
                    <a:pt x="171706" y="300090"/>
                  </a:lnTo>
                  <a:lnTo>
                    <a:pt x="162002" y="309922"/>
                  </a:lnTo>
                  <a:lnTo>
                    <a:pt x="148398" y="336365"/>
                  </a:lnTo>
                  <a:lnTo>
                    <a:pt x="130135" y="347626"/>
                  </a:lnTo>
                  <a:lnTo>
                    <a:pt x="111142" y="346175"/>
                  </a:lnTo>
                  <a:lnTo>
                    <a:pt x="105642" y="348413"/>
                  </a:lnTo>
                  <a:lnTo>
                    <a:pt x="107732" y="356919"/>
                  </a:lnTo>
                  <a:lnTo>
                    <a:pt x="97620" y="365396"/>
                  </a:lnTo>
                  <a:lnTo>
                    <a:pt x="89413" y="374853"/>
                  </a:lnTo>
                  <a:lnTo>
                    <a:pt x="64778" y="384151"/>
                  </a:lnTo>
                  <a:lnTo>
                    <a:pt x="59794" y="378688"/>
                  </a:lnTo>
                  <a:lnTo>
                    <a:pt x="56531" y="378223"/>
                  </a:lnTo>
                  <a:lnTo>
                    <a:pt x="52983" y="384445"/>
                  </a:lnTo>
                  <a:lnTo>
                    <a:pt x="36741" y="386291"/>
                  </a:lnTo>
                  <a:lnTo>
                    <a:pt x="39744" y="379741"/>
                  </a:lnTo>
                  <a:lnTo>
                    <a:pt x="33338" y="363099"/>
                  </a:lnTo>
                  <a:lnTo>
                    <a:pt x="30438" y="353104"/>
                  </a:lnTo>
                  <a:lnTo>
                    <a:pt x="21828" y="349020"/>
                  </a:lnTo>
                  <a:lnTo>
                    <a:pt x="10049" y="334946"/>
                  </a:lnTo>
                  <a:lnTo>
                    <a:pt x="14152" y="323540"/>
                  </a:lnTo>
                  <a:lnTo>
                    <a:pt x="23128" y="325946"/>
                  </a:lnTo>
                  <a:lnTo>
                    <a:pt x="28638" y="324213"/>
                  </a:lnTo>
                  <a:lnTo>
                    <a:pt x="39598" y="324424"/>
                  </a:lnTo>
                  <a:lnTo>
                    <a:pt x="28571" y="302490"/>
                  </a:lnTo>
                  <a:lnTo>
                    <a:pt x="29013" y="286442"/>
                  </a:lnTo>
                  <a:lnTo>
                    <a:pt x="27415" y="270418"/>
                  </a:lnTo>
                  <a:lnTo>
                    <a:pt x="19352" y="254972"/>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133" name="Polygon form 97"/>
            <p:cNvSpPr/>
            <p:nvPr/>
          </p:nvSpPr>
          <p:spPr>
            <a:xfrm>
              <a:off x="3959283" y="3780290"/>
              <a:ext cx="37711" cy="122788"/>
            </a:xfrm>
            <a:custGeom>
              <a:avLst/>
              <a:gdLst/>
              <a:ahLst/>
              <a:cxnLst/>
              <a:rect l="0" t="0" r="0" b="0"/>
              <a:pathLst>
                <a:path w="37711" h="122788">
                  <a:moveTo>
                    <a:pt x="37711" y="117639"/>
                  </a:moveTo>
                  <a:lnTo>
                    <a:pt x="21858" y="122788"/>
                  </a:lnTo>
                  <a:lnTo>
                    <a:pt x="17457" y="114317"/>
                  </a:lnTo>
                  <a:lnTo>
                    <a:pt x="12202" y="99013"/>
                  </a:lnTo>
                  <a:lnTo>
                    <a:pt x="10635" y="87014"/>
                  </a:lnTo>
                  <a:lnTo>
                    <a:pt x="14972" y="65285"/>
                  </a:lnTo>
                  <a:lnTo>
                    <a:pt x="10038" y="56486"/>
                  </a:lnTo>
                  <a:lnTo>
                    <a:pt x="8159" y="37481"/>
                  </a:lnTo>
                  <a:lnTo>
                    <a:pt x="8185" y="19962"/>
                  </a:lnTo>
                  <a:lnTo>
                    <a:pt x="0" y="7521"/>
                  </a:lnTo>
                  <a:lnTo>
                    <a:pt x="1442" y="0"/>
                  </a:lnTo>
                  <a:lnTo>
                    <a:pt x="18601" y="514"/>
                  </a:lnTo>
                  <a:lnTo>
                    <a:pt x="16119" y="13216"/>
                  </a:lnTo>
                  <a:lnTo>
                    <a:pt x="22116" y="20337"/>
                  </a:lnTo>
                  <a:lnTo>
                    <a:pt x="28939" y="28784"/>
                  </a:lnTo>
                  <a:lnTo>
                    <a:pt x="29701" y="40624"/>
                  </a:lnTo>
                  <a:lnTo>
                    <a:pt x="33664" y="45593"/>
                  </a:lnTo>
                  <a:lnTo>
                    <a:pt x="32843" y="100997"/>
                  </a:lnTo>
                  <a:lnTo>
                    <a:pt x="37711" y="117639"/>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134" name="Polygon form 98"/>
            <p:cNvSpPr/>
            <p:nvPr/>
          </p:nvSpPr>
          <p:spPr>
            <a:xfrm>
              <a:off x="5837459" y="3520550"/>
              <a:ext cx="174667" cy="378489"/>
            </a:xfrm>
            <a:custGeom>
              <a:avLst/>
              <a:gdLst/>
              <a:ahLst/>
              <a:cxnLst/>
              <a:rect l="0" t="0" r="0" b="0"/>
              <a:pathLst>
                <a:path w="174667" h="378489">
                  <a:moveTo>
                    <a:pt x="126998" y="210234"/>
                  </a:moveTo>
                  <a:lnTo>
                    <a:pt x="107908" y="198801"/>
                  </a:lnTo>
                  <a:lnTo>
                    <a:pt x="91319" y="199679"/>
                  </a:lnTo>
                  <a:lnTo>
                    <a:pt x="91340" y="179377"/>
                  </a:lnTo>
                  <a:lnTo>
                    <a:pt x="74242" y="179957"/>
                  </a:lnTo>
                  <a:lnTo>
                    <a:pt x="76578" y="208288"/>
                  </a:lnTo>
                  <a:lnTo>
                    <a:pt x="70656" y="246096"/>
                  </a:lnTo>
                  <a:lnTo>
                    <a:pt x="66789" y="268942"/>
                  </a:lnTo>
                  <a:lnTo>
                    <a:pt x="70014" y="287542"/>
                  </a:lnTo>
                  <a:lnTo>
                    <a:pt x="82860" y="288133"/>
                  </a:lnTo>
                  <a:lnTo>
                    <a:pt x="93004" y="311523"/>
                  </a:lnTo>
                  <a:lnTo>
                    <a:pt x="98399" y="333791"/>
                  </a:lnTo>
                  <a:lnTo>
                    <a:pt x="110495" y="348423"/>
                  </a:lnTo>
                  <a:lnTo>
                    <a:pt x="122625" y="351272"/>
                  </a:lnTo>
                  <a:lnTo>
                    <a:pt x="133756" y="364563"/>
                  </a:lnTo>
                  <a:lnTo>
                    <a:pt x="128014" y="375260"/>
                  </a:lnTo>
                  <a:lnTo>
                    <a:pt x="115212" y="378489"/>
                  </a:lnTo>
                  <a:lnTo>
                    <a:pt x="112818" y="365244"/>
                  </a:lnTo>
                  <a:lnTo>
                    <a:pt x="95993" y="354135"/>
                  </a:lnTo>
                  <a:lnTo>
                    <a:pt x="92893" y="358776"/>
                  </a:lnTo>
                  <a:lnTo>
                    <a:pt x="84427" y="348981"/>
                  </a:lnTo>
                  <a:lnTo>
                    <a:pt x="80109" y="336265"/>
                  </a:lnTo>
                  <a:lnTo>
                    <a:pt x="68505" y="321876"/>
                  </a:lnTo>
                  <a:lnTo>
                    <a:pt x="57956" y="309815"/>
                  </a:lnTo>
                  <a:lnTo>
                    <a:pt x="56007" y="324978"/>
                  </a:lnTo>
                  <a:lnTo>
                    <a:pt x="51085" y="310751"/>
                  </a:lnTo>
                  <a:lnTo>
                    <a:pt x="51781" y="294680"/>
                  </a:lnTo>
                  <a:lnTo>
                    <a:pt x="55119" y="269930"/>
                  </a:lnTo>
                  <a:lnTo>
                    <a:pt x="61704" y="243332"/>
                  </a:lnTo>
                  <a:lnTo>
                    <a:pt x="69535" y="219133"/>
                  </a:lnTo>
                  <a:lnTo>
                    <a:pt x="58857" y="195860"/>
                  </a:lnTo>
                  <a:lnTo>
                    <a:pt x="57519" y="183917"/>
                  </a:lnTo>
                  <a:lnTo>
                    <a:pt x="53248" y="169634"/>
                  </a:lnTo>
                  <a:lnTo>
                    <a:pt x="37256" y="149579"/>
                  </a:lnTo>
                  <a:lnTo>
                    <a:pt x="30626" y="136841"/>
                  </a:lnTo>
                  <a:lnTo>
                    <a:pt x="36555" y="131920"/>
                  </a:lnTo>
                  <a:lnTo>
                    <a:pt x="39933" y="109427"/>
                  </a:lnTo>
                  <a:lnTo>
                    <a:pt x="29089" y="92749"/>
                  </a:lnTo>
                  <a:lnTo>
                    <a:pt x="13498" y="74437"/>
                  </a:lnTo>
                  <a:lnTo>
                    <a:pt x="0" y="52300"/>
                  </a:lnTo>
                  <a:lnTo>
                    <a:pt x="7191" y="47389"/>
                  </a:lnTo>
                  <a:lnTo>
                    <a:pt x="10351" y="19454"/>
                  </a:lnTo>
                  <a:lnTo>
                    <a:pt x="23592" y="17827"/>
                  </a:lnTo>
                  <a:lnTo>
                    <a:pt x="32365" y="6327"/>
                  </a:lnTo>
                  <a:lnTo>
                    <a:pt x="41986" y="0"/>
                  </a:lnTo>
                  <a:lnTo>
                    <a:pt x="51963" y="7595"/>
                  </a:lnTo>
                  <a:lnTo>
                    <a:pt x="56357" y="22956"/>
                  </a:lnTo>
                  <a:lnTo>
                    <a:pt x="69513" y="23660"/>
                  </a:lnTo>
                  <a:lnTo>
                    <a:pt x="70368" y="50871"/>
                  </a:lnTo>
                  <a:lnTo>
                    <a:pt x="75302" y="73877"/>
                  </a:lnTo>
                  <a:lnTo>
                    <a:pt x="92569" y="57862"/>
                  </a:lnTo>
                  <a:lnTo>
                    <a:pt x="99212" y="62200"/>
                  </a:lnTo>
                  <a:lnTo>
                    <a:pt x="110306" y="61068"/>
                  </a:lnTo>
                  <a:lnTo>
                    <a:pt x="112370" y="51975"/>
                  </a:lnTo>
                  <a:lnTo>
                    <a:pt x="127228" y="53230"/>
                  </a:lnTo>
                  <a:lnTo>
                    <a:pt x="146016" y="73668"/>
                  </a:lnTo>
                  <a:lnTo>
                    <a:pt x="152075" y="99120"/>
                  </a:lnTo>
                  <a:lnTo>
                    <a:pt x="171773" y="121161"/>
                  </a:lnTo>
                  <a:lnTo>
                    <a:pt x="174667" y="143099"/>
                  </a:lnTo>
                  <a:lnTo>
                    <a:pt x="170270" y="154952"/>
                  </a:lnTo>
                  <a:lnTo>
                    <a:pt x="151501" y="151754"/>
                  </a:lnTo>
                  <a:lnTo>
                    <a:pt x="127214" y="157389"/>
                  </a:lnTo>
                  <a:lnTo>
                    <a:pt x="118030" y="179175"/>
                  </a:lnTo>
                  <a:lnTo>
                    <a:pt x="126998" y="210234"/>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35" name="Polygon form 99"/>
            <p:cNvSpPr/>
            <p:nvPr/>
          </p:nvSpPr>
          <p:spPr>
            <a:xfrm>
              <a:off x="5155503" y="3030342"/>
              <a:ext cx="145510" cy="102857"/>
            </a:xfrm>
            <a:custGeom>
              <a:avLst/>
              <a:gdLst/>
              <a:ahLst/>
              <a:cxnLst/>
              <a:rect l="0" t="0" r="0" b="0"/>
              <a:pathLst>
                <a:path w="145510" h="102857">
                  <a:moveTo>
                    <a:pt x="54186" y="17287"/>
                  </a:moveTo>
                  <a:lnTo>
                    <a:pt x="50194" y="25158"/>
                  </a:lnTo>
                  <a:lnTo>
                    <a:pt x="29946" y="21908"/>
                  </a:lnTo>
                  <a:lnTo>
                    <a:pt x="32624" y="36131"/>
                  </a:lnTo>
                  <a:lnTo>
                    <a:pt x="50998" y="33378"/>
                  </a:lnTo>
                  <a:lnTo>
                    <a:pt x="75082" y="40372"/>
                  </a:lnTo>
                  <a:lnTo>
                    <a:pt x="106956" y="35097"/>
                  </a:lnTo>
                  <a:lnTo>
                    <a:pt x="118641" y="57665"/>
                  </a:lnTo>
                  <a:lnTo>
                    <a:pt x="123632" y="54915"/>
                  </a:lnTo>
                  <a:lnTo>
                    <a:pt x="136078" y="60021"/>
                  </a:lnTo>
                  <a:lnTo>
                    <a:pt x="138488" y="69632"/>
                  </a:lnTo>
                  <a:lnTo>
                    <a:pt x="145510" y="83563"/>
                  </a:lnTo>
                  <a:lnTo>
                    <a:pt x="127256" y="84362"/>
                  </a:lnTo>
                  <a:lnTo>
                    <a:pt x="114522" y="83097"/>
                  </a:lnTo>
                  <a:lnTo>
                    <a:pt x="106778" y="94620"/>
                  </a:lnTo>
                  <a:lnTo>
                    <a:pt x="99618" y="97412"/>
                  </a:lnTo>
                  <a:lnTo>
                    <a:pt x="94933" y="102857"/>
                  </a:lnTo>
                  <a:lnTo>
                    <a:pt x="85559" y="95097"/>
                  </a:lnTo>
                  <a:lnTo>
                    <a:pt x="81120" y="74347"/>
                  </a:lnTo>
                  <a:lnTo>
                    <a:pt x="75430" y="73415"/>
                  </a:lnTo>
                  <a:lnTo>
                    <a:pt x="75099" y="65812"/>
                  </a:lnTo>
                  <a:lnTo>
                    <a:pt x="63886" y="60644"/>
                  </a:lnTo>
                  <a:lnTo>
                    <a:pt x="58848" y="69530"/>
                  </a:lnTo>
                  <a:lnTo>
                    <a:pt x="59889" y="79526"/>
                  </a:lnTo>
                  <a:lnTo>
                    <a:pt x="58214" y="83257"/>
                  </a:lnTo>
                  <a:lnTo>
                    <a:pt x="47482" y="83198"/>
                  </a:lnTo>
                  <a:lnTo>
                    <a:pt x="44964" y="94696"/>
                  </a:lnTo>
                  <a:lnTo>
                    <a:pt x="37647" y="90196"/>
                  </a:lnTo>
                  <a:lnTo>
                    <a:pt x="26994" y="98623"/>
                  </a:lnTo>
                  <a:lnTo>
                    <a:pt x="20735" y="95850"/>
                  </a:lnTo>
                  <a:lnTo>
                    <a:pt x="23694" y="70576"/>
                  </a:lnTo>
                  <a:lnTo>
                    <a:pt x="14596" y="52459"/>
                  </a:lnTo>
                  <a:lnTo>
                    <a:pt x="0" y="47155"/>
                  </a:lnTo>
                  <a:lnTo>
                    <a:pt x="1374" y="36161"/>
                  </a:lnTo>
                  <a:lnTo>
                    <a:pt x="16329" y="36680"/>
                  </a:lnTo>
                  <a:lnTo>
                    <a:pt x="20524" y="22754"/>
                  </a:lnTo>
                  <a:lnTo>
                    <a:pt x="21177" y="6768"/>
                  </a:lnTo>
                  <a:lnTo>
                    <a:pt x="42544" y="0"/>
                  </a:lnTo>
                  <a:lnTo>
                    <a:pt x="42560" y="11545"/>
                  </a:lnTo>
                  <a:lnTo>
                    <a:pt x="47204" y="18253"/>
                  </a:lnTo>
                  <a:lnTo>
                    <a:pt x="54186" y="17287"/>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136" name="Polygon form 100"/>
            <p:cNvSpPr/>
            <p:nvPr/>
          </p:nvSpPr>
          <p:spPr>
            <a:xfrm>
              <a:off x="4877415" y="2995459"/>
              <a:ext cx="274062" cy="180551"/>
            </a:xfrm>
            <a:custGeom>
              <a:avLst/>
              <a:gdLst/>
              <a:ahLst/>
              <a:cxnLst/>
              <a:rect l="0" t="0" r="0" b="0"/>
              <a:pathLst>
                <a:path w="274062" h="180551">
                  <a:moveTo>
                    <a:pt x="189930" y="171895"/>
                  </a:moveTo>
                  <a:lnTo>
                    <a:pt x="183408" y="151333"/>
                  </a:lnTo>
                  <a:lnTo>
                    <a:pt x="169864" y="150929"/>
                  </a:lnTo>
                  <a:lnTo>
                    <a:pt x="144247" y="129975"/>
                  </a:lnTo>
                  <a:lnTo>
                    <a:pt x="129391" y="127799"/>
                  </a:lnTo>
                  <a:lnTo>
                    <a:pt x="106784" y="116090"/>
                  </a:lnTo>
                  <a:lnTo>
                    <a:pt x="93633" y="114271"/>
                  </a:lnTo>
                  <a:lnTo>
                    <a:pt x="86905" y="119084"/>
                  </a:lnTo>
                  <a:lnTo>
                    <a:pt x="74861" y="118773"/>
                  </a:lnTo>
                  <a:lnTo>
                    <a:pt x="65366" y="133143"/>
                  </a:lnTo>
                  <a:lnTo>
                    <a:pt x="50731" y="138367"/>
                  </a:lnTo>
                  <a:lnTo>
                    <a:pt x="43615" y="121217"/>
                  </a:lnTo>
                  <a:lnTo>
                    <a:pt x="40429" y="95622"/>
                  </a:lnTo>
                  <a:lnTo>
                    <a:pt x="24771" y="87821"/>
                  </a:lnTo>
                  <a:lnTo>
                    <a:pt x="25429" y="70985"/>
                  </a:lnTo>
                  <a:lnTo>
                    <a:pt x="13442" y="69949"/>
                  </a:lnTo>
                  <a:lnTo>
                    <a:pt x="12492" y="49288"/>
                  </a:lnTo>
                  <a:lnTo>
                    <a:pt x="30398" y="54711"/>
                  </a:lnTo>
                  <a:lnTo>
                    <a:pt x="43838" y="46384"/>
                  </a:lnTo>
                  <a:lnTo>
                    <a:pt x="27537" y="32204"/>
                  </a:lnTo>
                  <a:lnTo>
                    <a:pt x="19096" y="18450"/>
                  </a:lnTo>
                  <a:lnTo>
                    <a:pt x="6686" y="25144"/>
                  </a:lnTo>
                  <a:lnTo>
                    <a:pt x="9232" y="43044"/>
                  </a:lnTo>
                  <a:lnTo>
                    <a:pt x="0" y="27453"/>
                  </a:lnTo>
                  <a:lnTo>
                    <a:pt x="5679" y="19093"/>
                  </a:lnTo>
                  <a:lnTo>
                    <a:pt x="24050" y="13340"/>
                  </a:lnTo>
                  <a:lnTo>
                    <a:pt x="37476" y="19745"/>
                  </a:lnTo>
                  <a:lnTo>
                    <a:pt x="54472" y="38415"/>
                  </a:lnTo>
                  <a:lnTo>
                    <a:pt x="63092" y="36906"/>
                  </a:lnTo>
                  <a:lnTo>
                    <a:pt x="82620" y="35856"/>
                  </a:lnTo>
                  <a:lnTo>
                    <a:pt x="76551" y="23680"/>
                  </a:lnTo>
                  <a:lnTo>
                    <a:pt x="89087" y="14725"/>
                  </a:lnTo>
                  <a:lnTo>
                    <a:pt x="99721" y="0"/>
                  </a:lnTo>
                  <a:lnTo>
                    <a:pt x="126540" y="11973"/>
                  </a:lnTo>
                  <a:lnTo>
                    <a:pt x="133811" y="31375"/>
                  </a:lnTo>
                  <a:lnTo>
                    <a:pt x="141831" y="36115"/>
                  </a:lnTo>
                  <a:lnTo>
                    <a:pt x="160289" y="34246"/>
                  </a:lnTo>
                  <a:lnTo>
                    <a:pt x="167362" y="38446"/>
                  </a:lnTo>
                  <a:lnTo>
                    <a:pt x="182949" y="63307"/>
                  </a:lnTo>
                  <a:lnTo>
                    <a:pt x="207647" y="79409"/>
                  </a:lnTo>
                  <a:lnTo>
                    <a:pt x="222283" y="90481"/>
                  </a:lnTo>
                  <a:lnTo>
                    <a:pt x="244017" y="101743"/>
                  </a:lnTo>
                  <a:lnTo>
                    <a:pt x="270423" y="111289"/>
                  </a:lnTo>
                  <a:lnTo>
                    <a:pt x="274062" y="126327"/>
                  </a:lnTo>
                  <a:lnTo>
                    <a:pt x="268506" y="125780"/>
                  </a:lnTo>
                  <a:lnTo>
                    <a:pt x="258356" y="119553"/>
                  </a:lnTo>
                  <a:lnTo>
                    <a:pt x="257930" y="128397"/>
                  </a:lnTo>
                  <a:lnTo>
                    <a:pt x="244201" y="133727"/>
                  </a:lnTo>
                  <a:lnTo>
                    <a:pt x="245725" y="153485"/>
                  </a:lnTo>
                  <a:lnTo>
                    <a:pt x="237528" y="161326"/>
                  </a:lnTo>
                  <a:lnTo>
                    <a:pt x="224298" y="165546"/>
                  </a:lnTo>
                  <a:lnTo>
                    <a:pt x="223264" y="176797"/>
                  </a:lnTo>
                  <a:lnTo>
                    <a:pt x="210483" y="180551"/>
                  </a:lnTo>
                  <a:lnTo>
                    <a:pt x="189930" y="171895"/>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137" name="Polygon form 101"/>
            <p:cNvSpPr/>
            <p:nvPr/>
          </p:nvSpPr>
          <p:spPr>
            <a:xfrm>
              <a:off x="6412863" y="4269297"/>
              <a:ext cx="47955" cy="29252"/>
            </a:xfrm>
            <a:custGeom>
              <a:avLst/>
              <a:gdLst/>
              <a:ahLst/>
              <a:cxnLst/>
              <a:rect l="0" t="0" r="0" b="0"/>
              <a:pathLst>
                <a:path w="47955" h="29252">
                  <a:moveTo>
                    <a:pt x="0" y="15773"/>
                  </a:moveTo>
                  <a:lnTo>
                    <a:pt x="3058" y="9496"/>
                  </a:lnTo>
                  <a:lnTo>
                    <a:pt x="20629" y="3835"/>
                  </a:lnTo>
                  <a:lnTo>
                    <a:pt x="34406" y="3228"/>
                  </a:lnTo>
                  <a:lnTo>
                    <a:pt x="40919" y="0"/>
                  </a:lnTo>
                  <a:lnTo>
                    <a:pt x="47955" y="3505"/>
                  </a:lnTo>
                  <a:lnTo>
                    <a:pt x="39882" y="10641"/>
                  </a:lnTo>
                  <a:lnTo>
                    <a:pt x="18036" y="21938"/>
                  </a:lnTo>
                  <a:lnTo>
                    <a:pt x="676" y="29252"/>
                  </a:lnTo>
                  <a:lnTo>
                    <a:pt x="1337" y="21110"/>
                  </a:lnTo>
                  <a:lnTo>
                    <a:pt x="0" y="15773"/>
                  </a:lnTo>
                  <a:close/>
                </a:path>
              </a:pathLst>
            </a:custGeom>
            <a:solidFill>
              <a:srgbClr val="9ECAE1">
                <a:alpha val="100000"/>
              </a:srgbClr>
            </a:solidFill>
            <a:ln w="5400">
              <a:solidFill>
                <a:srgbClr val="7F7F7F">
                  <a:alpha val="100000"/>
                </a:srgbClr>
              </a:solidFill>
              <a:prstDash val="solid"/>
              <a:round/>
            </a:ln>
          </p:spPr>
          <p:txBody>
            <a:bodyPr/>
            <a:lstStyle/>
            <a:p/>
          </p:txBody>
        </p:sp>
        <p:sp>
          <p:nvSpPr>
            <p:cNvPr id="138" name="Polygon form 102"/>
            <p:cNvSpPr/>
            <p:nvPr/>
          </p:nvSpPr>
          <p:spPr>
            <a:xfrm>
              <a:off x="4347056" y="2976091"/>
              <a:ext cx="106923" cy="71840"/>
            </a:xfrm>
            <a:custGeom>
              <a:avLst/>
              <a:gdLst/>
              <a:ahLst/>
              <a:cxnLst/>
              <a:rect l="0" t="0" r="0" b="0"/>
              <a:pathLst>
                <a:path w="106923" h="71840">
                  <a:moveTo>
                    <a:pt x="3647" y="0"/>
                  </a:moveTo>
                  <a:lnTo>
                    <a:pt x="9707" y="9859"/>
                  </a:lnTo>
                  <a:lnTo>
                    <a:pt x="16194" y="7990"/>
                  </a:lnTo>
                  <a:lnTo>
                    <a:pt x="29886" y="11554"/>
                  </a:lnTo>
                  <a:lnTo>
                    <a:pt x="55395" y="12416"/>
                  </a:lnTo>
                  <a:lnTo>
                    <a:pt x="63179" y="6108"/>
                  </a:lnTo>
                  <a:lnTo>
                    <a:pt x="82720" y="134"/>
                  </a:lnTo>
                  <a:lnTo>
                    <a:pt x="96434" y="8697"/>
                  </a:lnTo>
                  <a:lnTo>
                    <a:pt x="106923" y="11049"/>
                  </a:lnTo>
                  <a:lnTo>
                    <a:pt x="99317" y="21232"/>
                  </a:lnTo>
                  <a:lnTo>
                    <a:pt x="95260" y="38641"/>
                  </a:lnTo>
                  <a:lnTo>
                    <a:pt x="102668" y="52340"/>
                  </a:lnTo>
                  <a:lnTo>
                    <a:pt x="87234" y="49357"/>
                  </a:lnTo>
                  <a:lnTo>
                    <a:pt x="70382" y="57261"/>
                  </a:lnTo>
                  <a:lnTo>
                    <a:pt x="71623" y="69305"/>
                  </a:lnTo>
                  <a:lnTo>
                    <a:pt x="55944" y="71840"/>
                  </a:lnTo>
                  <a:lnTo>
                    <a:pt x="42643" y="63584"/>
                  </a:lnTo>
                  <a:lnTo>
                    <a:pt x="29338" y="70436"/>
                  </a:lnTo>
                  <a:lnTo>
                    <a:pt x="16288" y="69924"/>
                  </a:lnTo>
                  <a:lnTo>
                    <a:pt x="13374" y="53961"/>
                  </a:lnTo>
                  <a:lnTo>
                    <a:pt x="3822" y="46329"/>
                  </a:lnTo>
                  <a:lnTo>
                    <a:pt x="6332" y="42879"/>
                  </a:lnTo>
                  <a:lnTo>
                    <a:pt x="4142" y="40032"/>
                  </a:lnTo>
                  <a:lnTo>
                    <a:pt x="6253" y="32302"/>
                  </a:lnTo>
                  <a:lnTo>
                    <a:pt x="12051" y="24651"/>
                  </a:lnTo>
                  <a:lnTo>
                    <a:pt x="2507" y="14345"/>
                  </a:lnTo>
                  <a:lnTo>
                    <a:pt x="0" y="5543"/>
                  </a:lnTo>
                  <a:lnTo>
                    <a:pt x="3647" y="0"/>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139" name="Polygon form 103"/>
            <p:cNvSpPr/>
            <p:nvPr/>
          </p:nvSpPr>
          <p:spPr>
            <a:xfrm>
              <a:off x="2745351" y="3777022"/>
              <a:ext cx="21926" cy="21849"/>
            </a:xfrm>
            <a:custGeom>
              <a:avLst/>
              <a:gdLst/>
              <a:ahLst/>
              <a:cxnLst/>
              <a:rect l="0" t="0" r="0" b="0"/>
              <a:pathLst>
                <a:path w="21926" h="21849">
                  <a:moveTo>
                    <a:pt x="6394" y="3088"/>
                  </a:moveTo>
                  <a:lnTo>
                    <a:pt x="17873" y="0"/>
                  </a:lnTo>
                  <a:lnTo>
                    <a:pt x="21926" y="909"/>
                  </a:lnTo>
                  <a:lnTo>
                    <a:pt x="19926" y="19299"/>
                  </a:lnTo>
                  <a:lnTo>
                    <a:pt x="3385" y="21849"/>
                  </a:lnTo>
                  <a:lnTo>
                    <a:pt x="0" y="19588"/>
                  </a:lnTo>
                  <a:lnTo>
                    <a:pt x="6128" y="12852"/>
                  </a:lnTo>
                  <a:lnTo>
                    <a:pt x="6394" y="3088"/>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140" name="Polygon form 104"/>
            <p:cNvSpPr/>
            <p:nvPr/>
          </p:nvSpPr>
          <p:spPr>
            <a:xfrm>
              <a:off x="4097818" y="3144612"/>
              <a:ext cx="73416" cy="169963"/>
            </a:xfrm>
            <a:custGeom>
              <a:avLst/>
              <a:gdLst/>
              <a:ahLst/>
              <a:cxnLst/>
              <a:rect l="0" t="0" r="0" b="0"/>
              <a:pathLst>
                <a:path w="73416" h="169963">
                  <a:moveTo>
                    <a:pt x="38747" y="169963"/>
                  </a:moveTo>
                  <a:lnTo>
                    <a:pt x="29522" y="126674"/>
                  </a:lnTo>
                  <a:lnTo>
                    <a:pt x="17867" y="116983"/>
                  </a:lnTo>
                  <a:lnTo>
                    <a:pt x="17537" y="111143"/>
                  </a:lnTo>
                  <a:lnTo>
                    <a:pt x="2108" y="96826"/>
                  </a:lnTo>
                  <a:lnTo>
                    <a:pt x="0" y="78656"/>
                  </a:lnTo>
                  <a:lnTo>
                    <a:pt x="10868" y="65151"/>
                  </a:lnTo>
                  <a:lnTo>
                    <a:pt x="14534" y="45230"/>
                  </a:lnTo>
                  <a:lnTo>
                    <a:pt x="10926" y="22239"/>
                  </a:lnTo>
                  <a:lnTo>
                    <a:pt x="14185" y="9837"/>
                  </a:lnTo>
                  <a:lnTo>
                    <a:pt x="33436" y="0"/>
                  </a:lnTo>
                  <a:lnTo>
                    <a:pt x="46139" y="2826"/>
                  </a:lnTo>
                  <a:lnTo>
                    <a:pt x="46106" y="15040"/>
                  </a:lnTo>
                  <a:lnTo>
                    <a:pt x="61016" y="6067"/>
                  </a:lnTo>
                  <a:lnTo>
                    <a:pt x="62502" y="10696"/>
                  </a:lnTo>
                  <a:lnTo>
                    <a:pt x="53985" y="22576"/>
                  </a:lnTo>
                  <a:lnTo>
                    <a:pt x="54323" y="33741"/>
                  </a:lnTo>
                  <a:lnTo>
                    <a:pt x="60845" y="39702"/>
                  </a:lnTo>
                  <a:lnTo>
                    <a:pt x="59310" y="60605"/>
                  </a:lnTo>
                  <a:lnTo>
                    <a:pt x="47776" y="72804"/>
                  </a:lnTo>
                  <a:lnTo>
                    <a:pt x="51740" y="85940"/>
                  </a:lnTo>
                  <a:lnTo>
                    <a:pt x="61223" y="86300"/>
                  </a:lnTo>
                  <a:lnTo>
                    <a:pt x="66285" y="97749"/>
                  </a:lnTo>
                  <a:lnTo>
                    <a:pt x="73416" y="101483"/>
                  </a:lnTo>
                  <a:lnTo>
                    <a:pt x="73115" y="120030"/>
                  </a:lnTo>
                  <a:lnTo>
                    <a:pt x="64393" y="127008"/>
                  </a:lnTo>
                  <a:lnTo>
                    <a:pt x="58991" y="134772"/>
                  </a:lnTo>
                  <a:lnTo>
                    <a:pt x="46613" y="144135"/>
                  </a:lnTo>
                  <a:lnTo>
                    <a:pt x="48913" y="154124"/>
                  </a:lnTo>
                  <a:lnTo>
                    <a:pt x="47638" y="164329"/>
                  </a:lnTo>
                  <a:lnTo>
                    <a:pt x="38747" y="169963"/>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41" name="Polygon form 105"/>
            <p:cNvSpPr/>
            <p:nvPr/>
          </p:nvSpPr>
          <p:spPr>
            <a:xfrm>
              <a:off x="4425013" y="3025141"/>
              <a:ext cx="339699" cy="150362"/>
            </a:xfrm>
            <a:custGeom>
              <a:avLst/>
              <a:gdLst/>
              <a:ahLst/>
              <a:cxnLst/>
              <a:rect l="0" t="0" r="0" b="0"/>
              <a:pathLst>
                <a:path w="339699" h="150362">
                  <a:moveTo>
                    <a:pt x="182926" y="16385"/>
                  </a:moveTo>
                  <a:lnTo>
                    <a:pt x="209640" y="25169"/>
                  </a:lnTo>
                  <a:lnTo>
                    <a:pt x="229394" y="20935"/>
                  </a:lnTo>
                  <a:lnTo>
                    <a:pt x="244856" y="22720"/>
                  </a:lnTo>
                  <a:lnTo>
                    <a:pt x="263145" y="9525"/>
                  </a:lnTo>
                  <a:lnTo>
                    <a:pt x="281509" y="7876"/>
                  </a:lnTo>
                  <a:lnTo>
                    <a:pt x="300664" y="19337"/>
                  </a:lnTo>
                  <a:lnTo>
                    <a:pt x="305316" y="27802"/>
                  </a:lnTo>
                  <a:lnTo>
                    <a:pt x="305919" y="39665"/>
                  </a:lnTo>
                  <a:lnTo>
                    <a:pt x="320170" y="45348"/>
                  </a:lnTo>
                  <a:lnTo>
                    <a:pt x="328491" y="52252"/>
                  </a:lnTo>
                  <a:lnTo>
                    <a:pt x="317734" y="59501"/>
                  </a:lnTo>
                  <a:lnTo>
                    <a:pt x="328495" y="87223"/>
                  </a:lnTo>
                  <a:lnTo>
                    <a:pt x="326394" y="94842"/>
                  </a:lnTo>
                  <a:lnTo>
                    <a:pt x="339699" y="114067"/>
                  </a:lnTo>
                  <a:lnTo>
                    <a:pt x="331850" y="118394"/>
                  </a:lnTo>
                  <a:lnTo>
                    <a:pt x="324461" y="112361"/>
                  </a:lnTo>
                  <a:lnTo>
                    <a:pt x="303098" y="109746"/>
                  </a:lnTo>
                  <a:lnTo>
                    <a:pt x="296060" y="113710"/>
                  </a:lnTo>
                  <a:lnTo>
                    <a:pt x="276315" y="117976"/>
                  </a:lnTo>
                  <a:lnTo>
                    <a:pt x="266587" y="117791"/>
                  </a:lnTo>
                  <a:lnTo>
                    <a:pt x="247393" y="127372"/>
                  </a:lnTo>
                  <a:lnTo>
                    <a:pt x="232620" y="127775"/>
                  </a:lnTo>
                  <a:lnTo>
                    <a:pt x="222361" y="123414"/>
                  </a:lnTo>
                  <a:lnTo>
                    <a:pt x="203583" y="130583"/>
                  </a:lnTo>
                  <a:lnTo>
                    <a:pt x="197008" y="125988"/>
                  </a:lnTo>
                  <a:lnTo>
                    <a:pt x="197994" y="139539"/>
                  </a:lnTo>
                  <a:lnTo>
                    <a:pt x="193920" y="144951"/>
                  </a:lnTo>
                  <a:lnTo>
                    <a:pt x="189831" y="150362"/>
                  </a:lnTo>
                  <a:lnTo>
                    <a:pt x="181659" y="139496"/>
                  </a:lnTo>
                  <a:lnTo>
                    <a:pt x="187190" y="130250"/>
                  </a:lnTo>
                  <a:lnTo>
                    <a:pt x="176509" y="132536"/>
                  </a:lnTo>
                  <a:lnTo>
                    <a:pt x="160687" y="127254"/>
                  </a:lnTo>
                  <a:lnTo>
                    <a:pt x="150192" y="141444"/>
                  </a:lnTo>
                  <a:lnTo>
                    <a:pt x="123158" y="144672"/>
                  </a:lnTo>
                  <a:lnTo>
                    <a:pt x="106927" y="131930"/>
                  </a:lnTo>
                  <a:lnTo>
                    <a:pt x="87420" y="131455"/>
                  </a:lnTo>
                  <a:lnTo>
                    <a:pt x="84470" y="141572"/>
                  </a:lnTo>
                  <a:lnTo>
                    <a:pt x="72331" y="144651"/>
                  </a:lnTo>
                  <a:lnTo>
                    <a:pt x="53415" y="132043"/>
                  </a:lnTo>
                  <a:lnTo>
                    <a:pt x="33801" y="132788"/>
                  </a:lnTo>
                  <a:lnTo>
                    <a:pt x="20520" y="108888"/>
                  </a:lnTo>
                  <a:lnTo>
                    <a:pt x="5981" y="95668"/>
                  </a:lnTo>
                  <a:lnTo>
                    <a:pt x="12562" y="76724"/>
                  </a:lnTo>
                  <a:lnTo>
                    <a:pt x="0" y="65343"/>
                  </a:lnTo>
                  <a:lnTo>
                    <a:pt x="16924" y="41897"/>
                  </a:lnTo>
                  <a:lnTo>
                    <a:pt x="43946" y="40466"/>
                  </a:lnTo>
                  <a:lnTo>
                    <a:pt x="48947" y="21947"/>
                  </a:lnTo>
                  <a:lnTo>
                    <a:pt x="82812" y="24525"/>
                  </a:lnTo>
                  <a:lnTo>
                    <a:pt x="101593" y="8408"/>
                  </a:lnTo>
                  <a:lnTo>
                    <a:pt x="120889" y="1142"/>
                  </a:lnTo>
                  <a:lnTo>
                    <a:pt x="149638" y="0"/>
                  </a:lnTo>
                  <a:lnTo>
                    <a:pt x="182926" y="16385"/>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42" name="Polygon form 106"/>
            <p:cNvSpPr/>
            <p:nvPr/>
          </p:nvSpPr>
          <p:spPr>
            <a:xfrm>
              <a:off x="4417437" y="3025448"/>
              <a:ext cx="51858" cy="48336"/>
            </a:xfrm>
            <a:custGeom>
              <a:avLst/>
              <a:gdLst/>
              <a:ahLst/>
              <a:cxnLst/>
              <a:rect l="0" t="0" r="0" b="0"/>
              <a:pathLst>
                <a:path w="51858" h="48336">
                  <a:moveTo>
                    <a:pt x="22167" y="35071"/>
                  </a:moveTo>
                  <a:lnTo>
                    <a:pt x="8995" y="48336"/>
                  </a:lnTo>
                  <a:lnTo>
                    <a:pt x="2145" y="37161"/>
                  </a:lnTo>
                  <a:lnTo>
                    <a:pt x="1807" y="32167"/>
                  </a:lnTo>
                  <a:lnTo>
                    <a:pt x="5668" y="29388"/>
                  </a:lnTo>
                  <a:lnTo>
                    <a:pt x="9293" y="14166"/>
                  </a:lnTo>
                  <a:lnTo>
                    <a:pt x="0" y="7904"/>
                  </a:lnTo>
                  <a:lnTo>
                    <a:pt x="16853" y="0"/>
                  </a:lnTo>
                  <a:lnTo>
                    <a:pt x="32286" y="2983"/>
                  </a:lnTo>
                  <a:lnTo>
                    <a:pt x="35559" y="12245"/>
                  </a:lnTo>
                  <a:lnTo>
                    <a:pt x="51858" y="19786"/>
                  </a:lnTo>
                  <a:lnTo>
                    <a:pt x="49437" y="25769"/>
                  </a:lnTo>
                  <a:lnTo>
                    <a:pt x="28754" y="27466"/>
                  </a:lnTo>
                  <a:lnTo>
                    <a:pt x="22167" y="35071"/>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43" name="Polygon form 107"/>
            <p:cNvSpPr/>
            <p:nvPr/>
          </p:nvSpPr>
          <p:spPr>
            <a:xfrm>
              <a:off x="6235203" y="3374564"/>
              <a:ext cx="26203" cy="88083"/>
            </a:xfrm>
            <a:custGeom>
              <a:avLst/>
              <a:gdLst/>
              <a:ahLst/>
              <a:cxnLst/>
              <a:rect l="0" t="0" r="0" b="0"/>
              <a:pathLst>
                <a:path w="26203" h="88083">
                  <a:moveTo>
                    <a:pt x="24102" y="23313"/>
                  </a:moveTo>
                  <a:lnTo>
                    <a:pt x="26203" y="66078"/>
                  </a:lnTo>
                  <a:lnTo>
                    <a:pt x="24592" y="88083"/>
                  </a:lnTo>
                  <a:lnTo>
                    <a:pt x="8105" y="66436"/>
                  </a:lnTo>
                  <a:lnTo>
                    <a:pt x="0" y="47106"/>
                  </a:lnTo>
                  <a:lnTo>
                    <a:pt x="2730" y="20730"/>
                  </a:lnTo>
                  <a:lnTo>
                    <a:pt x="10944" y="0"/>
                  </a:lnTo>
                  <a:lnTo>
                    <a:pt x="22042" y="7288"/>
                  </a:lnTo>
                  <a:lnTo>
                    <a:pt x="24102" y="23313"/>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44" name="Polygon form 108"/>
            <p:cNvSpPr/>
            <p:nvPr/>
          </p:nvSpPr>
          <p:spPr>
            <a:xfrm>
              <a:off x="4538728" y="4069194"/>
              <a:ext cx="212069" cy="262065"/>
            </a:xfrm>
            <a:custGeom>
              <a:avLst/>
              <a:gdLst/>
              <a:ahLst/>
              <a:cxnLst/>
              <a:rect l="0" t="0" r="0" b="0"/>
              <a:pathLst>
                <a:path w="212069" h="262065">
                  <a:moveTo>
                    <a:pt x="90789" y="0"/>
                  </a:moveTo>
                  <a:lnTo>
                    <a:pt x="94114" y="2671"/>
                  </a:lnTo>
                  <a:lnTo>
                    <a:pt x="165295" y="52307"/>
                  </a:lnTo>
                  <a:lnTo>
                    <a:pt x="166456" y="66433"/>
                  </a:lnTo>
                  <a:lnTo>
                    <a:pt x="194358" y="90850"/>
                  </a:lnTo>
                  <a:lnTo>
                    <a:pt x="184628" y="120834"/>
                  </a:lnTo>
                  <a:lnTo>
                    <a:pt x="185455" y="134641"/>
                  </a:lnTo>
                  <a:lnTo>
                    <a:pt x="197821" y="143568"/>
                  </a:lnTo>
                  <a:lnTo>
                    <a:pt x="198233" y="149905"/>
                  </a:lnTo>
                  <a:lnTo>
                    <a:pt x="192379" y="164592"/>
                  </a:lnTo>
                  <a:lnTo>
                    <a:pt x="193273" y="172000"/>
                  </a:lnTo>
                  <a:lnTo>
                    <a:pt x="191600" y="183630"/>
                  </a:lnTo>
                  <a:lnTo>
                    <a:pt x="197917" y="198938"/>
                  </a:lnTo>
                  <a:lnTo>
                    <a:pt x="205098" y="223011"/>
                  </a:lnTo>
                  <a:lnTo>
                    <a:pt x="212069" y="228387"/>
                  </a:lnTo>
                  <a:lnTo>
                    <a:pt x="195865" y="242408"/>
                  </a:lnTo>
                  <a:lnTo>
                    <a:pt x="174033" y="251718"/>
                  </a:lnTo>
                  <a:lnTo>
                    <a:pt x="162305" y="251238"/>
                  </a:lnTo>
                  <a:lnTo>
                    <a:pt x="155008" y="258491"/>
                  </a:lnTo>
                  <a:lnTo>
                    <a:pt x="141357" y="259025"/>
                  </a:lnTo>
                  <a:lnTo>
                    <a:pt x="136114" y="262065"/>
                  </a:lnTo>
                  <a:lnTo>
                    <a:pt x="112890" y="255058"/>
                  </a:lnTo>
                  <a:lnTo>
                    <a:pt x="98082" y="256930"/>
                  </a:lnTo>
                  <a:lnTo>
                    <a:pt x="93860" y="223847"/>
                  </a:lnTo>
                  <a:lnTo>
                    <a:pt x="87600" y="212479"/>
                  </a:lnTo>
                  <a:lnTo>
                    <a:pt x="83876" y="205740"/>
                  </a:lnTo>
                  <a:lnTo>
                    <a:pt x="64775" y="201115"/>
                  </a:lnTo>
                  <a:lnTo>
                    <a:pt x="53851" y="193772"/>
                  </a:lnTo>
                  <a:lnTo>
                    <a:pt x="41485" y="189630"/>
                  </a:lnTo>
                  <a:lnTo>
                    <a:pt x="33768" y="185531"/>
                  </a:lnTo>
                  <a:lnTo>
                    <a:pt x="25724" y="179319"/>
                  </a:lnTo>
                  <a:lnTo>
                    <a:pt x="15839" y="148705"/>
                  </a:lnTo>
                  <a:lnTo>
                    <a:pt x="4705" y="135083"/>
                  </a:lnTo>
                  <a:lnTo>
                    <a:pt x="1030" y="121002"/>
                  </a:lnTo>
                  <a:lnTo>
                    <a:pt x="3215" y="108393"/>
                  </a:lnTo>
                  <a:lnTo>
                    <a:pt x="0" y="86068"/>
                  </a:lnTo>
                  <a:lnTo>
                    <a:pt x="8168" y="84931"/>
                  </a:lnTo>
                  <a:lnTo>
                    <a:pt x="15437" y="76156"/>
                  </a:lnTo>
                  <a:lnTo>
                    <a:pt x="23263" y="63514"/>
                  </a:lnTo>
                  <a:lnTo>
                    <a:pt x="28184" y="58444"/>
                  </a:lnTo>
                  <a:lnTo>
                    <a:pt x="28081" y="50556"/>
                  </a:lnTo>
                  <a:lnTo>
                    <a:pt x="23883" y="45048"/>
                  </a:lnTo>
                  <a:lnTo>
                    <a:pt x="22816" y="35491"/>
                  </a:lnTo>
                  <a:lnTo>
                    <a:pt x="28534" y="32425"/>
                  </a:lnTo>
                  <a:lnTo>
                    <a:pt x="29765" y="18147"/>
                  </a:lnTo>
                  <a:lnTo>
                    <a:pt x="21989" y="4448"/>
                  </a:lnTo>
                  <a:lnTo>
                    <a:pt x="28922" y="1537"/>
                  </a:lnTo>
                  <a:lnTo>
                    <a:pt x="50562" y="1859"/>
                  </a:lnTo>
                  <a:lnTo>
                    <a:pt x="90789" y="0"/>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145" name="Polygon form 109"/>
            <p:cNvSpPr/>
            <p:nvPr/>
          </p:nvSpPr>
          <p:spPr>
            <a:xfrm>
              <a:off x="4544124" y="3942823"/>
              <a:ext cx="107626" cy="138301"/>
            </a:xfrm>
            <a:custGeom>
              <a:avLst/>
              <a:gdLst/>
              <a:ahLst/>
              <a:cxnLst/>
              <a:rect l="0" t="0" r="0" b="0"/>
              <a:pathLst>
                <a:path w="107626" h="138301">
                  <a:moveTo>
                    <a:pt x="45166" y="128230"/>
                  </a:moveTo>
                  <a:lnTo>
                    <a:pt x="23526" y="127908"/>
                  </a:lnTo>
                  <a:lnTo>
                    <a:pt x="16593" y="130819"/>
                  </a:lnTo>
                  <a:lnTo>
                    <a:pt x="4767" y="138301"/>
                  </a:lnTo>
                  <a:lnTo>
                    <a:pt x="0" y="135823"/>
                  </a:lnTo>
                  <a:lnTo>
                    <a:pt x="218" y="117534"/>
                  </a:lnTo>
                  <a:lnTo>
                    <a:pt x="4803" y="108265"/>
                  </a:lnTo>
                  <a:lnTo>
                    <a:pt x="5902" y="88791"/>
                  </a:lnTo>
                  <a:lnTo>
                    <a:pt x="10026" y="77508"/>
                  </a:lnTo>
                  <a:lnTo>
                    <a:pt x="17522" y="64849"/>
                  </a:lnTo>
                  <a:lnTo>
                    <a:pt x="25070" y="58397"/>
                  </a:lnTo>
                  <a:lnTo>
                    <a:pt x="31359" y="49772"/>
                  </a:lnTo>
                  <a:lnTo>
                    <a:pt x="23425" y="46494"/>
                  </a:lnTo>
                  <a:lnTo>
                    <a:pt x="24359" y="18114"/>
                  </a:lnTo>
                  <a:lnTo>
                    <a:pt x="32403" y="11479"/>
                  </a:lnTo>
                  <a:lnTo>
                    <a:pt x="45010" y="16886"/>
                  </a:lnTo>
                  <a:lnTo>
                    <a:pt x="60818" y="11172"/>
                  </a:lnTo>
                  <a:lnTo>
                    <a:pt x="74696" y="11201"/>
                  </a:lnTo>
                  <a:lnTo>
                    <a:pt x="86669" y="0"/>
                  </a:lnTo>
                  <a:lnTo>
                    <a:pt x="96250" y="16855"/>
                  </a:lnTo>
                  <a:lnTo>
                    <a:pt x="98699" y="29050"/>
                  </a:lnTo>
                  <a:lnTo>
                    <a:pt x="107626" y="56945"/>
                  </a:lnTo>
                  <a:lnTo>
                    <a:pt x="100540" y="74673"/>
                  </a:lnTo>
                  <a:lnTo>
                    <a:pt x="90874" y="90767"/>
                  </a:lnTo>
                  <a:lnTo>
                    <a:pt x="85230" y="100616"/>
                  </a:lnTo>
                  <a:lnTo>
                    <a:pt x="85393" y="126371"/>
                  </a:lnTo>
                  <a:lnTo>
                    <a:pt x="45166" y="128230"/>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146" name="Polygon form 110"/>
            <p:cNvSpPr/>
            <p:nvPr/>
          </p:nvSpPr>
          <p:spPr>
            <a:xfrm>
              <a:off x="4329324" y="2776699"/>
              <a:ext cx="297529" cy="192741"/>
            </a:xfrm>
            <a:custGeom>
              <a:avLst/>
              <a:gdLst/>
              <a:ahLst/>
              <a:cxnLst/>
              <a:rect l="0" t="0" r="0" b="0"/>
              <a:pathLst>
                <a:path w="297529" h="192741">
                  <a:moveTo>
                    <a:pt x="145542" y="6418"/>
                  </a:moveTo>
                  <a:lnTo>
                    <a:pt x="151754" y="7249"/>
                  </a:lnTo>
                  <a:lnTo>
                    <a:pt x="154766" y="1658"/>
                  </a:lnTo>
                  <a:lnTo>
                    <a:pt x="159894" y="2751"/>
                  </a:lnTo>
                  <a:lnTo>
                    <a:pt x="176123" y="0"/>
                  </a:lnTo>
                  <a:lnTo>
                    <a:pt x="189212" y="13413"/>
                  </a:lnTo>
                  <a:lnTo>
                    <a:pt x="186162" y="18408"/>
                  </a:lnTo>
                  <a:lnTo>
                    <a:pt x="189013" y="25874"/>
                  </a:lnTo>
                  <a:lnTo>
                    <a:pt x="202203" y="26711"/>
                  </a:lnTo>
                  <a:lnTo>
                    <a:pt x="210140" y="37039"/>
                  </a:lnTo>
                  <a:lnTo>
                    <a:pt x="210755" y="41804"/>
                  </a:lnTo>
                  <a:lnTo>
                    <a:pt x="233282" y="49753"/>
                  </a:lnTo>
                  <a:lnTo>
                    <a:pt x="245025" y="45583"/>
                  </a:lnTo>
                  <a:lnTo>
                    <a:pt x="257570" y="56626"/>
                  </a:lnTo>
                  <a:lnTo>
                    <a:pt x="267102" y="56096"/>
                  </a:lnTo>
                  <a:lnTo>
                    <a:pt x="293062" y="63270"/>
                  </a:lnTo>
                  <a:lnTo>
                    <a:pt x="294853" y="70368"/>
                  </a:lnTo>
                  <a:lnTo>
                    <a:pt x="290952" y="83230"/>
                  </a:lnTo>
                  <a:lnTo>
                    <a:pt x="297529" y="96469"/>
                  </a:lnTo>
                  <a:lnTo>
                    <a:pt x="296651" y="104614"/>
                  </a:lnTo>
                  <a:lnTo>
                    <a:pt x="280883" y="106839"/>
                  </a:lnTo>
                  <a:lnTo>
                    <a:pt x="273666" y="113830"/>
                  </a:lnTo>
                  <a:lnTo>
                    <a:pt x="275324" y="124595"/>
                  </a:lnTo>
                  <a:lnTo>
                    <a:pt x="262301" y="126885"/>
                  </a:lnTo>
                  <a:lnTo>
                    <a:pt x="252633" y="135004"/>
                  </a:lnTo>
                  <a:lnTo>
                    <a:pt x="237096" y="136677"/>
                  </a:lnTo>
                  <a:lnTo>
                    <a:pt x="224210" y="146051"/>
                  </a:lnTo>
                  <a:lnTo>
                    <a:pt x="227904" y="161078"/>
                  </a:lnTo>
                  <a:lnTo>
                    <a:pt x="237267" y="166717"/>
                  </a:lnTo>
                  <a:lnTo>
                    <a:pt x="254355" y="164841"/>
                  </a:lnTo>
                  <a:lnTo>
                    <a:pt x="252617" y="173560"/>
                  </a:lnTo>
                  <a:lnTo>
                    <a:pt x="234688" y="178203"/>
                  </a:lnTo>
                  <a:lnTo>
                    <a:pt x="213852" y="192741"/>
                  </a:lnTo>
                  <a:lnTo>
                    <a:pt x="203503" y="188031"/>
                  </a:lnTo>
                  <a:lnTo>
                    <a:pt x="205382" y="176577"/>
                  </a:lnTo>
                  <a:lnTo>
                    <a:pt x="185567" y="169909"/>
                  </a:lnTo>
                  <a:lnTo>
                    <a:pt x="187812" y="165205"/>
                  </a:lnTo>
                  <a:lnTo>
                    <a:pt x="202727" y="156798"/>
                  </a:lnTo>
                  <a:lnTo>
                    <a:pt x="196865" y="151370"/>
                  </a:lnTo>
                  <a:lnTo>
                    <a:pt x="169519" y="145843"/>
                  </a:lnTo>
                  <a:lnTo>
                    <a:pt x="166869" y="136851"/>
                  </a:lnTo>
                  <a:lnTo>
                    <a:pt x="151711" y="140165"/>
                  </a:lnTo>
                  <a:lnTo>
                    <a:pt x="147533" y="153611"/>
                  </a:lnTo>
                  <a:lnTo>
                    <a:pt x="137086" y="171750"/>
                  </a:lnTo>
                  <a:lnTo>
                    <a:pt x="128738" y="167753"/>
                  </a:lnTo>
                  <a:lnTo>
                    <a:pt x="121293" y="171799"/>
                  </a:lnTo>
                  <a:lnTo>
                    <a:pt x="113045" y="167490"/>
                  </a:lnTo>
                  <a:lnTo>
                    <a:pt x="116955" y="164782"/>
                  </a:lnTo>
                  <a:lnTo>
                    <a:pt x="118718" y="156431"/>
                  </a:lnTo>
                  <a:lnTo>
                    <a:pt x="122219" y="148632"/>
                  </a:lnTo>
                  <a:lnTo>
                    <a:pt x="120374" y="144327"/>
                  </a:lnTo>
                  <a:lnTo>
                    <a:pt x="123621" y="142329"/>
                  </a:lnTo>
                  <a:lnTo>
                    <a:pt x="125794" y="145641"/>
                  </a:lnTo>
                  <a:lnTo>
                    <a:pt x="135877" y="146148"/>
                  </a:lnTo>
                  <a:lnTo>
                    <a:pt x="140079" y="144268"/>
                  </a:lnTo>
                  <a:lnTo>
                    <a:pt x="136545" y="141882"/>
                  </a:lnTo>
                  <a:lnTo>
                    <a:pt x="137177" y="138254"/>
                  </a:lnTo>
                  <a:lnTo>
                    <a:pt x="130330" y="132230"/>
                  </a:lnTo>
                  <a:lnTo>
                    <a:pt x="126324" y="122174"/>
                  </a:lnTo>
                  <a:lnTo>
                    <a:pt x="119593" y="118345"/>
                  </a:lnTo>
                  <a:lnTo>
                    <a:pt x="119521" y="110131"/>
                  </a:lnTo>
                  <a:lnTo>
                    <a:pt x="110954" y="103782"/>
                  </a:lnTo>
                  <a:lnTo>
                    <a:pt x="103945" y="103016"/>
                  </a:lnTo>
                  <a:lnTo>
                    <a:pt x="90510" y="95730"/>
                  </a:lnTo>
                  <a:lnTo>
                    <a:pt x="79784" y="98333"/>
                  </a:lnTo>
                  <a:lnTo>
                    <a:pt x="76322" y="101971"/>
                  </a:lnTo>
                  <a:lnTo>
                    <a:pt x="69277" y="102098"/>
                  </a:lnTo>
                  <a:lnTo>
                    <a:pt x="65869" y="107822"/>
                  </a:lnTo>
                  <a:lnTo>
                    <a:pt x="53833" y="110364"/>
                  </a:lnTo>
                  <a:lnTo>
                    <a:pt x="48610" y="114173"/>
                  </a:lnTo>
                  <a:lnTo>
                    <a:pt x="40052" y="108405"/>
                  </a:lnTo>
                  <a:lnTo>
                    <a:pt x="29310" y="108496"/>
                  </a:lnTo>
                  <a:lnTo>
                    <a:pt x="18618" y="105991"/>
                  </a:lnTo>
                  <a:lnTo>
                    <a:pt x="12030" y="111279"/>
                  </a:lnTo>
                  <a:lnTo>
                    <a:pt x="10072" y="104824"/>
                  </a:lnTo>
                  <a:lnTo>
                    <a:pt x="0" y="98401"/>
                  </a:lnTo>
                  <a:lnTo>
                    <a:pt x="2070" y="88615"/>
                  </a:lnTo>
                  <a:lnTo>
                    <a:pt x="5899" y="82255"/>
                  </a:lnTo>
                  <a:lnTo>
                    <a:pt x="9699" y="83606"/>
                  </a:lnTo>
                  <a:lnTo>
                    <a:pt x="4057" y="72824"/>
                  </a:lnTo>
                  <a:lnTo>
                    <a:pt x="16419" y="52493"/>
                  </a:lnTo>
                  <a:lnTo>
                    <a:pt x="24186" y="49543"/>
                  </a:lnTo>
                  <a:lnTo>
                    <a:pt x="25010" y="42739"/>
                  </a:lnTo>
                  <a:lnTo>
                    <a:pt x="13888" y="21804"/>
                  </a:lnTo>
                  <a:lnTo>
                    <a:pt x="21520" y="20727"/>
                  </a:lnTo>
                  <a:lnTo>
                    <a:pt x="29470" y="14024"/>
                  </a:lnTo>
                  <a:lnTo>
                    <a:pt x="41937" y="13256"/>
                  </a:lnTo>
                  <a:lnTo>
                    <a:pt x="58587" y="14833"/>
                  </a:lnTo>
                  <a:lnTo>
                    <a:pt x="77606" y="20267"/>
                  </a:lnTo>
                  <a:lnTo>
                    <a:pt x="90466" y="20488"/>
                  </a:lnTo>
                  <a:lnTo>
                    <a:pt x="97155" y="23849"/>
                  </a:lnTo>
                  <a:lnTo>
                    <a:pt x="102533" y="19509"/>
                  </a:lnTo>
                  <a:lnTo>
                    <a:pt x="107756" y="25064"/>
                  </a:lnTo>
                  <a:lnTo>
                    <a:pt x="122216" y="23584"/>
                  </a:lnTo>
                  <a:lnTo>
                    <a:pt x="129094" y="25773"/>
                  </a:lnTo>
                  <a:lnTo>
                    <a:pt x="127945" y="13593"/>
                  </a:lnTo>
                  <a:lnTo>
                    <a:pt x="131955" y="8176"/>
                  </a:lnTo>
                  <a:lnTo>
                    <a:pt x="145542" y="6418"/>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147" name="Polygon form 111"/>
            <p:cNvSpPr/>
            <p:nvPr/>
          </p:nvSpPr>
          <p:spPr>
            <a:xfrm>
              <a:off x="2889559" y="4786652"/>
              <a:ext cx="95428" cy="117443"/>
            </a:xfrm>
            <a:custGeom>
              <a:avLst/>
              <a:gdLst/>
              <a:ahLst/>
              <a:cxnLst/>
              <a:rect l="0" t="0" r="0" b="0"/>
              <a:pathLst>
                <a:path w="95428" h="117443">
                  <a:moveTo>
                    <a:pt x="900" y="2947"/>
                  </a:moveTo>
                  <a:lnTo>
                    <a:pt x="12423" y="0"/>
                  </a:lnTo>
                  <a:lnTo>
                    <a:pt x="34431" y="18436"/>
                  </a:lnTo>
                  <a:lnTo>
                    <a:pt x="41155" y="17532"/>
                  </a:lnTo>
                  <a:lnTo>
                    <a:pt x="62988" y="32691"/>
                  </a:lnTo>
                  <a:lnTo>
                    <a:pt x="79892" y="45815"/>
                  </a:lnTo>
                  <a:lnTo>
                    <a:pt x="93577" y="62156"/>
                  </a:lnTo>
                  <a:lnTo>
                    <a:pt x="87716" y="73974"/>
                  </a:lnTo>
                  <a:lnTo>
                    <a:pt x="95428" y="87670"/>
                  </a:lnTo>
                  <a:lnTo>
                    <a:pt x="90590" y="103251"/>
                  </a:lnTo>
                  <a:lnTo>
                    <a:pt x="72909" y="117443"/>
                  </a:lnTo>
                  <a:lnTo>
                    <a:pt x="58543" y="112963"/>
                  </a:lnTo>
                  <a:lnTo>
                    <a:pt x="49308" y="115887"/>
                  </a:lnTo>
                  <a:lnTo>
                    <a:pt x="30353" y="105906"/>
                  </a:lnTo>
                  <a:lnTo>
                    <a:pt x="18240" y="107080"/>
                  </a:lnTo>
                  <a:lnTo>
                    <a:pt x="4288" y="93888"/>
                  </a:lnTo>
                  <a:lnTo>
                    <a:pt x="2348" y="78014"/>
                  </a:lnTo>
                  <a:lnTo>
                    <a:pt x="5169" y="72438"/>
                  </a:lnTo>
                  <a:lnTo>
                    <a:pt x="26" y="48037"/>
                  </a:lnTo>
                  <a:lnTo>
                    <a:pt x="0" y="22697"/>
                  </a:lnTo>
                  <a:lnTo>
                    <a:pt x="900" y="2947"/>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148" name="Polygon form 112"/>
            <p:cNvSpPr/>
            <p:nvPr/>
          </p:nvSpPr>
          <p:spPr>
            <a:xfrm>
              <a:off x="1788347" y="2767532"/>
              <a:ext cx="1033957" cy="648549"/>
            </a:xfrm>
            <a:custGeom>
              <a:avLst/>
              <a:gdLst/>
              <a:ahLst/>
              <a:cxnLst/>
              <a:rect l="0" t="0" r="0" b="0"/>
              <a:pathLst>
                <a:path w="1033957" h="648549">
                  <a:moveTo>
                    <a:pt x="621427" y="31440"/>
                  </a:move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6942" y="45093"/>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19669" y="49618"/>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30014" y="51973"/>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44291" y="57100"/>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55933" y="65843"/>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70579" y="63607"/>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87180" y="71394"/>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692577" y="71528"/>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10436" y="65612"/>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21234" y="75545"/>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32550" y="86090"/>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41897" y="95128"/>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50962" y="103803"/>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49615" y="110350"/>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2389" y="113012"/>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0290" y="115376"/>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4359" y="116415"/>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8695" y="114084"/>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6927" y="119942"/>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58515" y="124039"/>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3045" y="12432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4146" y="127475"/>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60198" y="131707"/>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72496" y="144294"/>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6676" y="166790"/>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61284" y="188347"/>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50494" y="202600"/>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37128" y="215678"/>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9977" y="22408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8591" y="226635"/>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29127" y="230269"/>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3421" y="234492"/>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37711" y="234737"/>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62621" y="22270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781668" y="219829"/>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8594" y="208836"/>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09873" y="206362"/>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1221" y="198783"/>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0350" y="19380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19492" y="190336"/>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36133" y="191162"/>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51653" y="192019"/>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0681" y="182756"/>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63514" y="180962"/>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88011" y="164285"/>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897296" y="160190"/>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22830" y="161383"/>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3767" y="162972"/>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57644" y="157025"/>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63458" y="156073"/>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71950" y="152655"/>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81934" y="141846"/>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994006" y="12311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3480" y="105369"/>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16581" y="112053"/>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29185" y="108476"/>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33957" y="115875"/>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2092" y="149122"/>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294" y="16344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28486" y="171586"/>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1006442" y="182561"/>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86171" y="190162"/>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65771" y="196530"/>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51787" y="210624"/>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7020" y="215991"/>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2464" y="22897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43823" y="24223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0767" y="24318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1897" y="234154"/>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5267" y="239842"/>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51609" y="246777"/>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8675" y="25020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30546" y="24933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16375" y="253006"/>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908460" y="253872"/>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98020" y="254596"/>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881235" y="261004"/>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08163" y="257611"/>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911756" y="262507"/>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85085" y="268709"/>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4032" y="268221"/>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75556" y="265229"/>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68002" y="271785"/>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72729" y="273163"/>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63153" y="290647"/>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4287" y="308984"/>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5036" y="302596"/>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41616" y="301128"/>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915" y="294692"/>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37202" y="308131"/>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40132" y="312724"/>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37415" y="322048"/>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28733" y="331360"/>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2618" y="350594"/>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11312" y="34953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22050" y="333008"/>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16077" y="323153"/>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20722" y="302572"/>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3836" y="313065"/>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12507" y="328891"/>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02139" y="32446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11689" y="332993"/>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5056" y="356514"/>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9615" y="358458"/>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8839" y="36708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803937" y="391917"/>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87177" y="409762"/>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66457" y="416274"/>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50404" y="430278"/>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40939" y="431466"/>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9161" y="440171"/>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724184" y="44838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99688" y="463623"/>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86095" y="475008"/>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73379" y="489385"/>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5702" y="506958"/>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309" y="524400"/>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4918" y="545979"/>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8705" y="563957"/>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6168" y="574739"/>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8122" y="604012"/>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3699" y="620819"/>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60716" y="630503"/>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52693" y="645591"/>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46392" y="648549"/>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805" y="645194"/>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7267" y="634118"/>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31440" y="628110"/>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6506" y="606238"/>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441" y="586776"/>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22066" y="576887"/>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30046" y="56045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28412" y="546503"/>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9618" y="525002"/>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613494" y="520859"/>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91850" y="531396"/>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8900" y="530002"/>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83229" y="517939"/>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73492" y="511231"/>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51888" y="513429"/>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36445" y="509903"/>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21982" y="510974"/>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3263" y="514530"/>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4612" y="521357"/>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1374" y="531525"/>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13863" y="536666"/>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9421" y="53980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503648" y="535787"/>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95382" y="540236"/>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82254" y="538834"/>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72423" y="524891"/>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55489" y="52725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43906" y="520778"/>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31974" y="521982"/>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414754" y="527108"/>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92378" y="545004"/>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70818" y="5550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57162" y="566610"/>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9575" y="577812"/>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4379" y="595308"/>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1901" y="607536"/>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43070" y="61633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35591" y="616761"/>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23903" y="610560"/>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11606" y="601996"/>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09838" y="589794"/>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11006" y="571798"/>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4511" y="556761"/>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302789" y="541537"/>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99163" y="52365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89616" y="51282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74533" y="512486"/>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56350" y="531951"/>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43694" y="523464"/>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6849" y="51523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7134" y="500963"/>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35790" y="487306"/>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9057" y="475459"/>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22772" y="466843"/>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219562" y="457405"/>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8405" y="455418"/>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84378" y="465944"/>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70086" y="465040"/>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34216" y="462898"/>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100444" y="442089"/>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78631" y="427724"/>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82402" y="422829"/>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58638" y="423976"/>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37587" y="424473"/>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40278" y="411118"/>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35348" y="395476"/>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8505" y="391767"/>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9923" y="384250"/>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20654" y="382184"/>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17584" y="374738"/>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2502" y="370894"/>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0" y="366382"/>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615" y="352125"/>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96" y="324932"/>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4547" y="288088"/>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8288" y="282224"/>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5309" y="273105"/>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3942" y="250512"/>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3327" y="229534"/>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12451" y="214790"/>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28457" y="194125"/>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0951" y="17237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47679" y="152502"/>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68967" y="129444"/>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85612" y="106887"/>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02533" y="84405"/>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22424" y="50696"/>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2404" y="28937"/>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36131" y="16946"/>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41474" y="12331"/>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57707" y="23213"/>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49662" y="47495"/>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58025" y="4136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69716" y="20807"/>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178953" y="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22436" y="4770"/>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68114" y="9599"/>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283287" y="11164"/>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30487" y="15908"/>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376374" y="20345"/>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23238" y="24706"/>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470321" y="28922"/>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23850" y="33510"/>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577976" y="3792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0810" y="40537"/>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16003" y="31139"/>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lnTo>
                    <a:pt x="621427" y="31440"/>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149" name="Polygon form 113"/>
            <p:cNvSpPr/>
            <p:nvPr/>
          </p:nvSpPr>
          <p:spPr>
            <a:xfrm>
              <a:off x="1500187" y="2197180"/>
              <a:ext cx="715796" cy="415526"/>
            </a:xfrm>
            <a:custGeom>
              <a:avLst/>
              <a:gdLst/>
              <a:ahLst/>
              <a:cxnLst/>
              <a:rect l="0" t="0" r="0" b="0"/>
              <a:pathLst>
                <a:path w="715796" h="415526">
                  <a:moveTo>
                    <a:pt x="613125" y="6640"/>
                  </a:move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05969" y="1689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16634" y="13714"/>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31888" y="17662"/>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24027" y="22236"/>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34417" y="28189"/>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48060" y="27785"/>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60255" y="37672"/>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77631" y="42689"/>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681874" y="46622"/>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0868" y="45315"/>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08185" y="5399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715796" y="58649"/>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610046" y="138624"/>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58096" y="266430"/>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69760" y="268995"/>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5126" y="277223"/>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73133" y="28866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68471" y="305606"/>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494687" y="29444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15530" y="288797"/>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9913" y="301791"/>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08950" y="312579"/>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10403" y="324810"/>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502110" y="342811"/>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0107" y="371655"/>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99432" y="389890"/>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86174" y="404999"/>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055" y="415526"/>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8480" y="405510"/>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63203" y="396263"/>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8637" y="374978"/>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79460" y="353435"/>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94116" y="330211"/>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82921" y="326907"/>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62539" y="323340"/>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4108" y="314384"/>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52974" y="286313"/>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45552" y="280084"/>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32568" y="268469"/>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12989" y="26770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400598" y="253281"/>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97390" y="241212"/>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78102" y="243771"/>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61924" y="259998"/>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53373" y="260326"/>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33475" y="262685"/>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313482" y="268546"/>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294028" y="271048"/>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08352" y="257302"/>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40863" y="236021"/>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2205" y="231278"/>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65859" y="225067"/>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35040" y="234974"/>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308315" y="248583"/>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71071" y="261647"/>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66692" y="27432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35372" y="288731"/>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210573" y="29597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89755" y="300756"/>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74566" y="310435"/>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40864" y="318816"/>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124077" y="329009"/>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7619" y="336227"/>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91035" y="332790"/>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71588" y="337062"/>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49385" y="342567"/>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29633" y="348370"/>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0" y="350799"/>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702" y="346456"/>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29496" y="338239"/>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50378" y="333438"/>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78945" y="323284"/>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97618" y="323636"/>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15128" y="315281"/>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48975" y="304675"/>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57293" y="300569"/>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76226" y="294132"/>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199453" y="277124"/>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222210" y="264797"/>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199662" y="269098"/>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200610" y="264451"/>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83750" y="271495"/>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90286" y="258466"/>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76786" y="265995"/>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86578" y="253827"/>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63072" y="260580"/>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55744" y="259129"/>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72022" y="245485"/>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4881" y="237662"/>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87806" y="228208"/>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66957" y="229476"/>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1215" y="217064"/>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70604" y="210158"/>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87764" y="1976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192134" y="186573"/>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14196" y="174949"/>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40511" y="164702"/>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60371" y="1544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1542" y="154636"/>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74183" y="159577"/>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297960" y="150928"/>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03343" y="154334"/>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21285" y="149268"/>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3264" y="139080"/>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32700" y="134067"/>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52718" y="127385"/>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45693" y="126361"/>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27402" y="128780"/>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7208" y="132833"/>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315572" y="126489"/>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96817" y="125863"/>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88800" y="117682"/>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297255" y="108369"/>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02843" y="93633"/>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31006" y="87940"/>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69944" y="82418"/>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78500" y="84065"/>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61081" y="94139"/>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84593" y="97577"/>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728" y="83088"/>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395177" y="72820"/>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4083" y="61216"/>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8294" y="50722"/>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04940" y="41728"/>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27921" y="32342"/>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46664" y="35015"/>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74279" y="28236"/>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492700" y="18975"/>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18499" y="11359"/>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31900" y="1078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65236" y="5202"/>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572184" y="807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04811" y="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lnTo>
                    <a:pt x="613125" y="6640"/>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150" name="Polygon form 114"/>
            <p:cNvSpPr/>
            <p:nvPr/>
          </p:nvSpPr>
          <p:spPr>
            <a:xfrm>
              <a:off x="1700379" y="2492211"/>
              <a:ext cx="49399" cy="26884"/>
            </a:xfrm>
            <a:custGeom>
              <a:avLst/>
              <a:gdLst/>
              <a:ahLst/>
              <a:cxnLst/>
              <a:rect l="0" t="0" r="0" b="0"/>
              <a:pathLst>
                <a:path w="49399" h="26884">
                  <a:moveTo>
                    <a:pt x="22836" y="20244"/>
                  </a:move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0" y="26884"/>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417" y="19733"/>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11096" y="8528"/>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32092" y="2339"/>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2893" y="0"/>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9399" y="3015"/>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46441" y="11122"/>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lnTo>
                    <a:pt x="22836" y="20244"/>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152" name="Polygon form 116"/>
            <p:cNvSpPr/>
            <p:nvPr/>
          </p:nvSpPr>
          <p:spPr>
            <a:xfrm>
              <a:off x="1690556" y="2322112"/>
              <a:ext cx="29903" cy="22011"/>
            </a:xfrm>
            <a:custGeom>
              <a:avLst/>
              <a:gdLst/>
              <a:ahLst/>
              <a:cxnLst/>
              <a:rect l="0" t="0" r="0" b="0"/>
              <a:pathLst>
                <a:path w="29903" h="22011">
                  <a:moveTo>
                    <a:pt x="13216" y="0"/>
                  </a:move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13532" y="539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451" y="4644"/>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3542" y="1203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9903" y="17102"/>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25545" y="19230"/>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10642" y="22011"/>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9448" y="15660"/>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11231" y="10958"/>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0" y="10167"/>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338" y="7768"/>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lnTo>
                    <a:pt x="13216" y="0"/>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153" name="Polygon form 117"/>
            <p:cNvSpPr/>
            <p:nvPr/>
          </p:nvSpPr>
          <p:spPr>
            <a:xfrm>
              <a:off x="1636432" y="2407436"/>
              <a:ext cx="24130" cy="14604"/>
            </a:xfrm>
            <a:custGeom>
              <a:avLst/>
              <a:gdLst/>
              <a:ahLst/>
              <a:cxnLst/>
              <a:rect l="0" t="0" r="0" b="0"/>
              <a:pathLst>
                <a:path w="24130" h="14604">
                  <a:moveTo>
                    <a:pt x="13646" y="12598"/>
                  </a:move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1881" y="1460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0" y="8894"/>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343" y="1441"/>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17810" y="0"/>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24130" y="3865"/>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lnTo>
                    <a:pt x="13646" y="12598"/>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158" name="Polygon form 122"/>
            <p:cNvSpPr/>
            <p:nvPr/>
          </p:nvSpPr>
          <p:spPr>
            <a:xfrm>
              <a:off x="4915717" y="2926489"/>
              <a:ext cx="324432" cy="199703"/>
            </a:xfrm>
            <a:custGeom>
              <a:avLst/>
              <a:gdLst/>
              <a:ahLst/>
              <a:cxnLst/>
              <a:rect l="0" t="0" r="0" b="0"/>
              <a:pathLst>
                <a:path w="324432" h="199703">
                  <a:moveTo>
                    <a:pt x="235760" y="195297"/>
                  </a:moveTo>
                  <a:lnTo>
                    <a:pt x="232121" y="180259"/>
                  </a:lnTo>
                  <a:lnTo>
                    <a:pt x="205715" y="170713"/>
                  </a:lnTo>
                  <a:lnTo>
                    <a:pt x="183981" y="159451"/>
                  </a:lnTo>
                  <a:lnTo>
                    <a:pt x="169345" y="148379"/>
                  </a:lnTo>
                  <a:lnTo>
                    <a:pt x="144648" y="132277"/>
                  </a:lnTo>
                  <a:lnTo>
                    <a:pt x="129061" y="107416"/>
                  </a:lnTo>
                  <a:lnTo>
                    <a:pt x="121987" y="103216"/>
                  </a:lnTo>
                  <a:lnTo>
                    <a:pt x="103529" y="105085"/>
                  </a:lnTo>
                  <a:lnTo>
                    <a:pt x="95509" y="100345"/>
                  </a:lnTo>
                  <a:lnTo>
                    <a:pt x="88238" y="80944"/>
                  </a:lnTo>
                  <a:lnTo>
                    <a:pt x="61419" y="68970"/>
                  </a:lnTo>
                  <a:lnTo>
                    <a:pt x="50785" y="83695"/>
                  </a:lnTo>
                  <a:lnTo>
                    <a:pt x="38249" y="92650"/>
                  </a:lnTo>
                  <a:lnTo>
                    <a:pt x="44318" y="104826"/>
                  </a:lnTo>
                  <a:lnTo>
                    <a:pt x="24790" y="105876"/>
                  </a:lnTo>
                  <a:lnTo>
                    <a:pt x="0" y="16115"/>
                  </a:lnTo>
                  <a:lnTo>
                    <a:pt x="39302" y="0"/>
                  </a:lnTo>
                  <a:lnTo>
                    <a:pt x="43084" y="1982"/>
                  </a:lnTo>
                  <a:lnTo>
                    <a:pt x="74521" y="18325"/>
                  </a:lnTo>
                  <a:lnTo>
                    <a:pt x="91189" y="26956"/>
                  </a:lnTo>
                  <a:lnTo>
                    <a:pt x="114099" y="48247"/>
                  </a:lnTo>
                  <a:lnTo>
                    <a:pt x="133024" y="43837"/>
                  </a:lnTo>
                  <a:lnTo>
                    <a:pt x="161648" y="40646"/>
                  </a:lnTo>
                  <a:lnTo>
                    <a:pt x="187747" y="57573"/>
                  </a:lnTo>
                  <a:lnTo>
                    <a:pt x="194143" y="82155"/>
                  </a:lnTo>
                  <a:lnTo>
                    <a:pt x="202591" y="81955"/>
                  </a:lnTo>
                  <a:lnTo>
                    <a:pt x="212277" y="101850"/>
                  </a:lnTo>
                  <a:lnTo>
                    <a:pt x="234550" y="101668"/>
                  </a:lnTo>
                  <a:lnTo>
                    <a:pt x="242891" y="113062"/>
                  </a:lnTo>
                  <a:lnTo>
                    <a:pt x="249314" y="112617"/>
                  </a:lnTo>
                  <a:lnTo>
                    <a:pt x="251391" y="94735"/>
                  </a:lnTo>
                  <a:lnTo>
                    <a:pt x="268576" y="76591"/>
                  </a:lnTo>
                  <a:lnTo>
                    <a:pt x="276910" y="71590"/>
                  </a:lnTo>
                  <a:lnTo>
                    <a:pt x="282814" y="73757"/>
                  </a:lnTo>
                  <a:lnTo>
                    <a:pt x="273625" y="90324"/>
                  </a:lnTo>
                  <a:lnTo>
                    <a:pt x="289372" y="98955"/>
                  </a:lnTo>
                  <a:lnTo>
                    <a:pt x="299662" y="92252"/>
                  </a:lnTo>
                  <a:lnTo>
                    <a:pt x="324432" y="104197"/>
                  </a:lnTo>
                  <a:lnTo>
                    <a:pt x="307976" y="122944"/>
                  </a:lnTo>
                  <a:lnTo>
                    <a:pt x="293972" y="121140"/>
                  </a:lnTo>
                  <a:lnTo>
                    <a:pt x="286990" y="122106"/>
                  </a:lnTo>
                  <a:lnTo>
                    <a:pt x="282346" y="115398"/>
                  </a:lnTo>
                  <a:lnTo>
                    <a:pt x="282330" y="103853"/>
                  </a:lnTo>
                  <a:lnTo>
                    <a:pt x="260963" y="110620"/>
                  </a:lnTo>
                  <a:lnTo>
                    <a:pt x="260310" y="126607"/>
                  </a:lnTo>
                  <a:lnTo>
                    <a:pt x="256115" y="140533"/>
                  </a:lnTo>
                  <a:lnTo>
                    <a:pt x="241160" y="140013"/>
                  </a:lnTo>
                  <a:lnTo>
                    <a:pt x="239786" y="151008"/>
                  </a:lnTo>
                  <a:lnTo>
                    <a:pt x="254382" y="156312"/>
                  </a:lnTo>
                  <a:lnTo>
                    <a:pt x="263480" y="174429"/>
                  </a:lnTo>
                  <a:lnTo>
                    <a:pt x="260521" y="199703"/>
                  </a:lnTo>
                  <a:lnTo>
                    <a:pt x="245697" y="195061"/>
                  </a:lnTo>
                  <a:lnTo>
                    <a:pt x="235760" y="195297"/>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159" name="Polygon form 123"/>
            <p:cNvSpPr/>
            <p:nvPr/>
          </p:nvSpPr>
          <p:spPr>
            <a:xfrm>
              <a:off x="2474833" y="3414428"/>
              <a:ext cx="15179" cy="37677"/>
            </a:xfrm>
            <a:custGeom>
              <a:avLst/>
              <a:gdLst/>
              <a:ahLst/>
              <a:cxnLst/>
              <a:rect l="0" t="0" r="0" b="0"/>
              <a:pathLst>
                <a:path w="15179" h="37677">
                  <a:moveTo>
                    <a:pt x="12407" y="36582"/>
                  </a:moveTo>
                  <a:lnTo>
                    <a:pt x="7525" y="37677"/>
                  </a:lnTo>
                  <a:lnTo>
                    <a:pt x="5588" y="23149"/>
                  </a:lnTo>
                  <a:lnTo>
                    <a:pt x="0" y="15696"/>
                  </a:lnTo>
                  <a:lnTo>
                    <a:pt x="7389" y="0"/>
                  </a:lnTo>
                  <a:lnTo>
                    <a:pt x="12834" y="1194"/>
                  </a:lnTo>
                  <a:lnTo>
                    <a:pt x="15179" y="22107"/>
                  </a:lnTo>
                  <a:lnTo>
                    <a:pt x="12407" y="36582"/>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160" name="Polygon form 124"/>
            <p:cNvSpPr/>
            <p:nvPr/>
          </p:nvSpPr>
          <p:spPr>
            <a:xfrm>
              <a:off x="2475280" y="3372843"/>
              <a:ext cx="22148" cy="10951"/>
            </a:xfrm>
            <a:custGeom>
              <a:avLst/>
              <a:gdLst/>
              <a:ahLst/>
              <a:cxnLst/>
              <a:rect l="0" t="0" r="0" b="0"/>
              <a:pathLst>
                <a:path w="22148" h="10951">
                  <a:moveTo>
                    <a:pt x="21267" y="7684"/>
                  </a:moveTo>
                  <a:lnTo>
                    <a:pt x="0" y="10951"/>
                  </a:lnTo>
                  <a:lnTo>
                    <a:pt x="768" y="1678"/>
                  </a:lnTo>
                  <a:lnTo>
                    <a:pt x="9994" y="0"/>
                  </a:lnTo>
                  <a:lnTo>
                    <a:pt x="22148" y="1188"/>
                  </a:lnTo>
                  <a:lnTo>
                    <a:pt x="21267" y="7684"/>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161" name="Polygon form 125"/>
            <p:cNvSpPr/>
            <p:nvPr/>
          </p:nvSpPr>
          <p:spPr>
            <a:xfrm>
              <a:off x="2499061" y="3369089"/>
              <a:ext cx="12871" cy="29313"/>
            </a:xfrm>
            <a:custGeom>
              <a:avLst/>
              <a:gdLst/>
              <a:ahLst/>
              <a:cxnLst/>
              <a:rect l="0" t="0" r="0" b="0"/>
              <a:pathLst>
                <a:path w="12871" h="29313">
                  <a:moveTo>
                    <a:pt x="12871" y="11724"/>
                  </a:moveTo>
                  <a:lnTo>
                    <a:pt x="5812" y="29313"/>
                  </a:lnTo>
                  <a:lnTo>
                    <a:pt x="3050" y="26003"/>
                  </a:lnTo>
                  <a:lnTo>
                    <a:pt x="6186" y="12997"/>
                  </a:lnTo>
                  <a:lnTo>
                    <a:pt x="0" y="2861"/>
                  </a:lnTo>
                  <a:lnTo>
                    <a:pt x="606" y="0"/>
                  </a:lnTo>
                  <a:lnTo>
                    <a:pt x="12871" y="11724"/>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162" name="Polygon form 126"/>
            <p:cNvSpPr/>
            <p:nvPr/>
          </p:nvSpPr>
          <p:spPr>
            <a:xfrm>
              <a:off x="2521105" y="3743303"/>
              <a:ext cx="264783" cy="284819"/>
            </a:xfrm>
            <a:custGeom>
              <a:avLst/>
              <a:gdLst/>
              <a:ahLst/>
              <a:cxnLst/>
              <a:rect l="0" t="0" r="0" b="0"/>
              <a:pathLst>
                <a:path w="264783" h="284819">
                  <a:moveTo>
                    <a:pt x="43797" y="9221"/>
                  </a:moveTo>
                  <a:lnTo>
                    <a:pt x="42731" y="15100"/>
                  </a:lnTo>
                  <a:lnTo>
                    <a:pt x="31004" y="17848"/>
                  </a:lnTo>
                  <a:lnTo>
                    <a:pt x="36438" y="29246"/>
                  </a:lnTo>
                  <a:lnTo>
                    <a:pt x="35159" y="42276"/>
                  </a:lnTo>
                  <a:lnTo>
                    <a:pt x="25417" y="56649"/>
                  </a:lnTo>
                  <a:lnTo>
                    <a:pt x="31440" y="76517"/>
                  </a:lnTo>
                  <a:lnTo>
                    <a:pt x="40008" y="74992"/>
                  </a:lnTo>
                  <a:lnTo>
                    <a:pt x="45678" y="57033"/>
                  </a:lnTo>
                  <a:lnTo>
                    <a:pt x="40253" y="48191"/>
                  </a:lnTo>
                  <a:lnTo>
                    <a:pt x="40747" y="29315"/>
                  </a:lnTo>
                  <a:lnTo>
                    <a:pt x="65942" y="19519"/>
                  </a:lnTo>
                  <a:lnTo>
                    <a:pt x="64229" y="7752"/>
                  </a:lnTo>
                  <a:lnTo>
                    <a:pt x="71766" y="0"/>
                  </a:lnTo>
                  <a:lnTo>
                    <a:pt x="77281" y="17577"/>
                  </a:lnTo>
                  <a:lnTo>
                    <a:pt x="90962" y="18163"/>
                  </a:lnTo>
                  <a:lnTo>
                    <a:pt x="102571" y="32185"/>
                  </a:lnTo>
                  <a:lnTo>
                    <a:pt x="102712" y="40420"/>
                  </a:lnTo>
                  <a:lnTo>
                    <a:pt x="120280" y="40849"/>
                  </a:lnTo>
                  <a:lnTo>
                    <a:pt x="141389" y="38548"/>
                  </a:lnTo>
                  <a:lnTo>
                    <a:pt x="151814" y="49782"/>
                  </a:lnTo>
                  <a:lnTo>
                    <a:pt x="166592" y="53010"/>
                  </a:lnTo>
                  <a:lnTo>
                    <a:pt x="178115" y="45394"/>
                  </a:lnTo>
                  <a:lnTo>
                    <a:pt x="178776" y="39161"/>
                  </a:lnTo>
                  <a:lnTo>
                    <a:pt x="203139" y="37943"/>
                  </a:lnTo>
                  <a:lnTo>
                    <a:pt x="226630" y="37859"/>
                  </a:lnTo>
                  <a:lnTo>
                    <a:pt x="209499" y="44980"/>
                  </a:lnTo>
                  <a:lnTo>
                    <a:pt x="215424" y="56724"/>
                  </a:lnTo>
                  <a:lnTo>
                    <a:pt x="230985" y="58741"/>
                  </a:lnTo>
                  <a:lnTo>
                    <a:pt x="245115" y="71033"/>
                  </a:lnTo>
                  <a:lnTo>
                    <a:pt x="247128" y="90847"/>
                  </a:lnTo>
                  <a:lnTo>
                    <a:pt x="257393" y="90377"/>
                  </a:lnTo>
                  <a:lnTo>
                    <a:pt x="264783" y="96260"/>
                  </a:lnTo>
                  <a:lnTo>
                    <a:pt x="248486" y="110637"/>
                  </a:lnTo>
                  <a:lnTo>
                    <a:pt x="246340" y="119628"/>
                  </a:lnTo>
                  <a:lnTo>
                    <a:pt x="252660" y="128841"/>
                  </a:lnTo>
                  <a:lnTo>
                    <a:pt x="247573" y="133433"/>
                  </a:lnTo>
                  <a:lnTo>
                    <a:pt x="235296" y="137315"/>
                  </a:lnTo>
                  <a:lnTo>
                    <a:pt x="235222" y="148728"/>
                  </a:lnTo>
                  <a:lnTo>
                    <a:pt x="229626" y="155497"/>
                  </a:lnTo>
                  <a:lnTo>
                    <a:pt x="242298" y="174322"/>
                  </a:lnTo>
                  <a:lnTo>
                    <a:pt x="244686" y="181306"/>
                  </a:lnTo>
                  <a:lnTo>
                    <a:pt x="237198" y="190700"/>
                  </a:lnTo>
                  <a:lnTo>
                    <a:pt x="214891" y="199856"/>
                  </a:lnTo>
                  <a:lnTo>
                    <a:pt x="200611" y="203635"/>
                  </a:lnTo>
                  <a:lnTo>
                    <a:pt x="194770" y="209463"/>
                  </a:lnTo>
                  <a:lnTo>
                    <a:pt x="179248" y="203209"/>
                  </a:lnTo>
                  <a:lnTo>
                    <a:pt x="164736" y="199974"/>
                  </a:lnTo>
                  <a:lnTo>
                    <a:pt x="160979" y="202239"/>
                  </a:lnTo>
                  <a:lnTo>
                    <a:pt x="169636" y="208702"/>
                  </a:lnTo>
                  <a:lnTo>
                    <a:pt x="168458" y="225313"/>
                  </a:lnTo>
                  <a:lnTo>
                    <a:pt x="170906" y="240927"/>
                  </a:lnTo>
                  <a:lnTo>
                    <a:pt x="187588" y="243100"/>
                  </a:lnTo>
                  <a:lnTo>
                    <a:pt x="188577" y="248306"/>
                  </a:lnTo>
                  <a:lnTo>
                    <a:pt x="174384" y="255323"/>
                  </a:lnTo>
                  <a:lnTo>
                    <a:pt x="171972" y="265812"/>
                  </a:lnTo>
                  <a:lnTo>
                    <a:pt x="163808" y="269867"/>
                  </a:lnTo>
                  <a:lnTo>
                    <a:pt x="149081" y="275637"/>
                  </a:lnTo>
                  <a:lnTo>
                    <a:pt x="145212" y="283224"/>
                  </a:lnTo>
                  <a:lnTo>
                    <a:pt x="129855" y="284819"/>
                  </a:lnTo>
                  <a:lnTo>
                    <a:pt x="119077" y="271674"/>
                  </a:lnTo>
                  <a:lnTo>
                    <a:pt x="113358" y="246890"/>
                  </a:lnTo>
                  <a:lnTo>
                    <a:pt x="108260" y="238188"/>
                  </a:lnTo>
                  <a:lnTo>
                    <a:pt x="101205" y="232689"/>
                  </a:lnTo>
                  <a:lnTo>
                    <a:pt x="111467" y="220353"/>
                  </a:lnTo>
                  <a:lnTo>
                    <a:pt x="110922" y="214788"/>
                  </a:lnTo>
                  <a:lnTo>
                    <a:pt x="105506" y="207381"/>
                  </a:lnTo>
                  <a:lnTo>
                    <a:pt x="102022" y="190849"/>
                  </a:lnTo>
                  <a:lnTo>
                    <a:pt x="104173" y="173033"/>
                  </a:lnTo>
                  <a:lnTo>
                    <a:pt x="108884" y="164718"/>
                  </a:lnTo>
                  <a:lnTo>
                    <a:pt x="112975" y="151361"/>
                  </a:lnTo>
                  <a:lnTo>
                    <a:pt x="106197" y="147042"/>
                  </a:lnTo>
                  <a:lnTo>
                    <a:pt x="94852" y="149797"/>
                  </a:lnTo>
                  <a:lnTo>
                    <a:pt x="80731" y="148364"/>
                  </a:lnTo>
                  <a:lnTo>
                    <a:pt x="72657" y="150968"/>
                  </a:lnTo>
                  <a:lnTo>
                    <a:pt x="59817" y="129440"/>
                  </a:lnTo>
                  <a:lnTo>
                    <a:pt x="48552" y="126171"/>
                  </a:lnTo>
                  <a:lnTo>
                    <a:pt x="23133" y="128352"/>
                  </a:lnTo>
                  <a:lnTo>
                    <a:pt x="18915" y="119610"/>
                  </a:lnTo>
                  <a:lnTo>
                    <a:pt x="14191" y="117486"/>
                  </a:lnTo>
                  <a:lnTo>
                    <a:pt x="13794" y="112271"/>
                  </a:lnTo>
                  <a:lnTo>
                    <a:pt x="16672" y="103057"/>
                  </a:lnTo>
                  <a:lnTo>
                    <a:pt x="15741" y="92996"/>
                  </a:lnTo>
                  <a:lnTo>
                    <a:pt x="11761" y="87460"/>
                  </a:lnTo>
                  <a:lnTo>
                    <a:pt x="10013" y="75959"/>
                  </a:lnTo>
                  <a:lnTo>
                    <a:pt x="0" y="74172"/>
                  </a:lnTo>
                  <a:lnTo>
                    <a:pt x="6489" y="59638"/>
                  </a:lnTo>
                  <a:lnTo>
                    <a:pt x="10251" y="41860"/>
                  </a:lnTo>
                  <a:lnTo>
                    <a:pt x="16689" y="32663"/>
                  </a:lnTo>
                  <a:lnTo>
                    <a:pt x="24854" y="25615"/>
                  </a:lnTo>
                  <a:lnTo>
                    <a:pt x="30878" y="13219"/>
                  </a:lnTo>
                  <a:lnTo>
                    <a:pt x="43797" y="9221"/>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163" name="Polygon form 127"/>
            <p:cNvSpPr/>
            <p:nvPr/>
          </p:nvSpPr>
          <p:spPr>
            <a:xfrm>
              <a:off x="5906145" y="3441146"/>
              <a:ext cx="189086" cy="381484"/>
            </a:xfrm>
            <a:custGeom>
              <a:avLst/>
              <a:gdLst/>
              <a:ahLst/>
              <a:cxnLst/>
              <a:rect l="0" t="0" r="0" b="0"/>
              <a:pathLst>
                <a:path w="189086" h="381484">
                  <a:moveTo>
                    <a:pt x="117040" y="44059"/>
                  </a:moveTo>
                  <a:lnTo>
                    <a:pt x="97163" y="67245"/>
                  </a:lnTo>
                  <a:lnTo>
                    <a:pt x="86974" y="92277"/>
                  </a:lnTo>
                  <a:lnTo>
                    <a:pt x="86749" y="110351"/>
                  </a:lnTo>
                  <a:lnTo>
                    <a:pt x="107161" y="137045"/>
                  </a:lnTo>
                  <a:lnTo>
                    <a:pt x="131889" y="170250"/>
                  </a:lnTo>
                  <a:lnTo>
                    <a:pt x="152424" y="185690"/>
                  </a:lnTo>
                  <a:lnTo>
                    <a:pt x="167979" y="206180"/>
                  </a:lnTo>
                  <a:lnTo>
                    <a:pt x="184967" y="254096"/>
                  </a:lnTo>
                  <a:lnTo>
                    <a:pt x="189086" y="300030"/>
                  </a:lnTo>
                  <a:lnTo>
                    <a:pt x="175081" y="317584"/>
                  </a:lnTo>
                  <a:lnTo>
                    <a:pt x="154771" y="334843"/>
                  </a:lnTo>
                  <a:lnTo>
                    <a:pt x="141268" y="356850"/>
                  </a:lnTo>
                  <a:lnTo>
                    <a:pt x="119307" y="381484"/>
                  </a:lnTo>
                  <a:lnTo>
                    <a:pt x="110529" y="364970"/>
                  </a:lnTo>
                  <a:lnTo>
                    <a:pt x="114148" y="347291"/>
                  </a:lnTo>
                  <a:lnTo>
                    <a:pt x="97959" y="332857"/>
                  </a:lnTo>
                  <a:lnTo>
                    <a:pt x="113628" y="322058"/>
                  </a:lnTo>
                  <a:lnTo>
                    <a:pt x="133902" y="319726"/>
                  </a:lnTo>
                  <a:lnTo>
                    <a:pt x="123322" y="304192"/>
                  </a:lnTo>
                  <a:lnTo>
                    <a:pt x="153357" y="283403"/>
                  </a:lnTo>
                  <a:lnTo>
                    <a:pt x="151105" y="252184"/>
                  </a:lnTo>
                  <a:lnTo>
                    <a:pt x="143835" y="234984"/>
                  </a:lnTo>
                  <a:lnTo>
                    <a:pt x="142949" y="208917"/>
                  </a:lnTo>
                  <a:lnTo>
                    <a:pt x="134792" y="190741"/>
                  </a:lnTo>
                  <a:lnTo>
                    <a:pt x="116832" y="173190"/>
                  </a:lnTo>
                  <a:lnTo>
                    <a:pt x="100267" y="150806"/>
                  </a:lnTo>
                  <a:lnTo>
                    <a:pt x="78061" y="120855"/>
                  </a:lnTo>
                  <a:lnTo>
                    <a:pt x="51859" y="106288"/>
                  </a:lnTo>
                  <a:lnTo>
                    <a:pt x="55318" y="96822"/>
                  </a:lnTo>
                  <a:lnTo>
                    <a:pt x="66003" y="89600"/>
                  </a:lnTo>
                  <a:lnTo>
                    <a:pt x="53471" y="67435"/>
                  </a:lnTo>
                  <a:lnTo>
                    <a:pt x="30029" y="68177"/>
                  </a:lnTo>
                  <a:lnTo>
                    <a:pt x="16005" y="45193"/>
                  </a:lnTo>
                  <a:lnTo>
                    <a:pt x="0" y="25410"/>
                  </a:lnTo>
                  <a:lnTo>
                    <a:pt x="8562" y="18720"/>
                  </a:lnTo>
                  <a:lnTo>
                    <a:pt x="23638" y="18194"/>
                  </a:lnTo>
                  <a:lnTo>
                    <a:pt x="41211" y="14421"/>
                  </a:lnTo>
                  <a:lnTo>
                    <a:pt x="53655" y="0"/>
                  </a:lnTo>
                  <a:lnTo>
                    <a:pt x="65286" y="9231"/>
                  </a:lnTo>
                  <a:lnTo>
                    <a:pt x="83742" y="13144"/>
                  </a:lnTo>
                  <a:lnTo>
                    <a:pt x="84630" y="28123"/>
                  </a:lnTo>
                  <a:lnTo>
                    <a:pt x="96300" y="38200"/>
                  </a:lnTo>
                  <a:lnTo>
                    <a:pt x="117040" y="44059"/>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164" name="Polygon form 128"/>
            <p:cNvSpPr/>
            <p:nvPr/>
          </p:nvSpPr>
          <p:spPr>
            <a:xfrm>
              <a:off x="4788968" y="3579937"/>
              <a:ext cx="201052" cy="158768"/>
            </a:xfrm>
            <a:custGeom>
              <a:avLst/>
              <a:gdLst/>
              <a:ahLst/>
              <a:cxnLst/>
              <a:rect l="0" t="0" r="0" b="0"/>
              <a:pathLst>
                <a:path w="201052" h="158768">
                  <a:moveTo>
                    <a:pt x="201052" y="57276"/>
                  </a:moveTo>
                  <a:lnTo>
                    <a:pt x="187632" y="64064"/>
                  </a:lnTo>
                  <a:lnTo>
                    <a:pt x="184835" y="75004"/>
                  </a:lnTo>
                  <a:lnTo>
                    <a:pt x="185091" y="83373"/>
                  </a:lnTo>
                  <a:lnTo>
                    <a:pt x="166602" y="93972"/>
                  </a:lnTo>
                  <a:lnTo>
                    <a:pt x="136421" y="105778"/>
                  </a:lnTo>
                  <a:lnTo>
                    <a:pt x="120249" y="123250"/>
                  </a:lnTo>
                  <a:lnTo>
                    <a:pt x="111766" y="124692"/>
                  </a:lnTo>
                  <a:lnTo>
                    <a:pt x="105820" y="123309"/>
                  </a:lnTo>
                  <a:lnTo>
                    <a:pt x="95117" y="133581"/>
                  </a:lnTo>
                  <a:lnTo>
                    <a:pt x="82996" y="138416"/>
                  </a:lnTo>
                  <a:lnTo>
                    <a:pt x="66701" y="139848"/>
                  </a:lnTo>
                  <a:lnTo>
                    <a:pt x="61862" y="141285"/>
                  </a:lnTo>
                  <a:lnTo>
                    <a:pt x="57994" y="147777"/>
                  </a:lnTo>
                  <a:lnTo>
                    <a:pt x="52986" y="149608"/>
                  </a:lnTo>
                  <a:lnTo>
                    <a:pt x="50333" y="155849"/>
                  </a:lnTo>
                  <a:lnTo>
                    <a:pt x="40635" y="155398"/>
                  </a:lnTo>
                  <a:lnTo>
                    <a:pt x="34586" y="158768"/>
                  </a:lnTo>
                  <a:lnTo>
                    <a:pt x="20995" y="157646"/>
                  </a:lnTo>
                  <a:lnTo>
                    <a:pt x="15095" y="143436"/>
                  </a:lnTo>
                  <a:lnTo>
                    <a:pt x="14850" y="130092"/>
                  </a:lnTo>
                  <a:lnTo>
                    <a:pt x="11218" y="122923"/>
                  </a:lnTo>
                  <a:lnTo>
                    <a:pt x="6253" y="104917"/>
                  </a:lnTo>
                  <a:lnTo>
                    <a:pt x="0" y="94946"/>
                  </a:lnTo>
                  <a:lnTo>
                    <a:pt x="3811" y="93720"/>
                  </a:lnTo>
                  <a:lnTo>
                    <a:pt x="1056" y="82596"/>
                  </a:lnTo>
                  <a:lnTo>
                    <a:pt x="3081" y="77867"/>
                  </a:lnTo>
                  <a:lnTo>
                    <a:pt x="1462" y="67238"/>
                  </a:lnTo>
                  <a:lnTo>
                    <a:pt x="9402" y="59361"/>
                  </a:lnTo>
                  <a:lnTo>
                    <a:pt x="6640" y="49101"/>
                  </a:lnTo>
                  <a:lnTo>
                    <a:pt x="10837" y="37050"/>
                  </a:lnTo>
                  <a:lnTo>
                    <a:pt x="19281" y="43297"/>
                  </a:lnTo>
                  <a:lnTo>
                    <a:pt x="24352" y="41027"/>
                  </a:lnTo>
                  <a:lnTo>
                    <a:pt x="46631" y="40189"/>
                  </a:lnTo>
                  <a:lnTo>
                    <a:pt x="50377" y="42587"/>
                  </a:lnTo>
                  <a:lnTo>
                    <a:pt x="69282" y="44792"/>
                  </a:lnTo>
                  <a:lnTo>
                    <a:pt x="76597" y="43475"/>
                  </a:lnTo>
                  <a:lnTo>
                    <a:pt x="82114" y="51560"/>
                  </a:lnTo>
                  <a:lnTo>
                    <a:pt x="90809" y="47368"/>
                  </a:lnTo>
                  <a:lnTo>
                    <a:pt x="102414" y="21505"/>
                  </a:lnTo>
                  <a:lnTo>
                    <a:pt x="119398" y="10239"/>
                  </a:lnTo>
                  <a:lnTo>
                    <a:pt x="174031" y="0"/>
                  </a:lnTo>
                  <a:lnTo>
                    <a:pt x="193133" y="40229"/>
                  </a:lnTo>
                  <a:lnTo>
                    <a:pt x="201052" y="57276"/>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165" name="Polygon form 129"/>
            <p:cNvSpPr/>
            <p:nvPr/>
          </p:nvSpPr>
          <p:spPr>
            <a:xfrm>
              <a:off x="4266259" y="4581874"/>
              <a:ext cx="312616" cy="306062"/>
            </a:xfrm>
            <a:custGeom>
              <a:avLst/>
              <a:gdLst/>
              <a:ahLst/>
              <a:cxnLst/>
              <a:rect l="0" t="0" r="0" b="0"/>
              <a:pathLst>
                <a:path w="312616" h="306062">
                  <a:moveTo>
                    <a:pt x="282305" y="174206"/>
                  </a:moveTo>
                  <a:lnTo>
                    <a:pt x="278321" y="177659"/>
                  </a:lnTo>
                  <a:lnTo>
                    <a:pt x="269232" y="189860"/>
                  </a:lnTo>
                  <a:lnTo>
                    <a:pt x="262827" y="202238"/>
                  </a:lnTo>
                  <a:lnTo>
                    <a:pt x="250603" y="219448"/>
                  </a:lnTo>
                  <a:lnTo>
                    <a:pt x="227265" y="244141"/>
                  </a:lnTo>
                  <a:lnTo>
                    <a:pt x="212851" y="258483"/>
                  </a:lnTo>
                  <a:lnTo>
                    <a:pt x="197918" y="269303"/>
                  </a:lnTo>
                  <a:lnTo>
                    <a:pt x="177876" y="278430"/>
                  </a:lnTo>
                  <a:lnTo>
                    <a:pt x="168431" y="279565"/>
                  </a:lnTo>
                  <a:lnTo>
                    <a:pt x="165446" y="286250"/>
                  </a:lnTo>
                  <a:lnTo>
                    <a:pt x="154668" y="282528"/>
                  </a:lnTo>
                  <a:lnTo>
                    <a:pt x="145206" y="287016"/>
                  </a:lnTo>
                  <a:lnTo>
                    <a:pt x="125804" y="282108"/>
                  </a:lnTo>
                  <a:lnTo>
                    <a:pt x="114480" y="284924"/>
                  </a:lnTo>
                  <a:lnTo>
                    <a:pt x="107016" y="283570"/>
                  </a:lnTo>
                  <a:lnTo>
                    <a:pt x="87412" y="292898"/>
                  </a:lnTo>
                  <a:lnTo>
                    <a:pt x="71540" y="296554"/>
                  </a:lnTo>
                  <a:lnTo>
                    <a:pt x="59595" y="305568"/>
                  </a:lnTo>
                  <a:lnTo>
                    <a:pt x="51273" y="306062"/>
                  </a:lnTo>
                  <a:lnTo>
                    <a:pt x="44183" y="297367"/>
                  </a:lnTo>
                  <a:lnTo>
                    <a:pt x="38051" y="296864"/>
                  </a:lnTo>
                  <a:lnTo>
                    <a:pt x="30923" y="286001"/>
                  </a:lnTo>
                  <a:lnTo>
                    <a:pt x="29836" y="289343"/>
                  </a:lnTo>
                  <a:lnTo>
                    <a:pt x="27838" y="282827"/>
                  </a:lnTo>
                  <a:lnTo>
                    <a:pt x="28865" y="268662"/>
                  </a:lnTo>
                  <a:lnTo>
                    <a:pt x="23923" y="252417"/>
                  </a:lnTo>
                  <a:lnTo>
                    <a:pt x="30138" y="248070"/>
                  </a:lnTo>
                  <a:lnTo>
                    <a:pt x="30805" y="229521"/>
                  </a:lnTo>
                  <a:lnTo>
                    <a:pt x="20018" y="206806"/>
                  </a:lnTo>
                  <a:lnTo>
                    <a:pt x="11813" y="186266"/>
                  </a:lnTo>
                  <a:lnTo>
                    <a:pt x="11788" y="186201"/>
                  </a:lnTo>
                  <a:lnTo>
                    <a:pt x="0" y="154714"/>
                  </a:lnTo>
                  <a:lnTo>
                    <a:pt x="9564" y="142832"/>
                  </a:lnTo>
                  <a:lnTo>
                    <a:pt x="16631" y="149501"/>
                  </a:lnTo>
                  <a:lnTo>
                    <a:pt x="19249" y="159855"/>
                  </a:lnTo>
                  <a:lnTo>
                    <a:pt x="27544" y="161681"/>
                  </a:lnTo>
                  <a:lnTo>
                    <a:pt x="39040" y="166344"/>
                  </a:lnTo>
                  <a:lnTo>
                    <a:pt x="49178" y="164663"/>
                  </a:lnTo>
                  <a:lnTo>
                    <a:pt x="66598" y="152447"/>
                  </a:lnTo>
                  <a:lnTo>
                    <a:pt x="71568" y="63165"/>
                  </a:lnTo>
                  <a:lnTo>
                    <a:pt x="76500" y="66835"/>
                  </a:lnTo>
                  <a:lnTo>
                    <a:pt x="86477" y="89898"/>
                  </a:lnTo>
                  <a:lnTo>
                    <a:pt x="83902" y="104616"/>
                  </a:lnTo>
                  <a:lnTo>
                    <a:pt x="87615" y="113141"/>
                  </a:lnTo>
                  <a:lnTo>
                    <a:pt x="101256" y="110792"/>
                  </a:lnTo>
                  <a:lnTo>
                    <a:pt x="111340" y="100083"/>
                  </a:lnTo>
                  <a:lnTo>
                    <a:pt x="120726" y="92888"/>
                  </a:lnTo>
                  <a:lnTo>
                    <a:pt x="126061" y="81343"/>
                  </a:lnTo>
                  <a:lnTo>
                    <a:pt x="135638" y="75819"/>
                  </a:lnTo>
                  <a:lnTo>
                    <a:pt x="143434" y="78831"/>
                  </a:lnTo>
                  <a:lnTo>
                    <a:pt x="152038" y="85694"/>
                  </a:lnTo>
                  <a:lnTo>
                    <a:pt x="167347" y="87041"/>
                  </a:lnTo>
                  <a:lnTo>
                    <a:pt x="179824" y="81526"/>
                  </a:lnTo>
                  <a:lnTo>
                    <a:pt x="182253" y="73993"/>
                  </a:lnTo>
                  <a:lnTo>
                    <a:pt x="186366" y="62442"/>
                  </a:lnTo>
                  <a:lnTo>
                    <a:pt x="196819" y="60607"/>
                  </a:lnTo>
                  <a:lnTo>
                    <a:pt x="203145" y="51568"/>
                  </a:lnTo>
                  <a:lnTo>
                    <a:pt x="210562" y="35492"/>
                  </a:lnTo>
                  <a:lnTo>
                    <a:pt x="228878" y="17576"/>
                  </a:lnTo>
                  <a:lnTo>
                    <a:pt x="257103" y="0"/>
                  </a:lnTo>
                  <a:lnTo>
                    <a:pt x="264865" y="344"/>
                  </a:lnTo>
                  <a:lnTo>
                    <a:pt x="273829" y="4547"/>
                  </a:lnTo>
                  <a:lnTo>
                    <a:pt x="280475" y="1704"/>
                  </a:lnTo>
                  <a:lnTo>
                    <a:pt x="290462" y="4237"/>
                  </a:lnTo>
                  <a:lnTo>
                    <a:pt x="297030" y="38479"/>
                  </a:lnTo>
                  <a:lnTo>
                    <a:pt x="300601" y="55772"/>
                  </a:lnTo>
                  <a:lnTo>
                    <a:pt x="294980" y="82772"/>
                  </a:lnTo>
                  <a:lnTo>
                    <a:pt x="295850" y="91501"/>
                  </a:lnTo>
                  <a:lnTo>
                    <a:pt x="286694" y="86939"/>
                  </a:lnTo>
                  <a:lnTo>
                    <a:pt x="281086" y="88599"/>
                  </a:lnTo>
                  <a:lnTo>
                    <a:pt x="278709" y="95637"/>
                  </a:lnTo>
                  <a:lnTo>
                    <a:pt x="272788" y="104674"/>
                  </a:lnTo>
                  <a:lnTo>
                    <a:pt x="272247" y="113059"/>
                  </a:lnTo>
                  <a:lnTo>
                    <a:pt x="282317" y="126346"/>
                  </a:lnTo>
                  <a:lnTo>
                    <a:pt x="293552" y="123875"/>
                  </a:lnTo>
                  <a:lnTo>
                    <a:pt x="298357" y="113156"/>
                  </a:lnTo>
                  <a:lnTo>
                    <a:pt x="312616" y="113552"/>
                  </a:lnTo>
                  <a:lnTo>
                    <a:pt x="306274" y="131146"/>
                  </a:lnTo>
                  <a:lnTo>
                    <a:pt x="302136" y="151267"/>
                  </a:lnTo>
                  <a:lnTo>
                    <a:pt x="296234" y="162144"/>
                  </a:lnTo>
                  <a:lnTo>
                    <a:pt x="282305" y="174206"/>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66" name="Polygon form 130"/>
            <p:cNvSpPr/>
            <p:nvPr/>
          </p:nvSpPr>
          <p:spPr>
            <a:xfrm>
              <a:off x="4462981" y="4740553"/>
              <a:ext cx="44640" cy="48189"/>
            </a:xfrm>
            <a:custGeom>
              <a:avLst/>
              <a:gdLst/>
              <a:ahLst/>
              <a:cxnLst/>
              <a:rect l="0" t="0" r="0" b="0"/>
              <a:pathLst>
                <a:path w="44640" h="48189">
                  <a:moveTo>
                    <a:pt x="38821" y="7568"/>
                  </a:moveTo>
                  <a:lnTo>
                    <a:pt x="31317" y="0"/>
                  </a:lnTo>
                  <a:lnTo>
                    <a:pt x="22159" y="4831"/>
                  </a:lnTo>
                  <a:lnTo>
                    <a:pt x="11238" y="14179"/>
                  </a:lnTo>
                  <a:lnTo>
                    <a:pt x="0" y="29388"/>
                  </a:lnTo>
                  <a:lnTo>
                    <a:pt x="12301" y="48189"/>
                  </a:lnTo>
                  <a:lnTo>
                    <a:pt x="19155" y="45870"/>
                  </a:lnTo>
                  <a:lnTo>
                    <a:pt x="23269" y="38177"/>
                  </a:lnTo>
                  <a:lnTo>
                    <a:pt x="33969" y="34532"/>
                  </a:lnTo>
                  <a:lnTo>
                    <a:pt x="37854" y="26671"/>
                  </a:lnTo>
                  <a:lnTo>
                    <a:pt x="44640" y="14964"/>
                  </a:lnTo>
                  <a:lnTo>
                    <a:pt x="38821" y="7568"/>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167" name="Polygon form 131"/>
            <p:cNvSpPr/>
            <p:nvPr/>
          </p:nvSpPr>
          <p:spPr>
            <a:xfrm>
              <a:off x="4385347" y="4246013"/>
              <a:ext cx="231350" cy="235316"/>
            </a:xfrm>
            <a:custGeom>
              <a:avLst/>
              <a:gdLst/>
              <a:ahLst/>
              <a:cxnLst/>
              <a:rect l="0" t="0" r="0" b="0"/>
              <a:pathLst>
                <a:path w="231350" h="235316">
                  <a:moveTo>
                    <a:pt x="218156" y="24295"/>
                  </a:moveTo>
                  <a:lnTo>
                    <a:pt x="227074" y="35177"/>
                  </a:lnTo>
                  <a:lnTo>
                    <a:pt x="231350" y="55823"/>
                  </a:lnTo>
                  <a:lnTo>
                    <a:pt x="227771" y="62387"/>
                  </a:lnTo>
                  <a:lnTo>
                    <a:pt x="223084" y="82054"/>
                  </a:lnTo>
                  <a:lnTo>
                    <a:pt x="226017" y="102203"/>
                  </a:lnTo>
                  <a:lnTo>
                    <a:pt x="219507" y="110617"/>
                  </a:lnTo>
                  <a:lnTo>
                    <a:pt x="212573" y="133135"/>
                  </a:lnTo>
                  <a:lnTo>
                    <a:pt x="222531" y="139499"/>
                  </a:lnTo>
                  <a:lnTo>
                    <a:pt x="162485" y="159081"/>
                  </a:lnTo>
                  <a:lnTo>
                    <a:pt x="163515" y="176357"/>
                  </a:lnTo>
                  <a:lnTo>
                    <a:pt x="148636" y="179570"/>
                  </a:lnTo>
                  <a:lnTo>
                    <a:pt x="137116" y="189149"/>
                  </a:lnTo>
                  <a:lnTo>
                    <a:pt x="134351" y="197538"/>
                  </a:lnTo>
                  <a:lnTo>
                    <a:pt x="127314" y="199393"/>
                  </a:lnTo>
                  <a:lnTo>
                    <a:pt x="109486" y="219201"/>
                  </a:lnTo>
                  <a:lnTo>
                    <a:pt x="97992" y="234803"/>
                  </a:lnTo>
                  <a:lnTo>
                    <a:pt x="91435" y="235316"/>
                  </a:lnTo>
                  <a:lnTo>
                    <a:pt x="85290" y="232479"/>
                  </a:lnTo>
                  <a:lnTo>
                    <a:pt x="63796" y="229672"/>
                  </a:lnTo>
                  <a:lnTo>
                    <a:pt x="60401" y="227838"/>
                  </a:lnTo>
                  <a:lnTo>
                    <a:pt x="60347" y="225828"/>
                  </a:lnTo>
                  <a:lnTo>
                    <a:pt x="52953" y="220318"/>
                  </a:lnTo>
                  <a:lnTo>
                    <a:pt x="40456" y="218842"/>
                  </a:lnTo>
                  <a:lnTo>
                    <a:pt x="24370" y="224241"/>
                  </a:lnTo>
                  <a:lnTo>
                    <a:pt x="12342" y="209048"/>
                  </a:lnTo>
                  <a:lnTo>
                    <a:pt x="0" y="189178"/>
                  </a:lnTo>
                  <a:lnTo>
                    <a:pt x="3405" y="112200"/>
                  </a:lnTo>
                  <a:lnTo>
                    <a:pt x="44068" y="112693"/>
                  </a:lnTo>
                  <a:lnTo>
                    <a:pt x="42665" y="104328"/>
                  </a:lnTo>
                  <a:lnTo>
                    <a:pt x="45853" y="95274"/>
                  </a:lnTo>
                  <a:lnTo>
                    <a:pt x="42748" y="83904"/>
                  </a:lnTo>
                  <a:lnTo>
                    <a:pt x="45306" y="72172"/>
                  </a:lnTo>
                  <a:lnTo>
                    <a:pt x="43440" y="64647"/>
                  </a:lnTo>
                  <a:lnTo>
                    <a:pt x="50181" y="65284"/>
                  </a:lnTo>
                  <a:lnTo>
                    <a:pt x="51097" y="72815"/>
                  </a:lnTo>
                  <a:lnTo>
                    <a:pt x="60291" y="72270"/>
                  </a:lnTo>
                  <a:lnTo>
                    <a:pt x="72660" y="74559"/>
                  </a:lnTo>
                  <a:lnTo>
                    <a:pt x="78868" y="85587"/>
                  </a:lnTo>
                  <a:lnTo>
                    <a:pt x="94428" y="89042"/>
                  </a:lnTo>
                  <a:lnTo>
                    <a:pt x="106638" y="81451"/>
                  </a:lnTo>
                  <a:lnTo>
                    <a:pt x="110606" y="94173"/>
                  </a:lnTo>
                  <a:lnTo>
                    <a:pt x="125473" y="97639"/>
                  </a:lnTo>
                  <a:lnTo>
                    <a:pt x="132300" y="108010"/>
                  </a:lnTo>
                  <a:lnTo>
                    <a:pt x="139811" y="121401"/>
                  </a:lnTo>
                  <a:lnTo>
                    <a:pt x="154742" y="121692"/>
                  </a:lnTo>
                  <a:lnTo>
                    <a:pt x="154120" y="95528"/>
                  </a:lnTo>
                  <a:lnTo>
                    <a:pt x="148590" y="99908"/>
                  </a:lnTo>
                  <a:lnTo>
                    <a:pt x="135260" y="90395"/>
                  </a:lnTo>
                  <a:lnTo>
                    <a:pt x="130125" y="86054"/>
                  </a:lnTo>
                  <a:lnTo>
                    <a:pt x="133349" y="61730"/>
                  </a:lnTo>
                  <a:lnTo>
                    <a:pt x="137688" y="33038"/>
                  </a:lnTo>
                  <a:lnTo>
                    <a:pt x="133588" y="22326"/>
                  </a:lnTo>
                  <a:lnTo>
                    <a:pt x="139586" y="6870"/>
                  </a:lnTo>
                  <a:lnTo>
                    <a:pt x="144925" y="3992"/>
                  </a:lnTo>
                  <a:lnTo>
                    <a:pt x="171427" y="0"/>
                  </a:lnTo>
                  <a:lnTo>
                    <a:pt x="179106" y="2500"/>
                  </a:lnTo>
                  <a:lnTo>
                    <a:pt x="187149" y="8712"/>
                  </a:lnTo>
                  <a:lnTo>
                    <a:pt x="194867" y="12811"/>
                  </a:lnTo>
                  <a:lnTo>
                    <a:pt x="207232" y="16953"/>
                  </a:lnTo>
                  <a:lnTo>
                    <a:pt x="218156" y="24295"/>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168" name="Polygon form 132"/>
            <p:cNvSpPr/>
            <p:nvPr/>
          </p:nvSpPr>
          <p:spPr>
            <a:xfrm>
              <a:off x="4449143" y="4422370"/>
              <a:ext cx="148139" cy="164051"/>
            </a:xfrm>
            <a:custGeom>
              <a:avLst/>
              <a:gdLst/>
              <a:ahLst/>
              <a:cxnLst/>
              <a:rect l="0" t="0" r="0" b="0"/>
              <a:pathLst>
                <a:path w="148139" h="164051">
                  <a:moveTo>
                    <a:pt x="107577" y="163741"/>
                  </a:moveTo>
                  <a:lnTo>
                    <a:pt x="97590" y="161208"/>
                  </a:lnTo>
                  <a:lnTo>
                    <a:pt x="90944" y="164051"/>
                  </a:lnTo>
                  <a:lnTo>
                    <a:pt x="81980" y="159848"/>
                  </a:lnTo>
                  <a:lnTo>
                    <a:pt x="74219" y="159504"/>
                  </a:lnTo>
                  <a:lnTo>
                    <a:pt x="62744" y="148430"/>
                  </a:lnTo>
                  <a:lnTo>
                    <a:pt x="48170" y="144570"/>
                  </a:lnTo>
                  <a:lnTo>
                    <a:pt x="43471" y="129151"/>
                  </a:lnTo>
                  <a:lnTo>
                    <a:pt x="43931" y="120604"/>
                  </a:lnTo>
                  <a:lnTo>
                    <a:pt x="35855" y="117927"/>
                  </a:lnTo>
                  <a:lnTo>
                    <a:pt x="15536" y="91139"/>
                  </a:lnTo>
                  <a:lnTo>
                    <a:pt x="10188" y="77077"/>
                  </a:lnTo>
                  <a:lnTo>
                    <a:pt x="6518" y="72728"/>
                  </a:lnTo>
                  <a:lnTo>
                    <a:pt x="0" y="53314"/>
                  </a:lnTo>
                  <a:lnTo>
                    <a:pt x="21494" y="56121"/>
                  </a:lnTo>
                  <a:lnTo>
                    <a:pt x="27639" y="58958"/>
                  </a:lnTo>
                  <a:lnTo>
                    <a:pt x="34196" y="58445"/>
                  </a:lnTo>
                  <a:lnTo>
                    <a:pt x="45690" y="42844"/>
                  </a:lnTo>
                  <a:lnTo>
                    <a:pt x="63518" y="23036"/>
                  </a:lnTo>
                  <a:lnTo>
                    <a:pt x="70555" y="21180"/>
                  </a:lnTo>
                  <a:lnTo>
                    <a:pt x="73320" y="12792"/>
                  </a:lnTo>
                  <a:lnTo>
                    <a:pt x="84840" y="3213"/>
                  </a:lnTo>
                  <a:lnTo>
                    <a:pt x="99719" y="0"/>
                  </a:lnTo>
                  <a:lnTo>
                    <a:pt x="100533" y="9059"/>
                  </a:lnTo>
                  <a:lnTo>
                    <a:pt x="116758" y="8700"/>
                  </a:lnTo>
                  <a:lnTo>
                    <a:pt x="125492" y="13892"/>
                  </a:lnTo>
                  <a:lnTo>
                    <a:pt x="129357" y="19931"/>
                  </a:lnTo>
                  <a:lnTo>
                    <a:pt x="138501" y="21771"/>
                  </a:lnTo>
                  <a:lnTo>
                    <a:pt x="148139" y="29657"/>
                  </a:lnTo>
                  <a:lnTo>
                    <a:pt x="146375" y="60385"/>
                  </a:lnTo>
                  <a:lnTo>
                    <a:pt x="141566" y="77174"/>
                  </a:lnTo>
                  <a:lnTo>
                    <a:pt x="139572" y="95305"/>
                  </a:lnTo>
                  <a:lnTo>
                    <a:pt x="142190" y="102526"/>
                  </a:lnTo>
                  <a:lnTo>
                    <a:pt x="139048" y="116793"/>
                  </a:lnTo>
                  <a:lnTo>
                    <a:pt x="135994" y="118972"/>
                  </a:lnTo>
                  <a:lnTo>
                    <a:pt x="129713" y="136421"/>
                  </a:lnTo>
                  <a:lnTo>
                    <a:pt x="107577" y="163741"/>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169" name="Polygon form 133"/>
            <p:cNvSpPr/>
            <p:nvPr/>
          </p:nvSpPr>
          <p:spPr>
            <a:xfrm>
              <a:off x="4230670" y="2953237"/>
              <a:ext cx="67853" cy="62079"/>
            </a:xfrm>
            <a:custGeom>
              <a:avLst/>
              <a:gdLst/>
              <a:ahLst/>
              <a:cxnLst/>
              <a:rect l="0" t="0" r="0" b="0"/>
              <a:pathLst>
                <a:path w="67853" h="62079">
                  <a:moveTo>
                    <a:pt x="55752" y="8610"/>
                  </a:moveTo>
                  <a:lnTo>
                    <a:pt x="61961" y="8464"/>
                  </a:lnTo>
                  <a:lnTo>
                    <a:pt x="58671" y="19143"/>
                  </a:lnTo>
                  <a:lnTo>
                    <a:pt x="67853" y="28326"/>
                  </a:lnTo>
                  <a:lnTo>
                    <a:pt x="66408" y="39718"/>
                  </a:lnTo>
                  <a:lnTo>
                    <a:pt x="62433" y="40837"/>
                  </a:lnTo>
                  <a:lnTo>
                    <a:pt x="59400" y="43082"/>
                  </a:lnTo>
                  <a:lnTo>
                    <a:pt x="54271" y="48763"/>
                  </a:lnTo>
                  <a:lnTo>
                    <a:pt x="52894" y="62079"/>
                  </a:lnTo>
                  <a:lnTo>
                    <a:pt x="36727" y="53114"/>
                  </a:lnTo>
                  <a:lnTo>
                    <a:pt x="29341" y="43099"/>
                  </a:lnTo>
                  <a:lnTo>
                    <a:pt x="22305" y="37827"/>
                  </a:lnTo>
                  <a:lnTo>
                    <a:pt x="13638" y="28894"/>
                  </a:lnTo>
                  <a:lnTo>
                    <a:pt x="9305" y="21452"/>
                  </a:lnTo>
                  <a:lnTo>
                    <a:pt x="0" y="10253"/>
                  </a:lnTo>
                  <a:lnTo>
                    <a:pt x="2794" y="195"/>
                  </a:lnTo>
                  <a:lnTo>
                    <a:pt x="9384" y="5674"/>
                  </a:lnTo>
                  <a:lnTo>
                    <a:pt x="12685" y="624"/>
                  </a:lnTo>
                  <a:lnTo>
                    <a:pt x="20632" y="0"/>
                  </a:lnTo>
                  <a:lnTo>
                    <a:pt x="35694" y="3839"/>
                  </a:lnTo>
                  <a:lnTo>
                    <a:pt x="47502" y="3361"/>
                  </a:lnTo>
                  <a:lnTo>
                    <a:pt x="55752" y="8610"/>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170" name="Polygon form 134"/>
            <p:cNvSpPr/>
            <p:nvPr/>
          </p:nvSpPr>
          <p:spPr>
            <a:xfrm>
              <a:off x="4334501" y="2686251"/>
              <a:ext cx="149022" cy="116221"/>
            </a:xfrm>
            <a:custGeom>
              <a:avLst/>
              <a:gdLst/>
              <a:ahLst/>
              <a:cxnLst/>
              <a:rect l="0" t="0" r="0" b="0"/>
              <a:pathLst>
                <a:path w="149022" h="116221">
                  <a:moveTo>
                    <a:pt x="0" y="55927"/>
                  </a:moveTo>
                  <a:lnTo>
                    <a:pt x="15396" y="55810"/>
                  </a:lnTo>
                  <a:lnTo>
                    <a:pt x="31204" y="46389"/>
                  </a:lnTo>
                  <a:lnTo>
                    <a:pt x="32660" y="32693"/>
                  </a:lnTo>
                  <a:lnTo>
                    <a:pt x="44259" y="24705"/>
                  </a:lnTo>
                  <a:lnTo>
                    <a:pt x="40937" y="13927"/>
                  </a:lnTo>
                  <a:lnTo>
                    <a:pt x="49726" y="9670"/>
                  </a:lnTo>
                  <a:lnTo>
                    <a:pt x="64765" y="0"/>
                  </a:lnTo>
                  <a:lnTo>
                    <a:pt x="82274" y="5682"/>
                  </a:lnTo>
                  <a:lnTo>
                    <a:pt x="85631" y="11621"/>
                  </a:lnTo>
                  <a:lnTo>
                    <a:pt x="93259" y="8552"/>
                  </a:lnTo>
                  <a:lnTo>
                    <a:pt x="109646" y="13944"/>
                  </a:lnTo>
                  <a:lnTo>
                    <a:pt x="113436" y="25235"/>
                  </a:lnTo>
                  <a:lnTo>
                    <a:pt x="111353" y="31826"/>
                  </a:lnTo>
                  <a:lnTo>
                    <a:pt x="124351" y="47391"/>
                  </a:lnTo>
                  <a:lnTo>
                    <a:pt x="131669" y="51638"/>
                  </a:lnTo>
                  <a:lnTo>
                    <a:pt x="131577" y="56022"/>
                  </a:lnTo>
                  <a:lnTo>
                    <a:pt x="143141" y="60007"/>
                  </a:lnTo>
                  <a:lnTo>
                    <a:pt x="149022" y="66331"/>
                  </a:lnTo>
                  <a:lnTo>
                    <a:pt x="143865" y="71765"/>
                  </a:lnTo>
                  <a:lnTo>
                    <a:pt x="130808" y="71240"/>
                  </a:lnTo>
                  <a:lnTo>
                    <a:pt x="128165" y="73569"/>
                  </a:lnTo>
                  <a:lnTo>
                    <a:pt x="133461" y="81495"/>
                  </a:lnTo>
                  <a:lnTo>
                    <a:pt x="140366" y="96866"/>
                  </a:lnTo>
                  <a:lnTo>
                    <a:pt x="126778" y="98624"/>
                  </a:lnTo>
                  <a:lnTo>
                    <a:pt x="122769" y="104041"/>
                  </a:lnTo>
                  <a:lnTo>
                    <a:pt x="123918" y="116221"/>
                  </a:lnTo>
                  <a:lnTo>
                    <a:pt x="117039" y="114032"/>
                  </a:lnTo>
                  <a:lnTo>
                    <a:pt x="102579" y="115512"/>
                  </a:lnTo>
                  <a:lnTo>
                    <a:pt x="97356" y="109957"/>
                  </a:lnTo>
                  <a:lnTo>
                    <a:pt x="91979" y="114297"/>
                  </a:lnTo>
                  <a:lnTo>
                    <a:pt x="85290" y="110936"/>
                  </a:lnTo>
                  <a:lnTo>
                    <a:pt x="72429" y="110715"/>
                  </a:lnTo>
                  <a:lnTo>
                    <a:pt x="53411" y="105281"/>
                  </a:lnTo>
                  <a:lnTo>
                    <a:pt x="36760" y="103704"/>
                  </a:lnTo>
                  <a:lnTo>
                    <a:pt x="24293" y="104472"/>
                  </a:lnTo>
                  <a:lnTo>
                    <a:pt x="16344" y="111175"/>
                  </a:lnTo>
                  <a:lnTo>
                    <a:pt x="8711" y="112252"/>
                  </a:lnTo>
                  <a:lnTo>
                    <a:pt x="6905" y="101511"/>
                  </a:lnTo>
                  <a:lnTo>
                    <a:pt x="360" y="90413"/>
                  </a:lnTo>
                  <a:lnTo>
                    <a:pt x="9317" y="85316"/>
                  </a:lnTo>
                  <a:lnTo>
                    <a:pt x="8017" y="75692"/>
                  </a:lnTo>
                  <a:lnTo>
                    <a:pt x="2246" y="66591"/>
                  </a:lnTo>
                  <a:lnTo>
                    <a:pt x="0" y="55927"/>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171" name="Polygon form 135"/>
            <p:cNvSpPr/>
            <p:nvPr/>
          </p:nvSpPr>
          <p:spPr>
            <a:xfrm>
              <a:off x="4297508" y="3014143"/>
              <a:ext cx="33302" cy="73909"/>
            </a:xfrm>
            <a:custGeom>
              <a:avLst/>
              <a:gdLst/>
              <a:ahLst/>
              <a:cxnLst/>
              <a:rect l="0" t="0" r="0" b="0"/>
              <a:pathLst>
                <a:path w="33302" h="73909">
                  <a:moveTo>
                    <a:pt x="23221" y="19929"/>
                  </a:moveTo>
                  <a:lnTo>
                    <a:pt x="21766" y="28179"/>
                  </a:lnTo>
                  <a:lnTo>
                    <a:pt x="25219" y="38508"/>
                  </a:lnTo>
                  <a:lnTo>
                    <a:pt x="33063" y="44298"/>
                  </a:lnTo>
                  <a:lnTo>
                    <a:pt x="33302" y="50650"/>
                  </a:lnTo>
                  <a:lnTo>
                    <a:pt x="27893" y="54226"/>
                  </a:lnTo>
                  <a:lnTo>
                    <a:pt x="27544" y="62091"/>
                  </a:lnTo>
                  <a:lnTo>
                    <a:pt x="20346" y="73909"/>
                  </a:lnTo>
                  <a:lnTo>
                    <a:pt x="17186" y="72254"/>
                  </a:lnTo>
                  <a:lnTo>
                    <a:pt x="16372" y="66943"/>
                  </a:lnTo>
                  <a:lnTo>
                    <a:pt x="5880" y="58947"/>
                  </a:lnTo>
                  <a:lnTo>
                    <a:pt x="3361" y="47456"/>
                  </a:lnTo>
                  <a:lnTo>
                    <a:pt x="3416" y="30957"/>
                  </a:lnTo>
                  <a:lnTo>
                    <a:pt x="5144" y="23430"/>
                  </a:lnTo>
                  <a:lnTo>
                    <a:pt x="1860" y="19660"/>
                  </a:lnTo>
                  <a:lnTo>
                    <a:pt x="0" y="11989"/>
                  </a:lnTo>
                  <a:lnTo>
                    <a:pt x="6474" y="0"/>
                  </a:lnTo>
                  <a:lnTo>
                    <a:pt x="8001" y="4531"/>
                  </a:lnTo>
                  <a:lnTo>
                    <a:pt x="12488" y="2333"/>
                  </a:lnTo>
                  <a:lnTo>
                    <a:pt x="16810" y="8768"/>
                  </a:lnTo>
                  <a:lnTo>
                    <a:pt x="21216" y="11188"/>
                  </a:lnTo>
                  <a:lnTo>
                    <a:pt x="23221" y="19929"/>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172" name="Polygon form 136"/>
            <p:cNvSpPr/>
            <p:nvPr/>
          </p:nvSpPr>
          <p:spPr>
            <a:xfrm>
              <a:off x="2228901" y="3576845"/>
              <a:ext cx="31668" cy="65797"/>
            </a:xfrm>
            <a:custGeom>
              <a:avLst/>
              <a:gdLst/>
              <a:ahLst/>
              <a:cxnLst/>
              <a:rect l="0" t="0" r="0" b="0"/>
              <a:pathLst>
                <a:path w="31668" h="65797">
                  <a:moveTo>
                    <a:pt x="9415" y="17035"/>
                  </a:moveTo>
                  <a:lnTo>
                    <a:pt x="9895" y="13306"/>
                  </a:lnTo>
                  <a:lnTo>
                    <a:pt x="12421" y="12207"/>
                  </a:lnTo>
                  <a:lnTo>
                    <a:pt x="15406" y="15300"/>
                  </a:lnTo>
                  <a:lnTo>
                    <a:pt x="24907" y="227"/>
                  </a:lnTo>
                  <a:lnTo>
                    <a:pt x="28616" y="0"/>
                  </a:lnTo>
                  <a:lnTo>
                    <a:pt x="28046" y="3712"/>
                  </a:lnTo>
                  <a:lnTo>
                    <a:pt x="31668" y="3932"/>
                  </a:lnTo>
                  <a:lnTo>
                    <a:pt x="30176" y="10800"/>
                  </a:lnTo>
                  <a:lnTo>
                    <a:pt x="25232" y="21651"/>
                  </a:lnTo>
                  <a:lnTo>
                    <a:pt x="26274" y="25610"/>
                  </a:lnTo>
                  <a:lnTo>
                    <a:pt x="22788" y="34606"/>
                  </a:lnTo>
                  <a:lnTo>
                    <a:pt x="23619" y="37058"/>
                  </a:lnTo>
                  <a:lnTo>
                    <a:pt x="19374" y="49786"/>
                  </a:lnTo>
                  <a:lnTo>
                    <a:pt x="14547" y="56404"/>
                  </a:lnTo>
                  <a:lnTo>
                    <a:pt x="10934" y="57121"/>
                  </a:lnTo>
                  <a:lnTo>
                    <a:pt x="5776" y="65797"/>
                  </a:lnTo>
                  <a:lnTo>
                    <a:pt x="0" y="65660"/>
                  </a:lnTo>
                  <a:lnTo>
                    <a:pt x="5959" y="37105"/>
                  </a:lnTo>
                  <a:lnTo>
                    <a:pt x="9415" y="17035"/>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173" name="Polygon form 137"/>
            <p:cNvSpPr/>
            <p:nvPr/>
          </p:nvSpPr>
          <p:spPr>
            <a:xfrm>
              <a:off x="2598431" y="4288183"/>
              <a:ext cx="250958" cy="325729"/>
            </a:xfrm>
            <a:custGeom>
              <a:avLst/>
              <a:gdLst/>
              <a:ahLst/>
              <a:cxnLst/>
              <a:rect l="0" t="0" r="0" b="0"/>
              <a:pathLst>
                <a:path w="250958" h="325729">
                  <a:moveTo>
                    <a:pt x="160434" y="302719"/>
                  </a:moveTo>
                  <a:lnTo>
                    <a:pt x="138542" y="302199"/>
                  </a:lnTo>
                  <a:lnTo>
                    <a:pt x="134120" y="322238"/>
                  </a:lnTo>
                  <a:lnTo>
                    <a:pt x="120202" y="304668"/>
                  </a:lnTo>
                  <a:lnTo>
                    <a:pt x="94344" y="299242"/>
                  </a:lnTo>
                  <a:lnTo>
                    <a:pt x="81981" y="321988"/>
                  </a:lnTo>
                  <a:lnTo>
                    <a:pt x="68820" y="325729"/>
                  </a:lnTo>
                  <a:lnTo>
                    <a:pt x="55925" y="291777"/>
                  </a:lnTo>
                  <a:lnTo>
                    <a:pt x="41457" y="264222"/>
                  </a:lnTo>
                  <a:lnTo>
                    <a:pt x="44056" y="240091"/>
                  </a:lnTo>
                  <a:lnTo>
                    <a:pt x="32520" y="229812"/>
                  </a:lnTo>
                  <a:lnTo>
                    <a:pt x="27537" y="211962"/>
                  </a:lnTo>
                  <a:lnTo>
                    <a:pt x="15885" y="195274"/>
                  </a:lnTo>
                  <a:lnTo>
                    <a:pt x="24764" y="168230"/>
                  </a:lnTo>
                  <a:lnTo>
                    <a:pt x="14003" y="147509"/>
                  </a:lnTo>
                  <a:lnTo>
                    <a:pt x="17517" y="139078"/>
                  </a:lnTo>
                  <a:lnTo>
                    <a:pt x="13030" y="129928"/>
                  </a:lnTo>
                  <a:lnTo>
                    <a:pt x="19304" y="117386"/>
                  </a:lnTo>
                  <a:lnTo>
                    <a:pt x="17555" y="96239"/>
                  </a:lnTo>
                  <a:lnTo>
                    <a:pt x="16851" y="78757"/>
                  </a:lnTo>
                  <a:lnTo>
                    <a:pt x="20279" y="70286"/>
                  </a:lnTo>
                  <a:lnTo>
                    <a:pt x="0" y="30505"/>
                  </a:lnTo>
                  <a:lnTo>
                    <a:pt x="14717" y="32423"/>
                  </a:lnTo>
                  <a:lnTo>
                    <a:pt x="24750" y="31751"/>
                  </a:lnTo>
                  <a:lnTo>
                    <a:pt x="28538" y="24183"/>
                  </a:lnTo>
                  <a:lnTo>
                    <a:pt x="44921" y="13915"/>
                  </a:lnTo>
                  <a:lnTo>
                    <a:pt x="54591" y="4479"/>
                  </a:lnTo>
                  <a:lnTo>
                    <a:pt x="79961" y="0"/>
                  </a:lnTo>
                  <a:lnTo>
                    <a:pt x="79153" y="18600"/>
                  </a:lnTo>
                  <a:lnTo>
                    <a:pt x="82252" y="28099"/>
                  </a:lnTo>
                  <a:lnTo>
                    <a:pt x="81945" y="44732"/>
                  </a:lnTo>
                  <a:lnTo>
                    <a:pt x="104958" y="66641"/>
                  </a:lnTo>
                  <a:lnTo>
                    <a:pt x="127159" y="70434"/>
                  </a:lnTo>
                  <a:lnTo>
                    <a:pt x="135611" y="79570"/>
                  </a:lnTo>
                  <a:lnTo>
                    <a:pt x="149211" y="84288"/>
                  </a:lnTo>
                  <a:lnTo>
                    <a:pt x="157895" y="91352"/>
                  </a:lnTo>
                  <a:lnTo>
                    <a:pt x="170135" y="90941"/>
                  </a:lnTo>
                  <a:lnTo>
                    <a:pt x="182082" y="98106"/>
                  </a:lnTo>
                  <a:lnTo>
                    <a:pt x="184200" y="112357"/>
                  </a:lnTo>
                  <a:lnTo>
                    <a:pt x="188646" y="119505"/>
                  </a:lnTo>
                  <a:lnTo>
                    <a:pt x="189892" y="130137"/>
                  </a:lnTo>
                  <a:lnTo>
                    <a:pt x="184261" y="130634"/>
                  </a:lnTo>
                  <a:lnTo>
                    <a:pt x="194550" y="159235"/>
                  </a:lnTo>
                  <a:lnTo>
                    <a:pt x="231803" y="159665"/>
                  </a:lnTo>
                  <a:lnTo>
                    <a:pt x="230391" y="173930"/>
                  </a:lnTo>
                  <a:lnTo>
                    <a:pt x="233473" y="183612"/>
                  </a:lnTo>
                  <a:lnTo>
                    <a:pt x="244758" y="190347"/>
                  </a:lnTo>
                  <a:lnTo>
                    <a:pt x="250958" y="205568"/>
                  </a:lnTo>
                  <a:lnTo>
                    <a:pt x="249696" y="225004"/>
                  </a:lnTo>
                  <a:lnTo>
                    <a:pt x="245673" y="235878"/>
                  </a:lnTo>
                  <a:lnTo>
                    <a:pt x="249192" y="249865"/>
                  </a:lnTo>
                  <a:lnTo>
                    <a:pt x="243812" y="255064"/>
                  </a:lnTo>
                  <a:lnTo>
                    <a:pt x="242560" y="247486"/>
                  </a:lnTo>
                  <a:lnTo>
                    <a:pt x="223146" y="235233"/>
                  </a:lnTo>
                  <a:lnTo>
                    <a:pt x="205251" y="235222"/>
                  </a:lnTo>
                  <a:lnTo>
                    <a:pt x="172651" y="243049"/>
                  </a:lnTo>
                  <a:lnTo>
                    <a:pt x="166282" y="264947"/>
                  </a:lnTo>
                  <a:lnTo>
                    <a:pt x="167602" y="278226"/>
                  </a:lnTo>
                  <a:lnTo>
                    <a:pt x="164282" y="307929"/>
                  </a:lnTo>
                  <a:lnTo>
                    <a:pt x="160434" y="302719"/>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174" name="Polygon form 138"/>
            <p:cNvSpPr/>
            <p:nvPr/>
          </p:nvSpPr>
          <p:spPr>
            <a:xfrm>
              <a:off x="2505108" y="3916587"/>
              <a:ext cx="771868" cy="957735"/>
            </a:xfrm>
            <a:custGeom>
              <a:avLst/>
              <a:gdLst/>
              <a:ahLst/>
              <a:cxnLst/>
              <a:rect l="0" t="0" r="0" b="0"/>
              <a:pathLst>
                <a:path w="771868" h="957735">
                  <a:moveTo>
                    <a:pt x="385352" y="873012"/>
                  </a:moveTo>
                  <a:lnTo>
                    <a:pt x="404104" y="838916"/>
                  </a:lnTo>
                  <a:lnTo>
                    <a:pt x="421151" y="814588"/>
                  </a:lnTo>
                  <a:lnTo>
                    <a:pt x="432105" y="804307"/>
                  </a:lnTo>
                  <a:lnTo>
                    <a:pt x="445782" y="790432"/>
                  </a:lnTo>
                  <a:lnTo>
                    <a:pt x="443224" y="770864"/>
                  </a:lnTo>
                  <a:lnTo>
                    <a:pt x="431694" y="756934"/>
                  </a:lnTo>
                  <a:lnTo>
                    <a:pt x="423049" y="761840"/>
                  </a:lnTo>
                  <a:lnTo>
                    <a:pt x="424682" y="747612"/>
                  </a:lnTo>
                  <a:lnTo>
                    <a:pt x="425179" y="733060"/>
                  </a:lnTo>
                  <a:lnTo>
                    <a:pt x="423318" y="719582"/>
                  </a:lnTo>
                  <a:lnTo>
                    <a:pt x="415882" y="715276"/>
                  </a:lnTo>
                  <a:lnTo>
                    <a:pt x="409316" y="719393"/>
                  </a:lnTo>
                  <a:lnTo>
                    <a:pt x="402094" y="718456"/>
                  </a:lnTo>
                  <a:lnTo>
                    <a:pt x="398567" y="709059"/>
                  </a:lnTo>
                  <a:lnTo>
                    <a:pt x="393764" y="686606"/>
                  </a:lnTo>
                  <a:lnTo>
                    <a:pt x="389231" y="679347"/>
                  </a:lnTo>
                  <a:lnTo>
                    <a:pt x="375482" y="672962"/>
                  </a:lnTo>
                  <a:lnTo>
                    <a:pt x="368332" y="677932"/>
                  </a:lnTo>
                  <a:lnTo>
                    <a:pt x="347570" y="673631"/>
                  </a:lnTo>
                  <a:lnTo>
                    <a:pt x="344503" y="640226"/>
                  </a:lnTo>
                  <a:lnTo>
                    <a:pt x="337135" y="626660"/>
                  </a:lnTo>
                  <a:lnTo>
                    <a:pt x="342515" y="621462"/>
                  </a:lnTo>
                  <a:lnTo>
                    <a:pt x="338997" y="607475"/>
                  </a:lnTo>
                  <a:lnTo>
                    <a:pt x="343020" y="596600"/>
                  </a:lnTo>
                  <a:lnTo>
                    <a:pt x="344282" y="577164"/>
                  </a:lnTo>
                  <a:lnTo>
                    <a:pt x="338081" y="561944"/>
                  </a:lnTo>
                  <a:lnTo>
                    <a:pt x="326797" y="555208"/>
                  </a:lnTo>
                  <a:lnTo>
                    <a:pt x="323714" y="545527"/>
                  </a:lnTo>
                  <a:lnTo>
                    <a:pt x="325127" y="531261"/>
                  </a:lnTo>
                  <a:lnTo>
                    <a:pt x="287873" y="530832"/>
                  </a:lnTo>
                  <a:lnTo>
                    <a:pt x="277585" y="502231"/>
                  </a:lnTo>
                  <a:lnTo>
                    <a:pt x="283215" y="501734"/>
                  </a:lnTo>
                  <a:lnTo>
                    <a:pt x="281969" y="491101"/>
                  </a:lnTo>
                  <a:lnTo>
                    <a:pt x="277524" y="483953"/>
                  </a:lnTo>
                  <a:lnTo>
                    <a:pt x="275405" y="469702"/>
                  </a:lnTo>
                  <a:lnTo>
                    <a:pt x="263458" y="462538"/>
                  </a:lnTo>
                  <a:lnTo>
                    <a:pt x="251218" y="462948"/>
                  </a:lnTo>
                  <a:lnTo>
                    <a:pt x="242534" y="455884"/>
                  </a:lnTo>
                  <a:lnTo>
                    <a:pt x="228934" y="451166"/>
                  </a:lnTo>
                  <a:lnTo>
                    <a:pt x="220482" y="442030"/>
                  </a:lnTo>
                  <a:lnTo>
                    <a:pt x="198281" y="438237"/>
                  </a:lnTo>
                  <a:lnTo>
                    <a:pt x="175268" y="416328"/>
                  </a:lnTo>
                  <a:lnTo>
                    <a:pt x="175575" y="399695"/>
                  </a:lnTo>
                  <a:lnTo>
                    <a:pt x="172476" y="390196"/>
                  </a:lnTo>
                  <a:lnTo>
                    <a:pt x="173285" y="371596"/>
                  </a:lnTo>
                  <a:lnTo>
                    <a:pt x="147915" y="376075"/>
                  </a:lnTo>
                  <a:lnTo>
                    <a:pt x="138244" y="385511"/>
                  </a:lnTo>
                  <a:lnTo>
                    <a:pt x="121861" y="395779"/>
                  </a:lnTo>
                  <a:lnTo>
                    <a:pt x="118073" y="403348"/>
                  </a:lnTo>
                  <a:lnTo>
                    <a:pt x="108040" y="404019"/>
                  </a:lnTo>
                  <a:lnTo>
                    <a:pt x="93323" y="402101"/>
                  </a:lnTo>
                  <a:lnTo>
                    <a:pt x="82629" y="406530"/>
                  </a:lnTo>
                  <a:lnTo>
                    <a:pt x="73497" y="403789"/>
                  </a:lnTo>
                  <a:lnTo>
                    <a:pt x="71963" y="365951"/>
                  </a:lnTo>
                  <a:lnTo>
                    <a:pt x="56936" y="380820"/>
                  </a:lnTo>
                  <a:lnTo>
                    <a:pt x="39595" y="380388"/>
                  </a:lnTo>
                  <a:lnTo>
                    <a:pt x="31202" y="367172"/>
                  </a:lnTo>
                  <a:lnTo>
                    <a:pt x="18082" y="365878"/>
                  </a:lnTo>
                  <a:lnTo>
                    <a:pt x="21474" y="355112"/>
                  </a:lnTo>
                  <a:lnTo>
                    <a:pt x="9554" y="340039"/>
                  </a:lnTo>
                  <a:lnTo>
                    <a:pt x="0" y="317620"/>
                  </a:lnTo>
                  <a:lnTo>
                    <a:pt x="4926" y="313002"/>
                  </a:lnTo>
                  <a:lnTo>
                    <a:pt x="4328" y="302448"/>
                  </a:lnTo>
                  <a:lnTo>
                    <a:pt x="15848" y="295136"/>
                  </a:lnTo>
                  <a:lnTo>
                    <a:pt x="13233" y="281646"/>
                  </a:lnTo>
                  <a:lnTo>
                    <a:pt x="17868" y="272920"/>
                  </a:lnTo>
                  <a:lnTo>
                    <a:pt x="18812" y="261256"/>
                  </a:lnTo>
                  <a:lnTo>
                    <a:pt x="40717" y="244132"/>
                  </a:lnTo>
                  <a:lnTo>
                    <a:pt x="56713" y="239247"/>
                  </a:lnTo>
                  <a:lnTo>
                    <a:pt x="59237" y="235486"/>
                  </a:lnTo>
                  <a:lnTo>
                    <a:pt x="77039" y="236565"/>
                  </a:lnTo>
                  <a:lnTo>
                    <a:pt x="84465" y="168264"/>
                  </a:lnTo>
                  <a:lnTo>
                    <a:pt x="84828" y="157467"/>
                  </a:lnTo>
                  <a:lnTo>
                    <a:pt x="81651" y="143214"/>
                  </a:lnTo>
                  <a:lnTo>
                    <a:pt x="72870" y="134132"/>
                  </a:lnTo>
                  <a:lnTo>
                    <a:pt x="72994" y="116034"/>
                  </a:lnTo>
                  <a:lnTo>
                    <a:pt x="84130" y="111940"/>
                  </a:lnTo>
                  <a:lnTo>
                    <a:pt x="88065" y="114519"/>
                  </a:lnTo>
                  <a:lnTo>
                    <a:pt x="88786" y="104986"/>
                  </a:lnTo>
                  <a:lnTo>
                    <a:pt x="77239" y="102398"/>
                  </a:lnTo>
                  <a:lnTo>
                    <a:pt x="77153" y="86814"/>
                  </a:lnTo>
                  <a:lnTo>
                    <a:pt x="115602" y="87447"/>
                  </a:lnTo>
                  <a:lnTo>
                    <a:pt x="122241" y="78893"/>
                  </a:lnTo>
                  <a:lnTo>
                    <a:pt x="127621" y="86786"/>
                  </a:lnTo>
                  <a:lnTo>
                    <a:pt x="131324" y="101446"/>
                  </a:lnTo>
                  <a:lnTo>
                    <a:pt x="135074" y="98390"/>
                  </a:lnTo>
                  <a:lnTo>
                    <a:pt x="145853" y="111535"/>
                  </a:lnTo>
                  <a:lnTo>
                    <a:pt x="161209" y="109940"/>
                  </a:lnTo>
                  <a:lnTo>
                    <a:pt x="165078" y="102353"/>
                  </a:lnTo>
                  <a:lnTo>
                    <a:pt x="179805" y="96584"/>
                  </a:lnTo>
                  <a:lnTo>
                    <a:pt x="187970" y="92528"/>
                  </a:lnTo>
                  <a:lnTo>
                    <a:pt x="190382" y="82039"/>
                  </a:lnTo>
                  <a:lnTo>
                    <a:pt x="204574" y="75022"/>
                  </a:lnTo>
                  <a:lnTo>
                    <a:pt x="203586" y="69816"/>
                  </a:lnTo>
                  <a:lnTo>
                    <a:pt x="186904" y="67643"/>
                  </a:lnTo>
                  <a:lnTo>
                    <a:pt x="184456" y="52029"/>
                  </a:lnTo>
                  <a:lnTo>
                    <a:pt x="185634" y="35418"/>
                  </a:lnTo>
                  <a:lnTo>
                    <a:pt x="176976" y="28955"/>
                  </a:lnTo>
                  <a:lnTo>
                    <a:pt x="180734" y="26690"/>
                  </a:lnTo>
                  <a:lnTo>
                    <a:pt x="195246" y="29925"/>
                  </a:lnTo>
                  <a:lnTo>
                    <a:pt x="210768" y="36179"/>
                  </a:lnTo>
                  <a:lnTo>
                    <a:pt x="216608" y="30351"/>
                  </a:lnTo>
                  <a:lnTo>
                    <a:pt x="230889" y="26573"/>
                  </a:lnTo>
                  <a:lnTo>
                    <a:pt x="253196" y="17416"/>
                  </a:lnTo>
                  <a:lnTo>
                    <a:pt x="260684" y="8022"/>
                  </a:lnTo>
                  <a:lnTo>
                    <a:pt x="258295" y="1038"/>
                  </a:lnTo>
                  <a:lnTo>
                    <a:pt x="268575" y="0"/>
                  </a:lnTo>
                  <a:lnTo>
                    <a:pt x="272980" y="5713"/>
                  </a:lnTo>
                  <a:lnTo>
                    <a:pt x="270095" y="16542"/>
                  </a:lnTo>
                  <a:lnTo>
                    <a:pt x="276764" y="20312"/>
                  </a:lnTo>
                  <a:lnTo>
                    <a:pt x="280991" y="31802"/>
                  </a:lnTo>
                  <a:lnTo>
                    <a:pt x="275319" y="40478"/>
                  </a:lnTo>
                  <a:lnTo>
                    <a:pt x="271768" y="61486"/>
                  </a:lnTo>
                  <a:lnTo>
                    <a:pt x="276626" y="73981"/>
                  </a:lnTo>
                  <a:lnTo>
                    <a:pt x="277915" y="85408"/>
                  </a:lnTo>
                  <a:lnTo>
                    <a:pt x="289948" y="97006"/>
                  </a:lnTo>
                  <a:lnTo>
                    <a:pt x="299627" y="98242"/>
                  </a:lnTo>
                  <a:lnTo>
                    <a:pt x="301849" y="93414"/>
                  </a:lnTo>
                  <a:lnTo>
                    <a:pt x="308096" y="92357"/>
                  </a:lnTo>
                  <a:lnTo>
                    <a:pt x="317068" y="88046"/>
                  </a:lnTo>
                  <a:lnTo>
                    <a:pt x="323555" y="81503"/>
                  </a:lnTo>
                  <a:lnTo>
                    <a:pt x="334448" y="83612"/>
                  </a:lnTo>
                  <a:lnTo>
                    <a:pt x="339260" y="82739"/>
                  </a:lnTo>
                  <a:lnTo>
                    <a:pt x="349969" y="84773"/>
                  </a:lnTo>
                  <a:lnTo>
                    <a:pt x="351803" y="79746"/>
                  </a:lnTo>
                  <a:lnTo>
                    <a:pt x="348552" y="74846"/>
                  </a:lnTo>
                  <a:lnTo>
                    <a:pt x="350623" y="67721"/>
                  </a:lnTo>
                  <a:lnTo>
                    <a:pt x="358556" y="69926"/>
                  </a:lnTo>
                  <a:lnTo>
                    <a:pt x="367908" y="67432"/>
                  </a:lnTo>
                  <a:lnTo>
                    <a:pt x="379141" y="72668"/>
                  </a:lnTo>
                  <a:lnTo>
                    <a:pt x="387697" y="77757"/>
                  </a:lnTo>
                  <a:lnTo>
                    <a:pt x="393888" y="71104"/>
                  </a:lnTo>
                  <a:lnTo>
                    <a:pt x="398289" y="72141"/>
                  </a:lnTo>
                  <a:lnTo>
                    <a:pt x="400897" y="79063"/>
                  </a:lnTo>
                  <a:lnTo>
                    <a:pt x="410366" y="77325"/>
                  </a:lnTo>
                  <a:lnTo>
                    <a:pt x="418046" y="68011"/>
                  </a:lnTo>
                  <a:lnTo>
                    <a:pt x="424384" y="49944"/>
                  </a:lnTo>
                  <a:lnTo>
                    <a:pt x="436494" y="27517"/>
                  </a:lnTo>
                  <a:lnTo>
                    <a:pt x="443236" y="26381"/>
                  </a:lnTo>
                  <a:lnTo>
                    <a:pt x="447835" y="39966"/>
                  </a:lnTo>
                  <a:lnTo>
                    <a:pt x="458281" y="82886"/>
                  </a:lnTo>
                  <a:lnTo>
                    <a:pt x="468798" y="86950"/>
                  </a:lnTo>
                  <a:lnTo>
                    <a:pt x="469210" y="103873"/>
                  </a:lnTo>
                  <a:lnTo>
                    <a:pt x="454296" y="124051"/>
                  </a:lnTo>
                  <a:lnTo>
                    <a:pt x="460433" y="131443"/>
                  </a:lnTo>
                  <a:lnTo>
                    <a:pt x="495332" y="135288"/>
                  </a:lnTo>
                  <a:lnTo>
                    <a:pt x="496134" y="159838"/>
                  </a:lnTo>
                  <a:lnTo>
                    <a:pt x="511055" y="143759"/>
                  </a:lnTo>
                  <a:lnTo>
                    <a:pt x="535928" y="152540"/>
                  </a:lnTo>
                  <a:lnTo>
                    <a:pt x="568799" y="167442"/>
                  </a:lnTo>
                  <a:lnTo>
                    <a:pt x="578553" y="181748"/>
                  </a:lnTo>
                  <a:lnTo>
                    <a:pt x="575466" y="195279"/>
                  </a:lnTo>
                  <a:lnTo>
                    <a:pt x="598325" y="187710"/>
                  </a:lnTo>
                  <a:lnTo>
                    <a:pt x="636874" y="200548"/>
                  </a:lnTo>
                  <a:lnTo>
                    <a:pt x="666340" y="199543"/>
                  </a:lnTo>
                  <a:lnTo>
                    <a:pt x="695768" y="219645"/>
                  </a:lnTo>
                  <a:lnTo>
                    <a:pt x="721399" y="246855"/>
                  </a:lnTo>
                  <a:lnTo>
                    <a:pt x="736713" y="253830"/>
                  </a:lnTo>
                  <a:lnTo>
                    <a:pt x="753584" y="254756"/>
                  </a:lnTo>
                  <a:lnTo>
                    <a:pt x="760872" y="262405"/>
                  </a:lnTo>
                  <a:lnTo>
                    <a:pt x="768232" y="293339"/>
                  </a:lnTo>
                  <a:lnTo>
                    <a:pt x="771868" y="308034"/>
                  </a:lnTo>
                  <a:lnTo>
                    <a:pt x="765214" y="348258"/>
                  </a:lnTo>
                  <a:lnTo>
                    <a:pt x="755763" y="364184"/>
                  </a:lnTo>
                  <a:lnTo>
                    <a:pt x="729435" y="398193"/>
                  </a:lnTo>
                  <a:lnTo>
                    <a:pt x="718193" y="425787"/>
                  </a:lnTo>
                  <a:lnTo>
                    <a:pt x="704770" y="446998"/>
                  </a:lnTo>
                  <a:lnTo>
                    <a:pt x="699914" y="447513"/>
                  </a:lnTo>
                  <a:lnTo>
                    <a:pt x="695424" y="465470"/>
                  </a:lnTo>
                  <a:lnTo>
                    <a:pt x="699500" y="511075"/>
                  </a:lnTo>
                  <a:lnTo>
                    <a:pt x="696579" y="548653"/>
                  </a:lnTo>
                  <a:lnTo>
                    <a:pt x="695666" y="564727"/>
                  </a:lnTo>
                  <a:lnTo>
                    <a:pt x="690265" y="574401"/>
                  </a:lnTo>
                  <a:lnTo>
                    <a:pt x="689381" y="606988"/>
                  </a:lnTo>
                  <a:lnTo>
                    <a:pt x="672598" y="639026"/>
                  </a:lnTo>
                  <a:lnTo>
                    <a:pt x="671636" y="664223"/>
                  </a:lnTo>
                  <a:lnTo>
                    <a:pt x="657182" y="675002"/>
                  </a:lnTo>
                  <a:lnTo>
                    <a:pt x="654165" y="689670"/>
                  </a:lnTo>
                  <a:lnTo>
                    <a:pt x="633460" y="689932"/>
                  </a:lnTo>
                  <a:lnTo>
                    <a:pt x="604506" y="699784"/>
                  </a:lnTo>
                  <a:lnTo>
                    <a:pt x="592322" y="710862"/>
                  </a:lnTo>
                  <a:lnTo>
                    <a:pt x="571880" y="718363"/>
                  </a:lnTo>
                  <a:lnTo>
                    <a:pt x="551932" y="738213"/>
                  </a:lnTo>
                  <a:lnTo>
                    <a:pt x="539055" y="762748"/>
                  </a:lnTo>
                  <a:lnTo>
                    <a:pt x="538767" y="781041"/>
                  </a:lnTo>
                  <a:lnTo>
                    <a:pt x="543749" y="794463"/>
                  </a:lnTo>
                  <a:lnTo>
                    <a:pt x="543760" y="819205"/>
                  </a:lnTo>
                  <a:lnTo>
                    <a:pt x="541275" y="831213"/>
                  </a:lnTo>
                  <a:lnTo>
                    <a:pt x="530293" y="844946"/>
                  </a:lnTo>
                  <a:lnTo>
                    <a:pt x="516645" y="888421"/>
                  </a:lnTo>
                  <a:lnTo>
                    <a:pt x="503774" y="908208"/>
                  </a:lnTo>
                  <a:lnTo>
                    <a:pt x="493325" y="919961"/>
                  </a:lnTo>
                  <a:lnTo>
                    <a:pt x="489266" y="943427"/>
                  </a:lnTo>
                  <a:lnTo>
                    <a:pt x="479880" y="957735"/>
                  </a:lnTo>
                  <a:lnTo>
                    <a:pt x="472167" y="944039"/>
                  </a:lnTo>
                  <a:lnTo>
                    <a:pt x="478029" y="932221"/>
                  </a:lnTo>
                  <a:lnTo>
                    <a:pt x="464344" y="915880"/>
                  </a:lnTo>
                  <a:lnTo>
                    <a:pt x="447440" y="902757"/>
                  </a:lnTo>
                  <a:lnTo>
                    <a:pt x="425606" y="887597"/>
                  </a:lnTo>
                  <a:lnTo>
                    <a:pt x="418883" y="888501"/>
                  </a:lnTo>
                  <a:lnTo>
                    <a:pt x="396875" y="870065"/>
                  </a:lnTo>
                  <a:lnTo>
                    <a:pt x="385352" y="873012"/>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175" name="Polygon form 139"/>
            <p:cNvSpPr/>
            <p:nvPr/>
          </p:nvSpPr>
          <p:spPr>
            <a:xfrm>
              <a:off x="6211465" y="3902132"/>
              <a:ext cx="23058" cy="38189"/>
            </a:xfrm>
            <a:custGeom>
              <a:avLst/>
              <a:gdLst/>
              <a:ahLst/>
              <a:cxnLst/>
              <a:rect l="0" t="0" r="0" b="0"/>
              <a:pathLst>
                <a:path w="23058" h="38189">
                  <a:moveTo>
                    <a:pt x="0" y="24606"/>
                  </a:moveTo>
                  <a:lnTo>
                    <a:pt x="7229" y="14656"/>
                  </a:lnTo>
                  <a:lnTo>
                    <a:pt x="23058" y="0"/>
                  </a:lnTo>
                  <a:lnTo>
                    <a:pt x="23010" y="13020"/>
                  </a:lnTo>
                  <a:lnTo>
                    <a:pt x="22832" y="29902"/>
                  </a:lnTo>
                  <a:lnTo>
                    <a:pt x="13370" y="29159"/>
                  </a:lnTo>
                  <a:lnTo>
                    <a:pt x="9694" y="38189"/>
                  </a:lnTo>
                  <a:lnTo>
                    <a:pt x="0" y="24606"/>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176" name="Polygon form 140"/>
            <p:cNvSpPr/>
            <p:nvPr/>
          </p:nvSpPr>
          <p:spPr>
            <a:xfrm>
              <a:off x="5624508" y="3328528"/>
              <a:ext cx="62900" cy="39907"/>
            </a:xfrm>
            <a:custGeom>
              <a:avLst/>
              <a:gdLst/>
              <a:ahLst/>
              <a:cxnLst/>
              <a:rect l="0" t="0" r="0" b="0"/>
              <a:pathLst>
                <a:path w="62900" h="39907">
                  <a:moveTo>
                    <a:pt x="50255" y="11813"/>
                  </a:moveTo>
                  <a:lnTo>
                    <a:pt x="60010" y="19520"/>
                  </a:lnTo>
                  <a:lnTo>
                    <a:pt x="62900" y="35076"/>
                  </a:lnTo>
                  <a:lnTo>
                    <a:pt x="47924" y="36485"/>
                  </a:lnTo>
                  <a:lnTo>
                    <a:pt x="31775" y="35472"/>
                  </a:lnTo>
                  <a:lnTo>
                    <a:pt x="21101" y="39907"/>
                  </a:lnTo>
                  <a:lnTo>
                    <a:pt x="1713" y="31071"/>
                  </a:lnTo>
                  <a:lnTo>
                    <a:pt x="0" y="26049"/>
                  </a:lnTo>
                  <a:lnTo>
                    <a:pt x="7277" y="6824"/>
                  </a:lnTo>
                  <a:lnTo>
                    <a:pt x="15516" y="0"/>
                  </a:lnTo>
                  <a:lnTo>
                    <a:pt x="30337" y="5232"/>
                  </a:lnTo>
                  <a:lnTo>
                    <a:pt x="40278" y="5404"/>
                  </a:lnTo>
                  <a:lnTo>
                    <a:pt x="50255" y="11813"/>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177" name="Polygon form 141"/>
            <p:cNvSpPr/>
            <p:nvPr/>
          </p:nvSpPr>
          <p:spPr>
            <a:xfrm>
              <a:off x="4337827" y="4473851"/>
              <a:ext cx="185535" cy="221164"/>
            </a:xfrm>
            <a:custGeom>
              <a:avLst/>
              <a:gdLst/>
              <a:ahLst/>
              <a:cxnLst/>
              <a:rect l="0" t="0" r="0" b="0"/>
              <a:pathLst>
                <a:path w="185535" h="221164">
                  <a:moveTo>
                    <a:pt x="117834" y="21247"/>
                  </a:moveTo>
                  <a:lnTo>
                    <a:pt x="121504" y="25596"/>
                  </a:lnTo>
                  <a:lnTo>
                    <a:pt x="126852" y="39658"/>
                  </a:lnTo>
                  <a:lnTo>
                    <a:pt x="147171" y="66446"/>
                  </a:lnTo>
                  <a:lnTo>
                    <a:pt x="155247" y="69123"/>
                  </a:lnTo>
                  <a:lnTo>
                    <a:pt x="154787" y="77671"/>
                  </a:lnTo>
                  <a:lnTo>
                    <a:pt x="159486" y="93089"/>
                  </a:lnTo>
                  <a:lnTo>
                    <a:pt x="174060" y="96949"/>
                  </a:lnTo>
                  <a:lnTo>
                    <a:pt x="185535" y="108023"/>
                  </a:lnTo>
                  <a:lnTo>
                    <a:pt x="157310" y="125599"/>
                  </a:lnTo>
                  <a:lnTo>
                    <a:pt x="138993" y="143515"/>
                  </a:lnTo>
                  <a:lnTo>
                    <a:pt x="131576" y="159591"/>
                  </a:lnTo>
                  <a:lnTo>
                    <a:pt x="125251" y="168630"/>
                  </a:lnTo>
                  <a:lnTo>
                    <a:pt x="114797" y="170465"/>
                  </a:lnTo>
                  <a:lnTo>
                    <a:pt x="110685" y="182016"/>
                  </a:lnTo>
                  <a:lnTo>
                    <a:pt x="108255" y="189549"/>
                  </a:lnTo>
                  <a:lnTo>
                    <a:pt x="95779" y="195064"/>
                  </a:lnTo>
                  <a:lnTo>
                    <a:pt x="80469" y="193717"/>
                  </a:lnTo>
                  <a:lnTo>
                    <a:pt x="71866" y="186854"/>
                  </a:lnTo>
                  <a:lnTo>
                    <a:pt x="64069" y="183842"/>
                  </a:lnTo>
                  <a:lnTo>
                    <a:pt x="54492" y="189366"/>
                  </a:lnTo>
                  <a:lnTo>
                    <a:pt x="49157" y="200911"/>
                  </a:lnTo>
                  <a:lnTo>
                    <a:pt x="39772" y="208106"/>
                  </a:lnTo>
                  <a:lnTo>
                    <a:pt x="29687" y="218815"/>
                  </a:lnTo>
                  <a:lnTo>
                    <a:pt x="16047" y="221164"/>
                  </a:lnTo>
                  <a:lnTo>
                    <a:pt x="12334" y="212639"/>
                  </a:lnTo>
                  <a:lnTo>
                    <a:pt x="14909" y="197921"/>
                  </a:lnTo>
                  <a:lnTo>
                    <a:pt x="4932" y="174858"/>
                  </a:lnTo>
                  <a:lnTo>
                    <a:pt x="0" y="171188"/>
                  </a:lnTo>
                  <a:lnTo>
                    <a:pt x="3397" y="100626"/>
                  </a:lnTo>
                  <a:lnTo>
                    <a:pt x="22306" y="99913"/>
                  </a:lnTo>
                  <a:lnTo>
                    <a:pt x="26603" y="13769"/>
                  </a:lnTo>
                  <a:lnTo>
                    <a:pt x="41021" y="13056"/>
                  </a:lnTo>
                  <a:lnTo>
                    <a:pt x="71183" y="4772"/>
                  </a:lnTo>
                  <a:lnTo>
                    <a:pt x="78136" y="14797"/>
                  </a:lnTo>
                  <a:lnTo>
                    <a:pt x="90899" y="5394"/>
                  </a:lnTo>
                  <a:lnTo>
                    <a:pt x="96768" y="5380"/>
                  </a:lnTo>
                  <a:lnTo>
                    <a:pt x="107921" y="0"/>
                  </a:lnTo>
                  <a:lnTo>
                    <a:pt x="111316" y="1834"/>
                  </a:lnTo>
                  <a:lnTo>
                    <a:pt x="117834" y="21247"/>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178" name="Polygon form 142"/>
            <p:cNvSpPr/>
            <p:nvPr/>
          </p:nvSpPr>
          <p:spPr>
            <a:xfrm>
              <a:off x="4245176" y="3776418"/>
              <a:ext cx="254554" cy="214894"/>
            </a:xfrm>
            <a:custGeom>
              <a:avLst/>
              <a:gdLst/>
              <a:ahLst/>
              <a:cxnLst/>
              <a:rect l="0" t="0" r="0" b="0"/>
              <a:pathLst>
                <a:path w="254554" h="214894">
                  <a:moveTo>
                    <a:pt x="15682" y="90376"/>
                  </a:moveTo>
                  <a:lnTo>
                    <a:pt x="31925" y="88530"/>
                  </a:lnTo>
                  <a:lnTo>
                    <a:pt x="35472" y="82308"/>
                  </a:lnTo>
                  <a:lnTo>
                    <a:pt x="38736" y="82773"/>
                  </a:lnTo>
                  <a:lnTo>
                    <a:pt x="43720" y="88236"/>
                  </a:lnTo>
                  <a:lnTo>
                    <a:pt x="68354" y="78937"/>
                  </a:lnTo>
                  <a:lnTo>
                    <a:pt x="76561" y="69481"/>
                  </a:lnTo>
                  <a:lnTo>
                    <a:pt x="86673" y="61004"/>
                  </a:lnTo>
                  <a:lnTo>
                    <a:pt x="84584" y="52498"/>
                  </a:lnTo>
                  <a:lnTo>
                    <a:pt x="90084" y="50260"/>
                  </a:lnTo>
                  <a:lnTo>
                    <a:pt x="109076" y="51710"/>
                  </a:lnTo>
                  <a:lnTo>
                    <a:pt x="127339" y="40450"/>
                  </a:lnTo>
                  <a:lnTo>
                    <a:pt x="140943" y="14007"/>
                  </a:lnTo>
                  <a:lnTo>
                    <a:pt x="150648" y="4175"/>
                  </a:lnTo>
                  <a:lnTo>
                    <a:pt x="162943" y="0"/>
                  </a:lnTo>
                  <a:lnTo>
                    <a:pt x="165430" y="10348"/>
                  </a:lnTo>
                  <a:lnTo>
                    <a:pt x="177112" y="25439"/>
                  </a:lnTo>
                  <a:lnTo>
                    <a:pt x="177405" y="35316"/>
                  </a:lnTo>
                  <a:lnTo>
                    <a:pt x="174444" y="45401"/>
                  </a:lnTo>
                  <a:lnTo>
                    <a:pt x="175870" y="52920"/>
                  </a:lnTo>
                  <a:lnTo>
                    <a:pt x="182830" y="59869"/>
                  </a:lnTo>
                  <a:lnTo>
                    <a:pt x="198017" y="70405"/>
                  </a:lnTo>
                  <a:lnTo>
                    <a:pt x="208982" y="80158"/>
                  </a:lnTo>
                  <a:lnTo>
                    <a:pt x="209317" y="88029"/>
                  </a:lnTo>
                  <a:lnTo>
                    <a:pt x="222786" y="100605"/>
                  </a:lnTo>
                  <a:lnTo>
                    <a:pt x="231178" y="111066"/>
                  </a:lnTo>
                  <a:lnTo>
                    <a:pt x="236394" y="125589"/>
                  </a:lnTo>
                  <a:lnTo>
                    <a:pt x="251270" y="135144"/>
                  </a:lnTo>
                  <a:lnTo>
                    <a:pt x="254554" y="142820"/>
                  </a:lnTo>
                  <a:lnTo>
                    <a:pt x="248085" y="145406"/>
                  </a:lnTo>
                  <a:lnTo>
                    <a:pt x="235438" y="144876"/>
                  </a:lnTo>
                  <a:lnTo>
                    <a:pt x="220577" y="142358"/>
                  </a:lnTo>
                  <a:lnTo>
                    <a:pt x="213281" y="144449"/>
                  </a:lnTo>
                  <a:lnTo>
                    <a:pt x="210402" y="150344"/>
                  </a:lnTo>
                  <a:lnTo>
                    <a:pt x="204028" y="151083"/>
                  </a:lnTo>
                  <a:lnTo>
                    <a:pt x="196188" y="145975"/>
                  </a:lnTo>
                  <a:lnTo>
                    <a:pt x="174386" y="158099"/>
                  </a:lnTo>
                  <a:lnTo>
                    <a:pt x="165375" y="155683"/>
                  </a:lnTo>
                  <a:lnTo>
                    <a:pt x="162687" y="157553"/>
                  </a:lnTo>
                  <a:lnTo>
                    <a:pt x="156937" y="172177"/>
                  </a:lnTo>
                  <a:lnTo>
                    <a:pt x="142182" y="167475"/>
                  </a:lnTo>
                  <a:lnTo>
                    <a:pt x="127736" y="165114"/>
                  </a:lnTo>
                  <a:lnTo>
                    <a:pt x="115094" y="156209"/>
                  </a:lnTo>
                  <a:lnTo>
                    <a:pt x="98792" y="148014"/>
                  </a:lnTo>
                  <a:lnTo>
                    <a:pt x="88311" y="155816"/>
                  </a:lnTo>
                  <a:lnTo>
                    <a:pt x="80740" y="168102"/>
                  </a:lnTo>
                  <a:lnTo>
                    <a:pt x="79088" y="184965"/>
                  </a:lnTo>
                  <a:lnTo>
                    <a:pt x="66393" y="183628"/>
                  </a:lnTo>
                  <a:lnTo>
                    <a:pt x="53016" y="179581"/>
                  </a:lnTo>
                  <a:lnTo>
                    <a:pt x="41335" y="192399"/>
                  </a:lnTo>
                  <a:lnTo>
                    <a:pt x="31093" y="214894"/>
                  </a:lnTo>
                  <a:lnTo>
                    <a:pt x="28985" y="207894"/>
                  </a:lnTo>
                  <a:lnTo>
                    <a:pt x="28054" y="196873"/>
                  </a:lnTo>
                  <a:lnTo>
                    <a:pt x="18992" y="189106"/>
                  </a:lnTo>
                  <a:lnTo>
                    <a:pt x="11641" y="176644"/>
                  </a:lnTo>
                  <a:lnTo>
                    <a:pt x="9906" y="167972"/>
                  </a:lnTo>
                  <a:lnTo>
                    <a:pt x="504" y="155366"/>
                  </a:lnTo>
                  <a:lnTo>
                    <a:pt x="2040" y="148166"/>
                  </a:lnTo>
                  <a:lnTo>
                    <a:pt x="0" y="137995"/>
                  </a:lnTo>
                  <a:lnTo>
                    <a:pt x="1358" y="119267"/>
                  </a:lnTo>
                  <a:lnTo>
                    <a:pt x="6043" y="114874"/>
                  </a:lnTo>
                  <a:lnTo>
                    <a:pt x="15682" y="90376"/>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179" name="Polygon form 143"/>
            <p:cNvSpPr/>
            <p:nvPr/>
          </p:nvSpPr>
          <p:spPr>
            <a:xfrm>
              <a:off x="1932096" y="2255829"/>
              <a:ext cx="1138377" cy="746440"/>
            </a:xfrm>
            <a:custGeom>
              <a:avLst/>
              <a:gdLst/>
              <a:ahLst/>
              <a:cxnLst/>
              <a:rect l="0" t="0" r="0" b="0"/>
              <a:pathLst>
                <a:path w="1138377" h="746440">
                  <a:moveTo>
                    <a:pt x="863762" y="69138"/>
                  </a:moveTo>
                  <a:lnTo>
                    <a:pt x="844356" y="92791"/>
                  </a:lnTo>
                  <a:lnTo>
                    <a:pt x="875624" y="75978"/>
                  </a:lnTo>
                  <a:lnTo>
                    <a:pt x="878555" y="92078"/>
                  </a:lnTo>
                  <a:lnTo>
                    <a:pt x="861326" y="109026"/>
                  </a:lnTo>
                  <a:lnTo>
                    <a:pt x="861566" y="125730"/>
                  </a:lnTo>
                  <a:lnTo>
                    <a:pt x="887641" y="109904"/>
                  </a:lnTo>
                  <a:lnTo>
                    <a:pt x="912156" y="90507"/>
                  </a:lnTo>
                  <a:lnTo>
                    <a:pt x="932599" y="65071"/>
                  </a:lnTo>
                  <a:lnTo>
                    <a:pt x="948701" y="68159"/>
                  </a:lnTo>
                  <a:lnTo>
                    <a:pt x="964361" y="72920"/>
                  </a:lnTo>
                  <a:lnTo>
                    <a:pt x="972488" y="85687"/>
                  </a:lnTo>
                  <a:lnTo>
                    <a:pt x="964816" y="97330"/>
                  </a:lnTo>
                  <a:lnTo>
                    <a:pt x="946390" y="109113"/>
                  </a:lnTo>
                  <a:lnTo>
                    <a:pt x="946442" y="122301"/>
                  </a:lnTo>
                  <a:lnTo>
                    <a:pt x="936777" y="133591"/>
                  </a:lnTo>
                  <a:lnTo>
                    <a:pt x="899806" y="148135"/>
                  </a:lnTo>
                  <a:lnTo>
                    <a:pt x="879098" y="150388"/>
                  </a:lnTo>
                  <a:lnTo>
                    <a:pt x="870774" y="142297"/>
                  </a:lnTo>
                  <a:lnTo>
                    <a:pt x="858316" y="153768"/>
                  </a:lnTo>
                  <a:lnTo>
                    <a:pt x="831331" y="172581"/>
                  </a:lnTo>
                  <a:lnTo>
                    <a:pt x="820070" y="182562"/>
                  </a:lnTo>
                  <a:lnTo>
                    <a:pt x="793188" y="197262"/>
                  </a:lnTo>
                  <a:lnTo>
                    <a:pt x="772911" y="197267"/>
                  </a:lnTo>
                  <a:lnTo>
                    <a:pt x="755084" y="206349"/>
                  </a:lnTo>
                  <a:lnTo>
                    <a:pt x="743110" y="221607"/>
                  </a:lnTo>
                  <a:lnTo>
                    <a:pt x="725204" y="223245"/>
                  </a:lnTo>
                  <a:lnTo>
                    <a:pt x="694666" y="240981"/>
                  </a:lnTo>
                  <a:lnTo>
                    <a:pt x="660559" y="266371"/>
                  </a:lnTo>
                  <a:lnTo>
                    <a:pt x="641875" y="284630"/>
                  </a:lnTo>
                  <a:lnTo>
                    <a:pt x="621860" y="312227"/>
                  </a:lnTo>
                  <a:lnTo>
                    <a:pt x="640102" y="317988"/>
                  </a:lnTo>
                  <a:lnTo>
                    <a:pt x="631717" y="340926"/>
                  </a:lnTo>
                  <a:lnTo>
                    <a:pt x="626741" y="359676"/>
                  </a:lnTo>
                  <a:lnTo>
                    <a:pt x="650190" y="356597"/>
                  </a:lnTo>
                  <a:lnTo>
                    <a:pt x="670951" y="369158"/>
                  </a:lnTo>
                  <a:lnTo>
                    <a:pt x="680163" y="379442"/>
                  </a:lnTo>
                  <a:lnTo>
                    <a:pt x="684031" y="391626"/>
                  </a:lnTo>
                  <a:lnTo>
                    <a:pt x="698875" y="399664"/>
                  </a:lnTo>
                  <a:lnTo>
                    <a:pt x="708995" y="410992"/>
                  </a:lnTo>
                  <a:lnTo>
                    <a:pt x="733104" y="414177"/>
                  </a:lnTo>
                  <a:lnTo>
                    <a:pt x="748264" y="417666"/>
                  </a:lnTo>
                  <a:lnTo>
                    <a:pt x="734566" y="438415"/>
                  </a:lnTo>
                  <a:lnTo>
                    <a:pt x="726598" y="463072"/>
                  </a:lnTo>
                  <a:lnTo>
                    <a:pt x="724077" y="490967"/>
                  </a:lnTo>
                  <a:lnTo>
                    <a:pt x="736202" y="515560"/>
                  </a:lnTo>
                  <a:lnTo>
                    <a:pt x="752120" y="508432"/>
                  </a:lnTo>
                  <a:lnTo>
                    <a:pt x="772598" y="484025"/>
                  </a:lnTo>
                  <a:lnTo>
                    <a:pt x="783482" y="445253"/>
                  </a:lnTo>
                  <a:lnTo>
                    <a:pt x="779216" y="431814"/>
                  </a:lnTo>
                  <a:lnTo>
                    <a:pt x="809412" y="422113"/>
                  </a:lnTo>
                  <a:lnTo>
                    <a:pt x="835247" y="406324"/>
                  </a:lnTo>
                  <a:lnTo>
                    <a:pt x="852239" y="390074"/>
                  </a:lnTo>
                  <a:lnTo>
                    <a:pt x="859417" y="373906"/>
                  </a:lnTo>
                  <a:lnTo>
                    <a:pt x="860279" y="352824"/>
                  </a:lnTo>
                  <a:lnTo>
                    <a:pt x="852455" y="333569"/>
                  </a:lnTo>
                  <a:lnTo>
                    <a:pt x="883656" y="309624"/>
                  </a:lnTo>
                  <a:lnTo>
                    <a:pt x="889805" y="287557"/>
                  </a:lnTo>
                  <a:lnTo>
                    <a:pt x="907125" y="249997"/>
                  </a:lnTo>
                  <a:lnTo>
                    <a:pt x="920114" y="245167"/>
                  </a:lnTo>
                  <a:lnTo>
                    <a:pt x="940161" y="253259"/>
                  </a:lnTo>
                  <a:lnTo>
                    <a:pt x="953200" y="256528"/>
                  </a:lnTo>
                  <a:lnTo>
                    <a:pt x="968367" y="251021"/>
                  </a:lnTo>
                  <a:lnTo>
                    <a:pt x="976856" y="259937"/>
                  </a:lnTo>
                  <a:lnTo>
                    <a:pt x="986621" y="274875"/>
                  </a:lnTo>
                  <a:lnTo>
                    <a:pt x="985942" y="284422"/>
                  </a:lnTo>
                  <a:lnTo>
                    <a:pt x="1010436" y="287788"/>
                  </a:lnTo>
                  <a:lnTo>
                    <a:pt x="999649" y="307880"/>
                  </a:lnTo>
                  <a:lnTo>
                    <a:pt x="989281" y="338485"/>
                  </a:lnTo>
                  <a:lnTo>
                    <a:pt x="1000865" y="343025"/>
                  </a:lnTo>
                  <a:lnTo>
                    <a:pt x="1004792" y="357798"/>
                  </a:lnTo>
                  <a:lnTo>
                    <a:pt x="1032487" y="345663"/>
                  </a:lnTo>
                  <a:lnTo>
                    <a:pt x="1058984" y="319949"/>
                  </a:lnTo>
                  <a:lnTo>
                    <a:pt x="1073875" y="309328"/>
                  </a:lnTo>
                  <a:lnTo>
                    <a:pt x="1075253" y="331380"/>
                  </a:lnTo>
                  <a:lnTo>
                    <a:pt x="1080815" y="363067"/>
                  </a:lnTo>
                  <a:lnTo>
                    <a:pt x="1085123" y="392808"/>
                  </a:lnTo>
                  <a:lnTo>
                    <a:pt x="1072753" y="407637"/>
                  </a:lnTo>
                  <a:lnTo>
                    <a:pt x="1087554" y="422257"/>
                  </a:lnTo>
                  <a:lnTo>
                    <a:pt x="1095966" y="436723"/>
                  </a:lnTo>
                  <a:lnTo>
                    <a:pt x="1118243" y="444136"/>
                  </a:lnTo>
                  <a:lnTo>
                    <a:pt x="1125350" y="452301"/>
                  </a:lnTo>
                  <a:lnTo>
                    <a:pt x="1124136" y="473030"/>
                  </a:lnTo>
                  <a:lnTo>
                    <a:pt x="1135226" y="476788"/>
                  </a:lnTo>
                  <a:lnTo>
                    <a:pt x="1138377" y="486186"/>
                  </a:lnTo>
                  <a:lnTo>
                    <a:pt x="1130275" y="513421"/>
                  </a:lnTo>
                  <a:lnTo>
                    <a:pt x="1115619" y="522019"/>
                  </a:lnTo>
                  <a:lnTo>
                    <a:pt x="1101247" y="530016"/>
                  </a:lnTo>
                  <a:lnTo>
                    <a:pt x="1071832" y="537447"/>
                  </a:lnTo>
                  <a:lnTo>
                    <a:pt x="1044638" y="556443"/>
                  </a:lnTo>
                  <a:lnTo>
                    <a:pt x="1015886" y="559112"/>
                  </a:lnTo>
                  <a:lnTo>
                    <a:pt x="983159" y="552343"/>
                  </a:lnTo>
                  <a:lnTo>
                    <a:pt x="959015" y="550965"/>
                  </a:lnTo>
                  <a:lnTo>
                    <a:pt x="941676" y="551799"/>
                  </a:lnTo>
                  <a:lnTo>
                    <a:pt x="921458" y="568532"/>
                  </a:lnTo>
                  <a:lnTo>
                    <a:pt x="896615" y="578236"/>
                  </a:lnTo>
                  <a:lnTo>
                    <a:pt x="860672" y="609221"/>
                  </a:lnTo>
                  <a:lnTo>
                    <a:pt x="833133" y="630732"/>
                  </a:lnTo>
                  <a:lnTo>
                    <a:pt x="848699" y="627458"/>
                  </a:lnTo>
                  <a:lnTo>
                    <a:pt x="887199" y="596814"/>
                  </a:lnTo>
                  <a:lnTo>
                    <a:pt x="929086" y="578297"/>
                  </a:lnTo>
                  <a:lnTo>
                    <a:pt x="954341" y="577090"/>
                  </a:lnTo>
                  <a:lnTo>
                    <a:pt x="964473" y="589709"/>
                  </a:lnTo>
                  <a:lnTo>
                    <a:pt x="943147" y="605293"/>
                  </a:lnTo>
                  <a:lnTo>
                    <a:pt x="939171" y="631777"/>
                  </a:lnTo>
                  <a:lnTo>
                    <a:pt x="938333" y="650408"/>
                  </a:lnTo>
                  <a:lnTo>
                    <a:pt x="956045" y="663571"/>
                  </a:lnTo>
                  <a:lnTo>
                    <a:pt x="984910" y="661277"/>
                  </a:lnTo>
                  <a:lnTo>
                    <a:pt x="1010419" y="634654"/>
                  </a:lnTo>
                  <a:lnTo>
                    <a:pt x="1005952" y="652349"/>
                  </a:lnTo>
                  <a:lnTo>
                    <a:pt x="1014020" y="661628"/>
                  </a:lnTo>
                  <a:lnTo>
                    <a:pt x="988261" y="676690"/>
                  </a:lnTo>
                  <a:lnTo>
                    <a:pt x="946295" y="689563"/>
                  </a:lnTo>
                  <a:lnTo>
                    <a:pt x="926352" y="698685"/>
                  </a:lnTo>
                  <a:lnTo>
                    <a:pt x="901745" y="715418"/>
                  </a:lnTo>
                  <a:lnTo>
                    <a:pt x="889384" y="713038"/>
                  </a:lnTo>
                  <a:lnTo>
                    <a:pt x="895489" y="692337"/>
                  </a:lnTo>
                  <a:lnTo>
                    <a:pt x="931437" y="673511"/>
                  </a:lnTo>
                  <a:lnTo>
                    <a:pt x="904245" y="673062"/>
                  </a:lnTo>
                  <a:lnTo>
                    <a:pt x="884545" y="675149"/>
                  </a:lnTo>
                  <a:lnTo>
                    <a:pt x="878342" y="660825"/>
                  </a:lnTo>
                  <a:lnTo>
                    <a:pt x="890208" y="627578"/>
                  </a:lnTo>
                  <a:lnTo>
                    <a:pt x="885435" y="620180"/>
                  </a:lnTo>
                  <a:lnTo>
                    <a:pt x="872831" y="623757"/>
                  </a:lnTo>
                  <a:lnTo>
                    <a:pt x="869731" y="617072"/>
                  </a:lnTo>
                  <a:lnTo>
                    <a:pt x="850257" y="634822"/>
                  </a:lnTo>
                  <a:lnTo>
                    <a:pt x="838184" y="653549"/>
                  </a:lnTo>
                  <a:lnTo>
                    <a:pt x="828200" y="664358"/>
                  </a:lnTo>
                  <a:lnTo>
                    <a:pt x="819709" y="667776"/>
                  </a:lnTo>
                  <a:lnTo>
                    <a:pt x="813895" y="668729"/>
                  </a:lnTo>
                  <a:lnTo>
                    <a:pt x="810018" y="674675"/>
                  </a:lnTo>
                  <a:lnTo>
                    <a:pt x="779081" y="673086"/>
                  </a:lnTo>
                  <a:lnTo>
                    <a:pt x="753547" y="671893"/>
                  </a:lnTo>
                  <a:lnTo>
                    <a:pt x="744262" y="675988"/>
                  </a:lnTo>
                  <a:lnTo>
                    <a:pt x="719765" y="692665"/>
                  </a:lnTo>
                  <a:lnTo>
                    <a:pt x="716931" y="694459"/>
                  </a:lnTo>
                  <a:lnTo>
                    <a:pt x="707904" y="703722"/>
                  </a:lnTo>
                  <a:lnTo>
                    <a:pt x="692384" y="702865"/>
                  </a:lnTo>
                  <a:lnTo>
                    <a:pt x="675742" y="702039"/>
                  </a:lnTo>
                  <a:lnTo>
                    <a:pt x="666600" y="705509"/>
                  </a:lnTo>
                  <a:lnTo>
                    <a:pt x="667471" y="710486"/>
                  </a:lnTo>
                  <a:lnTo>
                    <a:pt x="666124" y="718065"/>
                  </a:lnTo>
                  <a:lnTo>
                    <a:pt x="664845" y="720539"/>
                  </a:lnTo>
                  <a:lnTo>
                    <a:pt x="637919" y="731532"/>
                  </a:lnTo>
                  <a:lnTo>
                    <a:pt x="618871" y="734412"/>
                  </a:lnTo>
                  <a:lnTo>
                    <a:pt x="593961" y="746440"/>
                  </a:lnTo>
                  <a:lnTo>
                    <a:pt x="589672" y="746195"/>
                  </a:lnTo>
                  <a:lnTo>
                    <a:pt x="585377" y="741972"/>
                  </a:lnTo>
                  <a:lnTo>
                    <a:pt x="584842" y="738339"/>
                  </a:lnTo>
                  <a:lnTo>
                    <a:pt x="586228" y="735789"/>
                  </a:lnTo>
                  <a:lnTo>
                    <a:pt x="593378" y="727381"/>
                  </a:lnTo>
                  <a:lnTo>
                    <a:pt x="606744" y="714303"/>
                  </a:lnTo>
                  <a:lnTo>
                    <a:pt x="617534" y="700050"/>
                  </a:lnTo>
                  <a:lnTo>
                    <a:pt x="622926" y="678493"/>
                  </a:lnTo>
                  <a:lnTo>
                    <a:pt x="628747" y="655997"/>
                  </a:lnTo>
                  <a:lnTo>
                    <a:pt x="616448" y="643410"/>
                  </a:lnTo>
                  <a:lnTo>
                    <a:pt x="620396" y="639178"/>
                  </a:lnTo>
                  <a:lnTo>
                    <a:pt x="619295" y="636028"/>
                  </a:lnTo>
                  <a:lnTo>
                    <a:pt x="614766" y="635742"/>
                  </a:lnTo>
                  <a:lnTo>
                    <a:pt x="613178" y="631645"/>
                  </a:lnTo>
                  <a:lnTo>
                    <a:pt x="614945" y="625787"/>
                  </a:lnTo>
                  <a:lnTo>
                    <a:pt x="610610" y="628118"/>
                  </a:lnTo>
                  <a:lnTo>
                    <a:pt x="606540" y="627079"/>
                  </a:lnTo>
                  <a:lnTo>
                    <a:pt x="608639" y="624715"/>
                  </a:lnTo>
                  <a:lnTo>
                    <a:pt x="605865" y="622053"/>
                  </a:lnTo>
                  <a:lnTo>
                    <a:pt x="607213" y="615506"/>
                  </a:lnTo>
                  <a:lnTo>
                    <a:pt x="598148" y="606831"/>
                  </a:lnTo>
                  <a:lnTo>
                    <a:pt x="588800" y="597793"/>
                  </a:lnTo>
                  <a:lnTo>
                    <a:pt x="577485" y="587248"/>
                  </a:lnTo>
                  <a:lnTo>
                    <a:pt x="566686" y="577316"/>
                  </a:lnTo>
                  <a:lnTo>
                    <a:pt x="548827" y="583231"/>
                  </a:lnTo>
                  <a:lnTo>
                    <a:pt x="543431" y="583097"/>
                  </a:lnTo>
                  <a:lnTo>
                    <a:pt x="526830" y="575310"/>
                  </a:lnTo>
                  <a:lnTo>
                    <a:pt x="512183" y="577546"/>
                  </a:lnTo>
                  <a:lnTo>
                    <a:pt x="500542" y="568803"/>
                  </a:lnTo>
                  <a:lnTo>
                    <a:pt x="486264" y="563676"/>
                  </a:lnTo>
                  <a:lnTo>
                    <a:pt x="475919" y="561322"/>
                  </a:lnTo>
                  <a:lnTo>
                    <a:pt x="473192" y="556796"/>
                  </a:lnTo>
                  <a:lnTo>
                    <a:pt x="477677" y="543143"/>
                  </a:lnTo>
                  <a:lnTo>
                    <a:pt x="472254" y="542842"/>
                  </a:lnTo>
                  <a:lnTo>
                    <a:pt x="467060" y="552240"/>
                  </a:lnTo>
                  <a:lnTo>
                    <a:pt x="434227" y="549630"/>
                  </a:lnTo>
                  <a:lnTo>
                    <a:pt x="380100" y="545213"/>
                  </a:lnTo>
                  <a:lnTo>
                    <a:pt x="326571" y="540626"/>
                  </a:lnTo>
                  <a:lnTo>
                    <a:pt x="279489" y="536409"/>
                  </a:lnTo>
                  <a:lnTo>
                    <a:pt x="232624" y="532048"/>
                  </a:lnTo>
                  <a:lnTo>
                    <a:pt x="186738" y="527611"/>
                  </a:lnTo>
                  <a:lnTo>
                    <a:pt x="139538" y="522867"/>
                  </a:lnTo>
                  <a:lnTo>
                    <a:pt x="124364" y="521303"/>
                  </a:lnTo>
                  <a:lnTo>
                    <a:pt x="78686" y="516473"/>
                  </a:lnTo>
                  <a:lnTo>
                    <a:pt x="35204" y="511703"/>
                  </a:lnTo>
                  <a:lnTo>
                    <a:pt x="33200" y="511412"/>
                  </a:lnTo>
                  <a:lnTo>
                    <a:pt x="21712" y="483922"/>
                  </a:lnTo>
                  <a:lnTo>
                    <a:pt x="19069" y="472077"/>
                  </a:lnTo>
                  <a:lnTo>
                    <a:pt x="0" y="458722"/>
                  </a:lnTo>
                  <a:lnTo>
                    <a:pt x="9074" y="436115"/>
                  </a:lnTo>
                  <a:lnTo>
                    <a:pt x="23339" y="421445"/>
                  </a:lnTo>
                  <a:lnTo>
                    <a:pt x="13385" y="408797"/>
                  </a:lnTo>
                  <a:lnTo>
                    <a:pt x="27418" y="388982"/>
                  </a:lnTo>
                  <a:lnTo>
                    <a:pt x="25464" y="369281"/>
                  </a:lnTo>
                  <a:lnTo>
                    <a:pt x="36147" y="356877"/>
                  </a:lnTo>
                  <a:lnTo>
                    <a:pt x="54265" y="346349"/>
                  </a:lnTo>
                  <a:lnTo>
                    <a:pt x="67523" y="331241"/>
                  </a:lnTo>
                  <a:lnTo>
                    <a:pt x="58199" y="313006"/>
                  </a:lnTo>
                  <a:lnTo>
                    <a:pt x="70201" y="284162"/>
                  </a:lnTo>
                  <a:lnTo>
                    <a:pt x="78494" y="266161"/>
                  </a:lnTo>
                  <a:lnTo>
                    <a:pt x="77041" y="253930"/>
                  </a:lnTo>
                  <a:lnTo>
                    <a:pt x="78005" y="243142"/>
                  </a:lnTo>
                  <a:lnTo>
                    <a:pt x="83621" y="230148"/>
                  </a:lnTo>
                  <a:lnTo>
                    <a:pt x="62778" y="235798"/>
                  </a:lnTo>
                  <a:lnTo>
                    <a:pt x="36563" y="246957"/>
                  </a:lnTo>
                  <a:lnTo>
                    <a:pt x="41225" y="230017"/>
                  </a:lnTo>
                  <a:lnTo>
                    <a:pt x="43217" y="218574"/>
                  </a:lnTo>
                  <a:lnTo>
                    <a:pt x="37851" y="210346"/>
                  </a:lnTo>
                  <a:lnTo>
                    <a:pt x="26187" y="207781"/>
                  </a:lnTo>
                  <a:lnTo>
                    <a:pt x="178138" y="79975"/>
                  </a:lnTo>
                  <a:lnTo>
                    <a:pt x="283887" y="0"/>
                  </a:lnTo>
                  <a:lnTo>
                    <a:pt x="297180" y="8014"/>
                  </a:lnTo>
                  <a:lnTo>
                    <a:pt x="300782" y="20748"/>
                  </a:lnTo>
                  <a:lnTo>
                    <a:pt x="309761" y="24343"/>
                  </a:lnTo>
                  <a:lnTo>
                    <a:pt x="331186" y="16705"/>
                  </a:lnTo>
                  <a:lnTo>
                    <a:pt x="353316" y="11805"/>
                  </a:lnTo>
                  <a:lnTo>
                    <a:pt x="366403" y="16638"/>
                  </a:lnTo>
                  <a:lnTo>
                    <a:pt x="395128" y="9336"/>
                  </a:lnTo>
                  <a:lnTo>
                    <a:pt x="420101" y="6283"/>
                  </a:lnTo>
                  <a:lnTo>
                    <a:pt x="416532" y="16237"/>
                  </a:lnTo>
                  <a:lnTo>
                    <a:pt x="431169" y="12216"/>
                  </a:lnTo>
                  <a:lnTo>
                    <a:pt x="446355" y="2315"/>
                  </a:lnTo>
                  <a:lnTo>
                    <a:pt x="451163" y="5577"/>
                  </a:lnTo>
                  <a:lnTo>
                    <a:pt x="446405" y="27475"/>
                  </a:lnTo>
                  <a:lnTo>
                    <a:pt x="479222" y="14465"/>
                  </a:lnTo>
                  <a:lnTo>
                    <a:pt x="461009" y="31289"/>
                  </a:lnTo>
                  <a:lnTo>
                    <a:pt x="479276" y="29364"/>
                  </a:lnTo>
                  <a:lnTo>
                    <a:pt x="491085" y="23454"/>
                  </a:lnTo>
                  <a:lnTo>
                    <a:pt x="503422" y="26348"/>
                  </a:lnTo>
                  <a:lnTo>
                    <a:pt x="510403" y="37672"/>
                  </a:lnTo>
                  <a:lnTo>
                    <a:pt x="528557" y="48931"/>
                  </a:lnTo>
                  <a:lnTo>
                    <a:pt x="540592" y="54535"/>
                  </a:lnTo>
                  <a:lnTo>
                    <a:pt x="553673" y="54368"/>
                  </a:lnTo>
                  <a:lnTo>
                    <a:pt x="557665" y="67511"/>
                  </a:lnTo>
                  <a:lnTo>
                    <a:pt x="529194" y="76849"/>
                  </a:lnTo>
                  <a:lnTo>
                    <a:pt x="545940" y="84086"/>
                  </a:lnTo>
                  <a:lnTo>
                    <a:pt x="581299" y="84912"/>
                  </a:lnTo>
                  <a:lnTo>
                    <a:pt x="595566" y="82022"/>
                  </a:lnTo>
                  <a:lnTo>
                    <a:pt x="595204" y="97019"/>
                  </a:lnTo>
                  <a:lnTo>
                    <a:pt x="619653" y="86848"/>
                  </a:lnTo>
                  <a:lnTo>
                    <a:pt x="616692" y="75933"/>
                  </a:lnTo>
                  <a:lnTo>
                    <a:pt x="632137" y="68961"/>
                  </a:lnTo>
                  <a:lnTo>
                    <a:pt x="647815" y="69392"/>
                  </a:lnTo>
                  <a:lnTo>
                    <a:pt x="659663" y="68079"/>
                  </a:lnTo>
                  <a:lnTo>
                    <a:pt x="664184" y="74473"/>
                  </a:lnTo>
                  <a:lnTo>
                    <a:pt x="664703" y="88070"/>
                  </a:lnTo>
                  <a:lnTo>
                    <a:pt x="680088" y="87570"/>
                  </a:lnTo>
                  <a:lnTo>
                    <a:pt x="692436" y="99986"/>
                  </a:lnTo>
                  <a:lnTo>
                    <a:pt x="714944" y="98132"/>
                  </a:lnTo>
                  <a:lnTo>
                    <a:pt x="732575" y="100344"/>
                  </a:lnTo>
                  <a:lnTo>
                    <a:pt x="743736" y="85891"/>
                  </a:lnTo>
                  <a:lnTo>
                    <a:pt x="758221" y="82860"/>
                  </a:lnTo>
                  <a:lnTo>
                    <a:pt x="770564" y="92368"/>
                  </a:lnTo>
                  <a:lnTo>
                    <a:pt x="751915" y="114223"/>
                  </a:lnTo>
                  <a:lnTo>
                    <a:pt x="775465" y="96486"/>
                  </a:lnTo>
                  <a:lnTo>
                    <a:pt x="784959" y="97977"/>
                  </a:lnTo>
                  <a:lnTo>
                    <a:pt x="810232" y="75263"/>
                  </a:lnTo>
                  <a:lnTo>
                    <a:pt x="809454" y="59968"/>
                  </a:lnTo>
                  <a:lnTo>
                    <a:pt x="803586" y="49495"/>
                  </a:lnTo>
                  <a:lnTo>
                    <a:pt x="827438" y="24367"/>
                  </a:lnTo>
                  <a:lnTo>
                    <a:pt x="856479" y="9039"/>
                  </a:lnTo>
                  <a:lnTo>
                    <a:pt x="868567" y="13967"/>
                  </a:lnTo>
                  <a:lnTo>
                    <a:pt x="871474" y="25017"/>
                  </a:lnTo>
                  <a:lnTo>
                    <a:pt x="865317" y="52192"/>
                  </a:lnTo>
                  <a:lnTo>
                    <a:pt x="844942" y="62612"/>
                  </a:lnTo>
                  <a:lnTo>
                    <a:pt x="863762" y="69138"/>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180" name="Polygon form 144"/>
            <p:cNvSpPr/>
            <p:nvPr/>
          </p:nvSpPr>
          <p:spPr>
            <a:xfrm>
              <a:off x="2832696" y="2230394"/>
              <a:ext cx="288821" cy="295279"/>
            </a:xfrm>
            <a:custGeom>
              <a:avLst/>
              <a:gdLst/>
              <a:ahLst/>
              <a:cxnLst/>
              <a:rect l="0" t="0" r="0" b="0"/>
              <a:pathLst>
                <a:path w="288821" h="295279">
                  <a:moveTo>
                    <a:pt x="81337" y="14156"/>
                  </a:moveTo>
                  <a:lnTo>
                    <a:pt x="78458" y="29109"/>
                  </a:lnTo>
                  <a:lnTo>
                    <a:pt x="104674" y="11405"/>
                  </a:lnTo>
                  <a:lnTo>
                    <a:pt x="141721" y="4036"/>
                  </a:lnTo>
                  <a:lnTo>
                    <a:pt x="142612" y="29209"/>
                  </a:lnTo>
                  <a:lnTo>
                    <a:pt x="129072" y="44213"/>
                  </a:lnTo>
                  <a:lnTo>
                    <a:pt x="157747" y="39093"/>
                  </a:lnTo>
                  <a:lnTo>
                    <a:pt x="175918" y="30631"/>
                  </a:lnTo>
                  <a:lnTo>
                    <a:pt x="193594" y="44075"/>
                  </a:lnTo>
                  <a:lnTo>
                    <a:pt x="202223" y="56219"/>
                  </a:lnTo>
                  <a:lnTo>
                    <a:pt x="196675" y="66496"/>
                  </a:lnTo>
                  <a:lnTo>
                    <a:pt x="222899" y="62622"/>
                  </a:lnTo>
                  <a:lnTo>
                    <a:pt x="225652" y="78304"/>
                  </a:lnTo>
                  <a:lnTo>
                    <a:pt x="249521" y="89357"/>
                  </a:lnTo>
                  <a:lnTo>
                    <a:pt x="254464" y="99472"/>
                  </a:lnTo>
                  <a:lnTo>
                    <a:pt x="253011" y="122221"/>
                  </a:lnTo>
                  <a:lnTo>
                    <a:pt x="222930" y="131840"/>
                  </a:lnTo>
                  <a:lnTo>
                    <a:pt x="244152" y="149046"/>
                  </a:lnTo>
                  <a:lnTo>
                    <a:pt x="261850" y="155419"/>
                  </a:lnTo>
                  <a:lnTo>
                    <a:pt x="268781" y="178270"/>
                  </a:lnTo>
                  <a:lnTo>
                    <a:pt x="288821" y="180975"/>
                  </a:lnTo>
                  <a:lnTo>
                    <a:pt x="275982" y="197447"/>
                  </a:lnTo>
                  <a:lnTo>
                    <a:pt x="237901" y="223809"/>
                  </a:lnTo>
                  <a:lnTo>
                    <a:pt x="226553" y="212700"/>
                  </a:lnTo>
                  <a:lnTo>
                    <a:pt x="217951" y="188631"/>
                  </a:lnTo>
                  <a:lnTo>
                    <a:pt x="199041" y="190594"/>
                  </a:lnTo>
                  <a:lnTo>
                    <a:pt x="189651" y="204092"/>
                  </a:lnTo>
                  <a:lnTo>
                    <a:pt x="196176" y="218744"/>
                  </a:lnTo>
                  <a:lnTo>
                    <a:pt x="208764" y="230761"/>
                  </a:lnTo>
                  <a:lnTo>
                    <a:pt x="211072" y="237411"/>
                  </a:lnTo>
                  <a:lnTo>
                    <a:pt x="207902" y="261529"/>
                  </a:lnTo>
                  <a:lnTo>
                    <a:pt x="194420" y="278428"/>
                  </a:lnTo>
                  <a:lnTo>
                    <a:pt x="180022" y="270952"/>
                  </a:lnTo>
                  <a:lnTo>
                    <a:pt x="155287" y="249812"/>
                  </a:lnTo>
                  <a:lnTo>
                    <a:pt x="163952" y="271525"/>
                  </a:lnTo>
                  <a:lnTo>
                    <a:pt x="171146" y="286798"/>
                  </a:lnTo>
                  <a:lnTo>
                    <a:pt x="169229" y="295279"/>
                  </a:lnTo>
                  <a:lnTo>
                    <a:pt x="135847" y="283499"/>
                  </a:lnTo>
                  <a:lnTo>
                    <a:pt x="113302" y="267816"/>
                  </a:lnTo>
                  <a:lnTo>
                    <a:pt x="103003" y="255158"/>
                  </a:lnTo>
                  <a:lnTo>
                    <a:pt x="111642" y="248747"/>
                  </a:lnTo>
                  <a:lnTo>
                    <a:pt x="98272" y="235222"/>
                  </a:lnTo>
                  <a:lnTo>
                    <a:pt x="85378" y="222417"/>
                  </a:lnTo>
                  <a:lnTo>
                    <a:pt x="81429" y="229309"/>
                  </a:lnTo>
                  <a:lnTo>
                    <a:pt x="39855" y="230444"/>
                  </a:lnTo>
                  <a:lnTo>
                    <a:pt x="33555" y="221517"/>
                  </a:lnTo>
                  <a:lnTo>
                    <a:pt x="53544" y="204715"/>
                  </a:lnTo>
                  <a:lnTo>
                    <a:pt x="78923" y="206007"/>
                  </a:lnTo>
                  <a:lnTo>
                    <a:pt x="108344" y="204806"/>
                  </a:lnTo>
                  <a:lnTo>
                    <a:pt x="109076" y="196064"/>
                  </a:lnTo>
                  <a:lnTo>
                    <a:pt x="121020" y="184569"/>
                  </a:lnTo>
                  <a:lnTo>
                    <a:pt x="152340" y="162655"/>
                  </a:lnTo>
                  <a:lnTo>
                    <a:pt x="155321" y="151992"/>
                  </a:lnTo>
                  <a:lnTo>
                    <a:pt x="155480" y="143602"/>
                  </a:lnTo>
                  <a:lnTo>
                    <a:pt x="143288" y="130917"/>
                  </a:lnTo>
                  <a:lnTo>
                    <a:pt x="122944" y="121227"/>
                  </a:lnTo>
                  <a:lnTo>
                    <a:pt x="135088" y="115839"/>
                  </a:lnTo>
                  <a:lnTo>
                    <a:pt x="131908" y="100398"/>
                  </a:lnTo>
                  <a:lnTo>
                    <a:pt x="121886" y="98325"/>
                  </a:lnTo>
                  <a:lnTo>
                    <a:pt x="117826" y="89715"/>
                  </a:lnTo>
                  <a:lnTo>
                    <a:pt x="106216" y="96137"/>
                  </a:lnTo>
                  <a:lnTo>
                    <a:pt x="81551" y="97553"/>
                  </a:lnTo>
                  <a:lnTo>
                    <a:pt x="40620" y="89080"/>
                  </a:lnTo>
                  <a:lnTo>
                    <a:pt x="20150" y="80327"/>
                  </a:lnTo>
                  <a:lnTo>
                    <a:pt x="3299" y="75320"/>
                  </a:lnTo>
                  <a:lnTo>
                    <a:pt x="0" y="66441"/>
                  </a:lnTo>
                  <a:lnTo>
                    <a:pt x="21328" y="56931"/>
                  </a:lnTo>
                  <a:lnTo>
                    <a:pt x="4468" y="55507"/>
                  </a:lnTo>
                  <a:lnTo>
                    <a:pt x="20743" y="32030"/>
                  </a:lnTo>
                  <a:lnTo>
                    <a:pt x="47604" y="12315"/>
                  </a:lnTo>
                  <a:lnTo>
                    <a:pt x="67622" y="3902"/>
                  </a:lnTo>
                  <a:lnTo>
                    <a:pt x="102446" y="0"/>
                  </a:lnTo>
                  <a:lnTo>
                    <a:pt x="81337" y="14156"/>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181" name="Polygon form 145"/>
            <p:cNvSpPr/>
            <p:nvPr/>
          </p:nvSpPr>
          <p:spPr>
            <a:xfrm>
              <a:off x="2949030" y="2024526"/>
              <a:ext cx="402364" cy="155695"/>
            </a:xfrm>
            <a:custGeom>
              <a:avLst/>
              <a:gdLst/>
              <a:ahLst/>
              <a:cxnLst/>
              <a:rect l="0" t="0" r="0" b="0"/>
              <a:pathLst>
                <a:path w="402364" h="155695">
                  <a:moveTo>
                    <a:pt x="347149" y="4579"/>
                  </a:moveTo>
                  <a:lnTo>
                    <a:pt x="371143" y="7278"/>
                  </a:lnTo>
                  <a:lnTo>
                    <a:pt x="389405" y="10923"/>
                  </a:lnTo>
                  <a:lnTo>
                    <a:pt x="402364" y="17757"/>
                  </a:lnTo>
                  <a:lnTo>
                    <a:pt x="397431" y="23877"/>
                  </a:lnTo>
                  <a:lnTo>
                    <a:pt x="366136" y="32961"/>
                  </a:lnTo>
                  <a:lnTo>
                    <a:pt x="338751" y="36665"/>
                  </a:lnTo>
                  <a:lnTo>
                    <a:pt x="325798" y="41415"/>
                  </a:lnTo>
                  <a:lnTo>
                    <a:pt x="347482" y="42173"/>
                  </a:lnTo>
                  <a:lnTo>
                    <a:pt x="313189" y="55080"/>
                  </a:lnTo>
                  <a:lnTo>
                    <a:pt x="291659" y="60828"/>
                  </a:lnTo>
                  <a:lnTo>
                    <a:pt x="259323" y="78665"/>
                  </a:lnTo>
                  <a:lnTo>
                    <a:pt x="235016" y="81404"/>
                  </a:lnTo>
                  <a:lnTo>
                    <a:pt x="224607" y="85716"/>
                  </a:lnTo>
                  <a:lnTo>
                    <a:pt x="191260" y="86514"/>
                  </a:lnTo>
                  <a:lnTo>
                    <a:pt x="203108" y="90116"/>
                  </a:lnTo>
                  <a:lnTo>
                    <a:pt x="192497" y="93790"/>
                  </a:lnTo>
                  <a:lnTo>
                    <a:pt x="191759" y="105475"/>
                  </a:lnTo>
                  <a:lnTo>
                    <a:pt x="175227" y="112731"/>
                  </a:lnTo>
                  <a:lnTo>
                    <a:pt x="153401" y="118243"/>
                  </a:lnTo>
                  <a:lnTo>
                    <a:pt x="140808" y="126850"/>
                  </a:lnTo>
                  <a:lnTo>
                    <a:pt x="120009" y="132753"/>
                  </a:lnTo>
                  <a:lnTo>
                    <a:pt x="117136" y="137992"/>
                  </a:lnTo>
                  <a:lnTo>
                    <a:pt x="136403" y="138224"/>
                  </a:lnTo>
                  <a:lnTo>
                    <a:pt x="132027" y="143809"/>
                  </a:lnTo>
                  <a:lnTo>
                    <a:pt x="91326" y="155695"/>
                  </a:lnTo>
                  <a:lnTo>
                    <a:pt x="68117" y="147589"/>
                  </a:lnTo>
                  <a:lnTo>
                    <a:pt x="32985" y="148977"/>
                  </a:lnTo>
                  <a:lnTo>
                    <a:pt x="19333" y="145146"/>
                  </a:lnTo>
                  <a:lnTo>
                    <a:pt x="0" y="142548"/>
                  </a:lnTo>
                  <a:lnTo>
                    <a:pt x="8946" y="131703"/>
                  </a:lnTo>
                  <a:lnTo>
                    <a:pt x="33513" y="127981"/>
                  </a:lnTo>
                  <a:lnTo>
                    <a:pt x="43759" y="111482"/>
                  </a:lnTo>
                  <a:lnTo>
                    <a:pt x="51670" y="110332"/>
                  </a:lnTo>
                  <a:lnTo>
                    <a:pt x="70781" y="121833"/>
                  </a:lnTo>
                  <a:lnTo>
                    <a:pt x="69874" y="106523"/>
                  </a:lnTo>
                  <a:lnTo>
                    <a:pt x="57090" y="101157"/>
                  </a:lnTo>
                  <a:lnTo>
                    <a:pt x="73867" y="93067"/>
                  </a:lnTo>
                  <a:lnTo>
                    <a:pt x="97260" y="88877"/>
                  </a:lnTo>
                  <a:lnTo>
                    <a:pt x="107623" y="81271"/>
                  </a:lnTo>
                  <a:lnTo>
                    <a:pt x="101742" y="71721"/>
                  </a:lnTo>
                  <a:lnTo>
                    <a:pt x="108834" y="60051"/>
                  </a:lnTo>
                  <a:lnTo>
                    <a:pt x="135230" y="62564"/>
                  </a:lnTo>
                  <a:lnTo>
                    <a:pt x="140839" y="65423"/>
                  </a:lnTo>
                  <a:lnTo>
                    <a:pt x="164214" y="58145"/>
                  </a:lnTo>
                  <a:lnTo>
                    <a:pt x="144237" y="54354"/>
                  </a:lnTo>
                  <a:lnTo>
                    <a:pt x="108109" y="53818"/>
                  </a:lnTo>
                  <a:lnTo>
                    <a:pt x="98391" y="45350"/>
                  </a:lnTo>
                  <a:lnTo>
                    <a:pt x="99619" y="36037"/>
                  </a:lnTo>
                  <a:lnTo>
                    <a:pt x="95226" y="29015"/>
                  </a:lnTo>
                  <a:lnTo>
                    <a:pt x="101242" y="21488"/>
                  </a:lnTo>
                  <a:lnTo>
                    <a:pt x="119938" y="18108"/>
                  </a:lnTo>
                  <a:lnTo>
                    <a:pt x="131817" y="17983"/>
                  </a:lnTo>
                  <a:lnTo>
                    <a:pt x="154241" y="15396"/>
                  </a:lnTo>
                  <a:lnTo>
                    <a:pt x="176690" y="7917"/>
                  </a:lnTo>
                  <a:lnTo>
                    <a:pt x="187228" y="9622"/>
                  </a:lnTo>
                  <a:lnTo>
                    <a:pt x="191255" y="16278"/>
                  </a:lnTo>
                  <a:lnTo>
                    <a:pt x="210398" y="4701"/>
                  </a:lnTo>
                  <a:lnTo>
                    <a:pt x="226338" y="1721"/>
                  </a:lnTo>
                  <a:lnTo>
                    <a:pt x="245580" y="0"/>
                  </a:lnTo>
                  <a:lnTo>
                    <a:pt x="275187" y="269"/>
                  </a:lnTo>
                  <a:lnTo>
                    <a:pt x="277963" y="2885"/>
                  </a:lnTo>
                  <a:lnTo>
                    <a:pt x="308624" y="172"/>
                  </a:lnTo>
                  <a:lnTo>
                    <a:pt x="327831" y="2380"/>
                  </a:lnTo>
                  <a:lnTo>
                    <a:pt x="347149" y="4579"/>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182" name="Polygon form 146"/>
            <p:cNvSpPr/>
            <p:nvPr/>
          </p:nvSpPr>
          <p:spPr>
            <a:xfrm>
              <a:off x="2481958" y="2212864"/>
              <a:ext cx="206351" cy="116478"/>
            </a:xfrm>
            <a:custGeom>
              <a:avLst/>
              <a:gdLst/>
              <a:ahLst/>
              <a:cxnLst/>
              <a:rect l="0" t="0" r="0" b="0"/>
              <a:pathLst>
                <a:path w="206351" h="116478">
                  <a:moveTo>
                    <a:pt x="119766" y="5352"/>
                  </a:moveTo>
                  <a:lnTo>
                    <a:pt x="102436" y="15035"/>
                  </a:lnTo>
                  <a:lnTo>
                    <a:pt x="134603" y="10907"/>
                  </a:lnTo>
                  <a:lnTo>
                    <a:pt x="137618" y="23566"/>
                  </a:lnTo>
                  <a:lnTo>
                    <a:pt x="162668" y="13542"/>
                  </a:lnTo>
                  <a:lnTo>
                    <a:pt x="164923" y="21774"/>
                  </a:lnTo>
                  <a:lnTo>
                    <a:pt x="150807" y="44499"/>
                  </a:lnTo>
                  <a:lnTo>
                    <a:pt x="166285" y="35820"/>
                  </a:lnTo>
                  <a:lnTo>
                    <a:pt x="182716" y="12344"/>
                  </a:lnTo>
                  <a:lnTo>
                    <a:pt x="196017" y="10037"/>
                  </a:lnTo>
                  <a:lnTo>
                    <a:pt x="203272" y="14619"/>
                  </a:lnTo>
                  <a:lnTo>
                    <a:pt x="206351" y="24756"/>
                  </a:lnTo>
                  <a:lnTo>
                    <a:pt x="191009" y="47190"/>
                  </a:lnTo>
                  <a:lnTo>
                    <a:pt x="178603" y="63376"/>
                  </a:lnTo>
                  <a:lnTo>
                    <a:pt x="187261" y="76404"/>
                  </a:lnTo>
                  <a:lnTo>
                    <a:pt x="198376" y="89127"/>
                  </a:lnTo>
                  <a:lnTo>
                    <a:pt x="187680" y="99021"/>
                  </a:lnTo>
                  <a:lnTo>
                    <a:pt x="166252" y="99011"/>
                  </a:lnTo>
                  <a:lnTo>
                    <a:pt x="165677" y="108491"/>
                  </a:lnTo>
                  <a:lnTo>
                    <a:pt x="153783" y="116478"/>
                  </a:lnTo>
                  <a:lnTo>
                    <a:pt x="135241" y="110796"/>
                  </a:lnTo>
                  <a:lnTo>
                    <a:pt x="120475" y="102642"/>
                  </a:lnTo>
                  <a:lnTo>
                    <a:pt x="105211" y="102640"/>
                  </a:lnTo>
                  <a:lnTo>
                    <a:pt x="75115" y="108050"/>
                  </a:lnTo>
                  <a:lnTo>
                    <a:pt x="41383" y="108287"/>
                  </a:lnTo>
                  <a:lnTo>
                    <a:pt x="17970" y="108153"/>
                  </a:lnTo>
                  <a:lnTo>
                    <a:pt x="22642" y="96846"/>
                  </a:lnTo>
                  <a:lnTo>
                    <a:pt x="13092" y="88993"/>
                  </a:lnTo>
                  <a:lnTo>
                    <a:pt x="0" y="90347"/>
                  </a:lnTo>
                  <a:lnTo>
                    <a:pt x="5044" y="71129"/>
                  </a:lnTo>
                  <a:lnTo>
                    <a:pt x="15334" y="69613"/>
                  </a:lnTo>
                  <a:lnTo>
                    <a:pt x="37298" y="67762"/>
                  </a:lnTo>
                  <a:lnTo>
                    <a:pt x="52487" y="70509"/>
                  </a:lnTo>
                  <a:lnTo>
                    <a:pt x="71763" y="68223"/>
                  </a:lnTo>
                  <a:lnTo>
                    <a:pt x="55118" y="60669"/>
                  </a:lnTo>
                  <a:lnTo>
                    <a:pt x="28696" y="59790"/>
                  </a:lnTo>
                  <a:lnTo>
                    <a:pt x="13022" y="57562"/>
                  </a:lnTo>
                  <a:lnTo>
                    <a:pt x="16317" y="48775"/>
                  </a:lnTo>
                  <a:lnTo>
                    <a:pt x="52558" y="42833"/>
                  </a:lnTo>
                  <a:lnTo>
                    <a:pt x="34833" y="41255"/>
                  </a:lnTo>
                  <a:lnTo>
                    <a:pt x="22007" y="33328"/>
                  </a:lnTo>
                  <a:lnTo>
                    <a:pt x="50633" y="18008"/>
                  </a:lnTo>
                  <a:lnTo>
                    <a:pt x="68579" y="10173"/>
                  </a:lnTo>
                  <a:lnTo>
                    <a:pt x="113500" y="0"/>
                  </a:lnTo>
                  <a:lnTo>
                    <a:pt x="119766" y="5352"/>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183" name="Polygon form 147"/>
            <p:cNvSpPr/>
            <p:nvPr/>
          </p:nvSpPr>
          <p:spPr>
            <a:xfrm>
              <a:off x="2967727" y="2781577"/>
              <a:ext cx="110403" cy="123152"/>
            </a:xfrm>
            <a:custGeom>
              <a:avLst/>
              <a:gdLst/>
              <a:ahLst/>
              <a:cxnLst/>
              <a:rect l="0" t="0" r="0" b="0"/>
              <a:pathLst>
                <a:path w="110403" h="123152">
                  <a:moveTo>
                    <a:pt x="75697" y="22711"/>
                  </a:moveTo>
                  <a:lnTo>
                    <a:pt x="58064" y="43456"/>
                  </a:lnTo>
                  <a:lnTo>
                    <a:pt x="71325" y="35717"/>
                  </a:lnTo>
                  <a:lnTo>
                    <a:pt x="80582" y="41370"/>
                  </a:lnTo>
                  <a:lnTo>
                    <a:pt x="72186" y="49586"/>
                  </a:lnTo>
                  <a:lnTo>
                    <a:pt x="84610" y="56832"/>
                  </a:lnTo>
                  <a:lnTo>
                    <a:pt x="93979" y="51231"/>
                  </a:lnTo>
                  <a:lnTo>
                    <a:pt x="108030" y="59342"/>
                  </a:lnTo>
                  <a:lnTo>
                    <a:pt x="97643" y="76902"/>
                  </a:lnTo>
                  <a:lnTo>
                    <a:pt x="110403" y="73206"/>
                  </a:lnTo>
                  <a:lnTo>
                    <a:pt x="108755" y="86159"/>
                  </a:lnTo>
                  <a:lnTo>
                    <a:pt x="109592" y="101438"/>
                  </a:lnTo>
                  <a:lnTo>
                    <a:pt x="96562" y="122535"/>
                  </a:lnTo>
                  <a:lnTo>
                    <a:pt x="88734" y="123152"/>
                  </a:lnTo>
                  <a:lnTo>
                    <a:pt x="79032" y="118146"/>
                  </a:lnTo>
                  <a:lnTo>
                    <a:pt x="88379" y="98422"/>
                  </a:lnTo>
                  <a:lnTo>
                    <a:pt x="84655" y="95157"/>
                  </a:lnTo>
                  <a:lnTo>
                    <a:pt x="59165" y="115454"/>
                  </a:lnTo>
                  <a:lnTo>
                    <a:pt x="49453" y="114213"/>
                  </a:lnTo>
                  <a:lnTo>
                    <a:pt x="64604" y="103272"/>
                  </a:lnTo>
                  <a:lnTo>
                    <a:pt x="50435" y="96728"/>
                  </a:lnTo>
                  <a:lnTo>
                    <a:pt x="32166" y="97443"/>
                  </a:lnTo>
                  <a:lnTo>
                    <a:pt x="225" y="95336"/>
                  </a:lnTo>
                  <a:lnTo>
                    <a:pt x="0" y="88030"/>
                  </a:lnTo>
                  <a:lnTo>
                    <a:pt x="13043" y="79924"/>
                  </a:lnTo>
                  <a:lnTo>
                    <a:pt x="8026" y="73014"/>
                  </a:lnTo>
                  <a:lnTo>
                    <a:pt x="26589" y="58992"/>
                  </a:lnTo>
                  <a:lnTo>
                    <a:pt x="56166" y="21098"/>
                  </a:lnTo>
                  <a:lnTo>
                    <a:pt x="70770" y="7744"/>
                  </a:lnTo>
                  <a:lnTo>
                    <a:pt x="87481" y="0"/>
                  </a:lnTo>
                  <a:lnTo>
                    <a:pt x="94567" y="1379"/>
                  </a:lnTo>
                  <a:lnTo>
                    <a:pt x="89303" y="7814"/>
                  </a:lnTo>
                  <a:lnTo>
                    <a:pt x="75697" y="22711"/>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184" name="Polygon form 148"/>
            <p:cNvSpPr/>
            <p:nvPr/>
          </p:nvSpPr>
          <p:spPr>
            <a:xfrm>
              <a:off x="2440241" y="2180804"/>
              <a:ext cx="155832" cy="75034"/>
            </a:xfrm>
            <a:custGeom>
              <a:avLst/>
              <a:gdLst/>
              <a:ahLst/>
              <a:cxnLst/>
              <a:rect l="0" t="0" r="0" b="0"/>
              <a:pathLst>
                <a:path w="155832" h="75034">
                  <a:moveTo>
                    <a:pt x="47417" y="67891"/>
                  </a:moveTo>
                  <a:lnTo>
                    <a:pt x="5498" y="75034"/>
                  </a:lnTo>
                  <a:lnTo>
                    <a:pt x="11180" y="64814"/>
                  </a:lnTo>
                  <a:lnTo>
                    <a:pt x="0" y="50413"/>
                  </a:lnTo>
                  <a:lnTo>
                    <a:pt x="16166" y="41865"/>
                  </a:lnTo>
                  <a:lnTo>
                    <a:pt x="43545" y="27100"/>
                  </a:lnTo>
                  <a:lnTo>
                    <a:pt x="70793" y="14130"/>
                  </a:lnTo>
                  <a:lnTo>
                    <a:pt x="77439" y="0"/>
                  </a:lnTo>
                  <a:lnTo>
                    <a:pt x="117185" y="540"/>
                  </a:lnTo>
                  <a:lnTo>
                    <a:pt x="126637" y="6564"/>
                  </a:lnTo>
                  <a:lnTo>
                    <a:pt x="152314" y="10586"/>
                  </a:lnTo>
                  <a:lnTo>
                    <a:pt x="155121" y="17901"/>
                  </a:lnTo>
                  <a:lnTo>
                    <a:pt x="155832" y="28209"/>
                  </a:lnTo>
                  <a:lnTo>
                    <a:pt x="135660" y="32271"/>
                  </a:lnTo>
                  <a:lnTo>
                    <a:pt x="90636" y="44671"/>
                  </a:lnTo>
                  <a:lnTo>
                    <a:pt x="58746" y="58378"/>
                  </a:lnTo>
                  <a:lnTo>
                    <a:pt x="47417" y="67891"/>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185" name="Polygon form 149"/>
            <p:cNvSpPr/>
            <p:nvPr/>
          </p:nvSpPr>
          <p:spPr>
            <a:xfrm>
              <a:off x="2873656" y="2146137"/>
              <a:ext cx="156266" cy="72726"/>
            </a:xfrm>
            <a:custGeom>
              <a:avLst/>
              <a:gdLst/>
              <a:ahLst/>
              <a:cxnLst/>
              <a:rect l="0" t="0" r="0" b="0"/>
              <a:pathLst>
                <a:path w="156266" h="72726">
                  <a:moveTo>
                    <a:pt x="33725" y="3011"/>
                  </a:moveTo>
                  <a:lnTo>
                    <a:pt x="38247" y="11010"/>
                  </a:lnTo>
                  <a:lnTo>
                    <a:pt x="59299" y="12477"/>
                  </a:lnTo>
                  <a:lnTo>
                    <a:pt x="61396" y="20491"/>
                  </a:lnTo>
                  <a:lnTo>
                    <a:pt x="50829" y="28730"/>
                  </a:lnTo>
                  <a:lnTo>
                    <a:pt x="58486" y="34712"/>
                  </a:lnTo>
                  <a:lnTo>
                    <a:pt x="60433" y="40562"/>
                  </a:lnTo>
                  <a:lnTo>
                    <a:pt x="74355" y="42611"/>
                  </a:lnTo>
                  <a:lnTo>
                    <a:pt x="88748" y="45636"/>
                  </a:lnTo>
                  <a:lnTo>
                    <a:pt x="110687" y="41926"/>
                  </a:lnTo>
                  <a:lnTo>
                    <a:pt x="134870" y="41493"/>
                  </a:lnTo>
                  <a:lnTo>
                    <a:pt x="151503" y="44268"/>
                  </a:lnTo>
                  <a:lnTo>
                    <a:pt x="156266" y="53654"/>
                  </a:lnTo>
                  <a:lnTo>
                    <a:pt x="151022" y="63292"/>
                  </a:lnTo>
                  <a:lnTo>
                    <a:pt x="138994" y="68927"/>
                  </a:lnTo>
                  <a:lnTo>
                    <a:pt x="118015" y="72726"/>
                  </a:lnTo>
                  <a:lnTo>
                    <a:pt x="105820" y="68962"/>
                  </a:lnTo>
                  <a:lnTo>
                    <a:pt x="70360" y="70214"/>
                  </a:lnTo>
                  <a:lnTo>
                    <a:pt x="46835" y="68947"/>
                  </a:lnTo>
                  <a:lnTo>
                    <a:pt x="31214" y="64816"/>
                  </a:lnTo>
                  <a:lnTo>
                    <a:pt x="8355" y="55313"/>
                  </a:lnTo>
                  <a:lnTo>
                    <a:pt x="16363" y="42689"/>
                  </a:lnTo>
                  <a:lnTo>
                    <a:pt x="25833" y="31483"/>
                  </a:lnTo>
                  <a:lnTo>
                    <a:pt x="24627" y="20929"/>
                  </a:lnTo>
                  <a:lnTo>
                    <a:pt x="5219" y="16547"/>
                  </a:lnTo>
                  <a:lnTo>
                    <a:pt x="0" y="8755"/>
                  </a:lnTo>
                  <a:lnTo>
                    <a:pt x="13473" y="0"/>
                  </a:lnTo>
                  <a:lnTo>
                    <a:pt x="33725" y="3011"/>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186" name="Polygon form 150"/>
            <p:cNvSpPr/>
            <p:nvPr/>
          </p:nvSpPr>
          <p:spPr>
            <a:xfrm>
              <a:off x="2952947" y="2059184"/>
              <a:ext cx="97695" cy="68041"/>
            </a:xfrm>
            <a:custGeom>
              <a:avLst/>
              <a:gdLst/>
              <a:ahLst/>
              <a:cxnLst/>
              <a:rect l="0" t="0" r="0" b="0"/>
              <a:pathLst>
                <a:path w="97695" h="68041">
                  <a:moveTo>
                    <a:pt x="90971" y="38447"/>
                  </a:moveTo>
                  <a:lnTo>
                    <a:pt x="96179" y="46364"/>
                  </a:lnTo>
                  <a:lnTo>
                    <a:pt x="75682" y="52136"/>
                  </a:lnTo>
                  <a:lnTo>
                    <a:pt x="40173" y="67660"/>
                  </a:lnTo>
                  <a:lnTo>
                    <a:pt x="20211" y="68041"/>
                  </a:lnTo>
                  <a:lnTo>
                    <a:pt x="1652" y="63758"/>
                  </a:lnTo>
                  <a:lnTo>
                    <a:pt x="0" y="54026"/>
                  </a:lnTo>
                  <a:lnTo>
                    <a:pt x="8595" y="46073"/>
                  </a:lnTo>
                  <a:lnTo>
                    <a:pt x="22787" y="40757"/>
                  </a:lnTo>
                  <a:lnTo>
                    <a:pt x="4196" y="39710"/>
                  </a:lnTo>
                  <a:lnTo>
                    <a:pt x="1093" y="31727"/>
                  </a:lnTo>
                  <a:lnTo>
                    <a:pt x="5765" y="21489"/>
                  </a:lnTo>
                  <a:lnTo>
                    <a:pt x="23393" y="12302"/>
                  </a:lnTo>
                  <a:lnTo>
                    <a:pt x="37567" y="6125"/>
                  </a:lnTo>
                  <a:lnTo>
                    <a:pt x="49215" y="5213"/>
                  </a:lnTo>
                  <a:lnTo>
                    <a:pt x="50536" y="0"/>
                  </a:lnTo>
                  <a:lnTo>
                    <a:pt x="74233" y="214"/>
                  </a:lnTo>
                  <a:lnTo>
                    <a:pt x="74089" y="12580"/>
                  </a:lnTo>
                  <a:lnTo>
                    <a:pt x="85717" y="18249"/>
                  </a:lnTo>
                  <a:lnTo>
                    <a:pt x="97695" y="23370"/>
                  </a:lnTo>
                  <a:lnTo>
                    <a:pt x="90971" y="38447"/>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187" name="Polygon form 151"/>
            <p:cNvSpPr/>
            <p:nvPr/>
          </p:nvSpPr>
          <p:spPr>
            <a:xfrm>
              <a:off x="2618478" y="2143298"/>
              <a:ext cx="143745" cy="48797"/>
            </a:xfrm>
            <a:custGeom>
              <a:avLst/>
              <a:gdLst/>
              <a:ahLst/>
              <a:cxnLst/>
              <a:rect l="0" t="0" r="0" b="0"/>
              <a:pathLst>
                <a:path w="143745" h="48797">
                  <a:moveTo>
                    <a:pt x="125004" y="14027"/>
                  </a:moveTo>
                  <a:lnTo>
                    <a:pt x="120171" y="22114"/>
                  </a:lnTo>
                  <a:lnTo>
                    <a:pt x="133751" y="19305"/>
                  </a:lnTo>
                  <a:lnTo>
                    <a:pt x="143745" y="21210"/>
                  </a:lnTo>
                  <a:lnTo>
                    <a:pt x="133579" y="32068"/>
                  </a:lnTo>
                  <a:lnTo>
                    <a:pt x="115463" y="41873"/>
                  </a:lnTo>
                  <a:lnTo>
                    <a:pt x="75220" y="41947"/>
                  </a:lnTo>
                  <a:lnTo>
                    <a:pt x="37196" y="48797"/>
                  </a:lnTo>
                  <a:lnTo>
                    <a:pt x="20283" y="47696"/>
                  </a:lnTo>
                  <a:lnTo>
                    <a:pt x="27321" y="40511"/>
                  </a:lnTo>
                  <a:lnTo>
                    <a:pt x="60785" y="33071"/>
                  </a:lnTo>
                  <a:lnTo>
                    <a:pt x="9915" y="31013"/>
                  </a:lnTo>
                  <a:lnTo>
                    <a:pt x="0" y="25728"/>
                  </a:lnTo>
                  <a:lnTo>
                    <a:pt x="40397" y="6330"/>
                  </a:lnTo>
                  <a:lnTo>
                    <a:pt x="57594" y="1305"/>
                  </a:lnTo>
                  <a:lnTo>
                    <a:pt x="77733" y="11211"/>
                  </a:lnTo>
                  <a:lnTo>
                    <a:pt x="81046" y="25676"/>
                  </a:lnTo>
                  <a:lnTo>
                    <a:pt x="97615" y="29015"/>
                  </a:lnTo>
                  <a:lnTo>
                    <a:pt x="106980" y="6993"/>
                  </a:lnTo>
                  <a:lnTo>
                    <a:pt x="125867" y="0"/>
                  </a:lnTo>
                  <a:lnTo>
                    <a:pt x="133587" y="3424"/>
                  </a:lnTo>
                  <a:lnTo>
                    <a:pt x="125004" y="14027"/>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188" name="Polygon form 152"/>
            <p:cNvSpPr/>
            <p:nvPr/>
          </p:nvSpPr>
          <p:spPr>
            <a:xfrm>
              <a:off x="2732950" y="2417236"/>
              <a:ext cx="99520" cy="63726"/>
            </a:xfrm>
            <a:custGeom>
              <a:avLst/>
              <a:gdLst/>
              <a:ahLst/>
              <a:cxnLst/>
              <a:rect l="0" t="0" r="0" b="0"/>
              <a:pathLst>
                <a:path w="99520" h="63726">
                  <a:moveTo>
                    <a:pt x="62596" y="2647"/>
                  </a:moveTo>
                  <a:lnTo>
                    <a:pt x="57725" y="13178"/>
                  </a:lnTo>
                  <a:lnTo>
                    <a:pt x="67044" y="10064"/>
                  </a:lnTo>
                  <a:lnTo>
                    <a:pt x="70446" y="16821"/>
                  </a:lnTo>
                  <a:lnTo>
                    <a:pt x="79500" y="26001"/>
                  </a:lnTo>
                  <a:lnTo>
                    <a:pt x="89930" y="34491"/>
                  </a:lnTo>
                  <a:lnTo>
                    <a:pt x="83714" y="45826"/>
                  </a:lnTo>
                  <a:lnTo>
                    <a:pt x="94886" y="44706"/>
                  </a:lnTo>
                  <a:lnTo>
                    <a:pt x="99520" y="53254"/>
                  </a:lnTo>
                  <a:lnTo>
                    <a:pt x="82633" y="59845"/>
                  </a:lnTo>
                  <a:lnTo>
                    <a:pt x="65135" y="52597"/>
                  </a:lnTo>
                  <a:lnTo>
                    <a:pt x="64606" y="41383"/>
                  </a:lnTo>
                  <a:lnTo>
                    <a:pt x="42749" y="52960"/>
                  </a:lnTo>
                  <a:lnTo>
                    <a:pt x="15143" y="63726"/>
                  </a:lnTo>
                  <a:lnTo>
                    <a:pt x="19897" y="49531"/>
                  </a:lnTo>
                  <a:lnTo>
                    <a:pt x="0" y="50365"/>
                  </a:lnTo>
                  <a:lnTo>
                    <a:pt x="19856" y="39608"/>
                  </a:lnTo>
                  <a:lnTo>
                    <a:pt x="34600" y="21188"/>
                  </a:lnTo>
                  <a:lnTo>
                    <a:pt x="54478" y="0"/>
                  </a:lnTo>
                  <a:lnTo>
                    <a:pt x="62596" y="2647"/>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189" name="Polygon form 153"/>
            <p:cNvSpPr/>
            <p:nvPr/>
          </p:nvSpPr>
          <p:spPr>
            <a:xfrm>
              <a:off x="2717442" y="2216574"/>
              <a:ext cx="85823" cy="59843"/>
            </a:xfrm>
            <a:custGeom>
              <a:avLst/>
              <a:gdLst/>
              <a:ahLst/>
              <a:cxnLst/>
              <a:rect l="0" t="0" r="0" b="0"/>
              <a:pathLst>
                <a:path w="85823" h="59843">
                  <a:moveTo>
                    <a:pt x="54410" y="0"/>
                  </a:moveTo>
                  <a:lnTo>
                    <a:pt x="62994" y="5843"/>
                  </a:lnTo>
                  <a:lnTo>
                    <a:pt x="85823" y="4687"/>
                  </a:lnTo>
                  <a:lnTo>
                    <a:pt x="82376" y="11444"/>
                  </a:lnTo>
                  <a:lnTo>
                    <a:pt x="61292" y="21338"/>
                  </a:lnTo>
                  <a:lnTo>
                    <a:pt x="69267" y="32511"/>
                  </a:lnTo>
                  <a:lnTo>
                    <a:pt x="48016" y="52719"/>
                  </a:lnTo>
                  <a:lnTo>
                    <a:pt x="20599" y="59843"/>
                  </a:lnTo>
                  <a:lnTo>
                    <a:pt x="11116" y="56955"/>
                  </a:lnTo>
                  <a:lnTo>
                    <a:pt x="11357" y="47606"/>
                  </a:lnTo>
                  <a:lnTo>
                    <a:pt x="0" y="27693"/>
                  </a:lnTo>
                  <a:lnTo>
                    <a:pt x="7499" y="20552"/>
                  </a:lnTo>
                  <a:lnTo>
                    <a:pt x="27864" y="25391"/>
                  </a:lnTo>
                  <a:lnTo>
                    <a:pt x="30165" y="9651"/>
                  </a:lnTo>
                  <a:lnTo>
                    <a:pt x="54410" y="0"/>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190" name="Polygon form 154"/>
            <p:cNvSpPr/>
            <p:nvPr/>
          </p:nvSpPr>
          <p:spPr>
            <a:xfrm>
              <a:off x="2789199" y="2215458"/>
              <a:ext cx="93655" cy="47954"/>
            </a:xfrm>
            <a:custGeom>
              <a:avLst/>
              <a:gdLst/>
              <a:ahLst/>
              <a:cxnLst/>
              <a:rect l="0" t="0" r="0" b="0"/>
              <a:pathLst>
                <a:path w="93655" h="47954">
                  <a:moveTo>
                    <a:pt x="40470" y="31989"/>
                  </a:moveTo>
                  <a:lnTo>
                    <a:pt x="12501" y="47954"/>
                  </a:lnTo>
                  <a:lnTo>
                    <a:pt x="0" y="46005"/>
                  </a:lnTo>
                  <a:lnTo>
                    <a:pt x="11472" y="25520"/>
                  </a:lnTo>
                  <a:lnTo>
                    <a:pt x="22367" y="14323"/>
                  </a:lnTo>
                  <a:lnTo>
                    <a:pt x="37473" y="5237"/>
                  </a:lnTo>
                  <a:lnTo>
                    <a:pt x="54504" y="0"/>
                  </a:lnTo>
                  <a:lnTo>
                    <a:pt x="77155" y="2624"/>
                  </a:lnTo>
                  <a:lnTo>
                    <a:pt x="93655" y="9787"/>
                  </a:lnTo>
                  <a:lnTo>
                    <a:pt x="58221" y="28672"/>
                  </a:lnTo>
                  <a:lnTo>
                    <a:pt x="40470" y="31989"/>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191" name="Polygon form 155"/>
            <p:cNvSpPr/>
            <p:nvPr/>
          </p:nvSpPr>
          <p:spPr>
            <a:xfrm>
              <a:off x="1906766" y="2714353"/>
              <a:ext cx="45142" cy="66686"/>
            </a:xfrm>
            <a:custGeom>
              <a:avLst/>
              <a:gdLst/>
              <a:ahLst/>
              <a:cxnLst/>
              <a:rect l="0" t="0" r="0" b="0"/>
              <a:pathLst>
                <a:path w="45142" h="66686">
                  <a:moveTo>
                    <a:pt x="41569" y="64115"/>
                  </a:moveTo>
                  <a:lnTo>
                    <a:pt x="31383" y="66686"/>
                  </a:lnTo>
                  <a:lnTo>
                    <a:pt x="14454" y="52619"/>
                  </a:lnTo>
                  <a:lnTo>
                    <a:pt x="16400" y="43343"/>
                  </a:lnTo>
                  <a:lnTo>
                    <a:pt x="9368" y="33142"/>
                  </a:lnTo>
                  <a:lnTo>
                    <a:pt x="12011" y="25817"/>
                  </a:lnTo>
                  <a:lnTo>
                    <a:pt x="0" y="19549"/>
                  </a:lnTo>
                  <a:lnTo>
                    <a:pt x="4725" y="5510"/>
                  </a:lnTo>
                  <a:lnTo>
                    <a:pt x="10495" y="0"/>
                  </a:lnTo>
                  <a:lnTo>
                    <a:pt x="21867" y="7230"/>
                  </a:lnTo>
                  <a:lnTo>
                    <a:pt x="28114" y="12041"/>
                  </a:lnTo>
                  <a:lnTo>
                    <a:pt x="40161" y="16302"/>
                  </a:lnTo>
                  <a:lnTo>
                    <a:pt x="38807" y="25362"/>
                  </a:lnTo>
                  <a:lnTo>
                    <a:pt x="37490" y="37891"/>
                  </a:lnTo>
                  <a:lnTo>
                    <a:pt x="45142" y="49784"/>
                  </a:lnTo>
                  <a:lnTo>
                    <a:pt x="41569" y="64115"/>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192" name="Polygon form 156"/>
            <p:cNvSpPr/>
            <p:nvPr/>
          </p:nvSpPr>
          <p:spPr>
            <a:xfrm>
              <a:off x="2788400" y="2154456"/>
              <a:ext cx="69947" cy="39178"/>
            </a:xfrm>
            <a:custGeom>
              <a:avLst/>
              <a:gdLst/>
              <a:ahLst/>
              <a:cxnLst/>
              <a:rect l="0" t="0" r="0" b="0"/>
              <a:pathLst>
                <a:path w="69947" h="39178">
                  <a:moveTo>
                    <a:pt x="69947" y="0"/>
                  </a:moveTo>
                  <a:lnTo>
                    <a:pt x="67300" y="10863"/>
                  </a:lnTo>
                  <a:lnTo>
                    <a:pt x="55848" y="22257"/>
                  </a:lnTo>
                  <a:lnTo>
                    <a:pt x="33961" y="38381"/>
                  </a:lnTo>
                  <a:lnTo>
                    <a:pt x="13582" y="39178"/>
                  </a:lnTo>
                  <a:lnTo>
                    <a:pt x="5561" y="34653"/>
                  </a:lnTo>
                  <a:lnTo>
                    <a:pt x="19434" y="21777"/>
                  </a:lnTo>
                  <a:lnTo>
                    <a:pt x="0" y="22005"/>
                  </a:lnTo>
                  <a:lnTo>
                    <a:pt x="17853" y="4986"/>
                  </a:lnTo>
                  <a:lnTo>
                    <a:pt x="28492" y="6603"/>
                  </a:lnTo>
                  <a:lnTo>
                    <a:pt x="52540" y="393"/>
                  </a:lnTo>
                  <a:lnTo>
                    <a:pt x="66058" y="2832"/>
                  </a:lnTo>
                  <a:lnTo>
                    <a:pt x="69947" y="0"/>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193" name="Polygon form 157"/>
            <p:cNvSpPr/>
            <p:nvPr/>
          </p:nvSpPr>
          <p:spPr>
            <a:xfrm>
              <a:off x="2590016" y="2119237"/>
              <a:ext cx="109655" cy="31482"/>
            </a:xfrm>
            <a:custGeom>
              <a:avLst/>
              <a:gdLst/>
              <a:ahLst/>
              <a:cxnLst/>
              <a:rect l="0" t="0" r="0" b="0"/>
              <a:pathLst>
                <a:path w="109655" h="31482">
                  <a:moveTo>
                    <a:pt x="109655" y="0"/>
                  </a:moveTo>
                  <a:lnTo>
                    <a:pt x="87294" y="16047"/>
                  </a:lnTo>
                  <a:lnTo>
                    <a:pt x="70016" y="22635"/>
                  </a:lnTo>
                  <a:lnTo>
                    <a:pt x="59143" y="22753"/>
                  </a:lnTo>
                  <a:lnTo>
                    <a:pt x="28388" y="29911"/>
                  </a:lnTo>
                  <a:lnTo>
                    <a:pt x="7758" y="31482"/>
                  </a:lnTo>
                  <a:lnTo>
                    <a:pt x="0" y="25537"/>
                  </a:lnTo>
                  <a:lnTo>
                    <a:pt x="0" y="25537"/>
                  </a:lnTo>
                  <a:lnTo>
                    <a:pt x="38197" y="11649"/>
                  </a:lnTo>
                  <a:lnTo>
                    <a:pt x="76925" y="116"/>
                  </a:lnTo>
                  <a:lnTo>
                    <a:pt x="91871" y="1828"/>
                  </a:lnTo>
                  <a:lnTo>
                    <a:pt x="109655" y="0"/>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194" name="Polygon form 158"/>
            <p:cNvSpPr/>
            <p:nvPr/>
          </p:nvSpPr>
          <p:spPr>
            <a:xfrm>
              <a:off x="2829968" y="2093005"/>
              <a:ext cx="54425" cy="34483"/>
            </a:xfrm>
            <a:custGeom>
              <a:avLst/>
              <a:gdLst/>
              <a:ahLst/>
              <a:cxnLst/>
              <a:rect l="0" t="0" r="0" b="0"/>
              <a:pathLst>
                <a:path w="54425" h="34483">
                  <a:moveTo>
                    <a:pt x="50509" y="25099"/>
                  </a:moveTo>
                  <a:lnTo>
                    <a:pt x="44384" y="34483"/>
                  </a:lnTo>
                  <a:lnTo>
                    <a:pt x="30329" y="30789"/>
                  </a:lnTo>
                  <a:lnTo>
                    <a:pt x="21583" y="22487"/>
                  </a:lnTo>
                  <a:lnTo>
                    <a:pt x="0" y="19948"/>
                  </a:lnTo>
                  <a:lnTo>
                    <a:pt x="17276" y="14319"/>
                  </a:lnTo>
                  <a:lnTo>
                    <a:pt x="11331" y="8234"/>
                  </a:lnTo>
                  <a:lnTo>
                    <a:pt x="20502" y="0"/>
                  </a:lnTo>
                  <a:lnTo>
                    <a:pt x="36484" y="4361"/>
                  </a:lnTo>
                  <a:lnTo>
                    <a:pt x="54425" y="14211"/>
                  </a:lnTo>
                  <a:lnTo>
                    <a:pt x="50509" y="25099"/>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195" name="Polygon form 159"/>
            <p:cNvSpPr/>
            <p:nvPr/>
          </p:nvSpPr>
          <p:spPr>
            <a:xfrm>
              <a:off x="2983312" y="2235759"/>
              <a:ext cx="48932" cy="24691"/>
            </a:xfrm>
            <a:custGeom>
              <a:avLst/>
              <a:gdLst/>
              <a:ahLst/>
              <a:cxnLst/>
              <a:rect l="0" t="0" r="0" b="0"/>
              <a:pathLst>
                <a:path w="48932" h="24691">
                  <a:moveTo>
                    <a:pt x="48932" y="18220"/>
                  </a:moveTo>
                  <a:lnTo>
                    <a:pt x="45216" y="24691"/>
                  </a:lnTo>
                  <a:lnTo>
                    <a:pt x="33171" y="23206"/>
                  </a:lnTo>
                  <a:lnTo>
                    <a:pt x="20849" y="21887"/>
                  </a:lnTo>
                  <a:lnTo>
                    <a:pt x="5572" y="24138"/>
                  </a:lnTo>
                  <a:lnTo>
                    <a:pt x="3249" y="22507"/>
                  </a:lnTo>
                  <a:lnTo>
                    <a:pt x="0" y="9409"/>
                  </a:lnTo>
                  <a:lnTo>
                    <a:pt x="7116" y="1158"/>
                  </a:lnTo>
                  <a:lnTo>
                    <a:pt x="13894" y="0"/>
                  </a:lnTo>
                  <a:lnTo>
                    <a:pt x="38434" y="4225"/>
                  </a:lnTo>
                  <a:lnTo>
                    <a:pt x="48932" y="18220"/>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196" name="Polygon form 160"/>
            <p:cNvSpPr/>
            <p:nvPr/>
          </p:nvSpPr>
          <p:spPr>
            <a:xfrm>
              <a:off x="2681303" y="2302256"/>
              <a:ext cx="44956" cy="33854"/>
            </a:xfrm>
            <a:custGeom>
              <a:avLst/>
              <a:gdLst/>
              <a:ahLst/>
              <a:cxnLst/>
              <a:rect l="0" t="0" r="0" b="0"/>
              <a:pathLst>
                <a:path w="44956" h="33854">
                  <a:moveTo>
                    <a:pt x="44457" y="26455"/>
                  </a:moveTo>
                  <a:lnTo>
                    <a:pt x="29815" y="33854"/>
                  </a:lnTo>
                  <a:lnTo>
                    <a:pt x="19432" y="25434"/>
                  </a:lnTo>
                  <a:lnTo>
                    <a:pt x="7259" y="27052"/>
                  </a:lnTo>
                  <a:lnTo>
                    <a:pt x="0" y="15266"/>
                  </a:lnTo>
                  <a:lnTo>
                    <a:pt x="17100" y="9145"/>
                  </a:lnTo>
                  <a:lnTo>
                    <a:pt x="34551" y="0"/>
                  </a:lnTo>
                  <a:lnTo>
                    <a:pt x="41403" y="7601"/>
                  </a:lnTo>
                  <a:lnTo>
                    <a:pt x="44956" y="12356"/>
                  </a:lnTo>
                  <a:lnTo>
                    <a:pt x="44727" y="17028"/>
                  </a:lnTo>
                  <a:lnTo>
                    <a:pt x="44457" y="26455"/>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197" name="Polygon form 161"/>
            <p:cNvSpPr/>
            <p:nvPr/>
          </p:nvSpPr>
          <p:spPr>
            <a:xfrm>
              <a:off x="2925741" y="2366707"/>
              <a:ext cx="38339" cy="27005"/>
            </a:xfrm>
            <a:custGeom>
              <a:avLst/>
              <a:gdLst/>
              <a:ahLst/>
              <a:cxnLst/>
              <a:rect l="0" t="0" r="0" b="0"/>
              <a:pathLst>
                <a:path w="38339" h="27005">
                  <a:moveTo>
                    <a:pt x="15362" y="26809"/>
                  </a:moveTo>
                  <a:lnTo>
                    <a:pt x="0" y="27005"/>
                  </a:lnTo>
                  <a:lnTo>
                    <a:pt x="4423" y="15271"/>
                  </a:lnTo>
                  <a:lnTo>
                    <a:pt x="18729" y="2470"/>
                  </a:lnTo>
                  <a:lnTo>
                    <a:pt x="32637" y="0"/>
                  </a:lnTo>
                  <a:lnTo>
                    <a:pt x="38339" y="7172"/>
                  </a:lnTo>
                  <a:lnTo>
                    <a:pt x="31898" y="17263"/>
                  </a:lnTo>
                  <a:lnTo>
                    <a:pt x="28331" y="20411"/>
                  </a:lnTo>
                  <a:lnTo>
                    <a:pt x="15362" y="26809"/>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198" name="Polygon form 162"/>
            <p:cNvSpPr/>
            <p:nvPr/>
          </p:nvSpPr>
          <p:spPr>
            <a:xfrm>
              <a:off x="1898400" y="2622967"/>
              <a:ext cx="38179" cy="51830"/>
            </a:xfrm>
            <a:custGeom>
              <a:avLst/>
              <a:gdLst/>
              <a:ahLst/>
              <a:cxnLst/>
              <a:rect l="0" t="0" r="0" b="0"/>
              <a:pathLst>
                <a:path w="38179" h="51830">
                  <a:moveTo>
                    <a:pt x="19139" y="0"/>
                  </a:moveTo>
                  <a:lnTo>
                    <a:pt x="22941" y="4011"/>
                  </a:lnTo>
                  <a:lnTo>
                    <a:pt x="38179" y="3885"/>
                  </a:lnTo>
                  <a:lnTo>
                    <a:pt x="9888" y="30708"/>
                  </a:lnTo>
                  <a:lnTo>
                    <a:pt x="5727" y="51830"/>
                  </a:lnTo>
                  <a:lnTo>
                    <a:pt x="0" y="51039"/>
                  </a:lnTo>
                  <a:lnTo>
                    <a:pt x="796" y="38812"/>
                  </a:lnTo>
                  <a:lnTo>
                    <a:pt x="5172" y="26976"/>
                  </a:lnTo>
                  <a:lnTo>
                    <a:pt x="4607" y="18501"/>
                  </a:lnTo>
                  <a:lnTo>
                    <a:pt x="11413" y="7556"/>
                  </a:lnTo>
                  <a:lnTo>
                    <a:pt x="19139" y="0"/>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199" name="Polygon form 163"/>
            <p:cNvSpPr/>
            <p:nvPr/>
          </p:nvSpPr>
          <p:spPr>
            <a:xfrm>
              <a:off x="2835416" y="2181267"/>
              <a:ext cx="39373" cy="24211"/>
            </a:xfrm>
            <a:custGeom>
              <a:avLst/>
              <a:gdLst/>
              <a:ahLst/>
              <a:cxnLst/>
              <a:rect l="0" t="0" r="0" b="0"/>
              <a:pathLst>
                <a:path w="39373" h="24211">
                  <a:moveTo>
                    <a:pt x="36488" y="15976"/>
                  </a:moveTo>
                  <a:lnTo>
                    <a:pt x="22053" y="24211"/>
                  </a:lnTo>
                  <a:lnTo>
                    <a:pt x="7580" y="21268"/>
                  </a:lnTo>
                  <a:lnTo>
                    <a:pt x="0" y="14369"/>
                  </a:lnTo>
                  <a:lnTo>
                    <a:pt x="15912" y="4790"/>
                  </a:lnTo>
                  <a:lnTo>
                    <a:pt x="37578" y="0"/>
                  </a:lnTo>
                  <a:lnTo>
                    <a:pt x="39373" y="8573"/>
                  </a:lnTo>
                  <a:lnTo>
                    <a:pt x="36488" y="15976"/>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00" name="Polygon form 164"/>
            <p:cNvSpPr/>
            <p:nvPr/>
          </p:nvSpPr>
          <p:spPr>
            <a:xfrm>
              <a:off x="2894469" y="2107263"/>
              <a:ext cx="34270" cy="23280"/>
            </a:xfrm>
            <a:custGeom>
              <a:avLst/>
              <a:gdLst/>
              <a:ahLst/>
              <a:cxnLst/>
              <a:rect l="0" t="0" r="0" b="0"/>
              <a:pathLst>
                <a:path w="34270" h="23280">
                  <a:moveTo>
                    <a:pt x="23031" y="19857"/>
                  </a:moveTo>
                  <a:lnTo>
                    <a:pt x="2893" y="23280"/>
                  </a:lnTo>
                  <a:lnTo>
                    <a:pt x="0" y="17577"/>
                  </a:lnTo>
                  <a:lnTo>
                    <a:pt x="4606" y="9065"/>
                  </a:lnTo>
                  <a:lnTo>
                    <a:pt x="13808" y="0"/>
                  </a:lnTo>
                  <a:lnTo>
                    <a:pt x="25946" y="1796"/>
                  </a:lnTo>
                  <a:lnTo>
                    <a:pt x="30279" y="3655"/>
                  </a:lnTo>
                  <a:lnTo>
                    <a:pt x="34270" y="12118"/>
                  </a:lnTo>
                  <a:lnTo>
                    <a:pt x="23031" y="19857"/>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01" name="Polygon form 165"/>
            <p:cNvSpPr/>
            <p:nvPr/>
          </p:nvSpPr>
          <p:spPr>
            <a:xfrm>
              <a:off x="2728773" y="2112840"/>
              <a:ext cx="44076" cy="15100"/>
            </a:xfrm>
            <a:custGeom>
              <a:avLst/>
              <a:gdLst/>
              <a:ahLst/>
              <a:cxnLst/>
              <a:rect l="0" t="0" r="0" b="0"/>
              <a:pathLst>
                <a:path w="44076" h="15100">
                  <a:moveTo>
                    <a:pt x="32854" y="10603"/>
                  </a:moveTo>
                  <a:lnTo>
                    <a:pt x="6354" y="15100"/>
                  </a:lnTo>
                  <a:lnTo>
                    <a:pt x="0" y="6944"/>
                  </a:lnTo>
                  <a:lnTo>
                    <a:pt x="16705" y="914"/>
                  </a:lnTo>
                  <a:lnTo>
                    <a:pt x="34054" y="0"/>
                  </a:lnTo>
                  <a:lnTo>
                    <a:pt x="44076" y="4511"/>
                  </a:lnTo>
                  <a:lnTo>
                    <a:pt x="32854" y="10603"/>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02" name="Polygon form 166"/>
            <p:cNvSpPr/>
            <p:nvPr/>
          </p:nvSpPr>
          <p:spPr>
            <a:xfrm>
              <a:off x="2900889" y="2816028"/>
              <a:ext cx="38510" cy="22592"/>
            </a:xfrm>
            <a:custGeom>
              <a:avLst/>
              <a:gdLst/>
              <a:ahLst/>
              <a:cxnLst/>
              <a:rect l="0" t="0" r="0" b="0"/>
              <a:pathLst>
                <a:path w="38510" h="22592">
                  <a:moveTo>
                    <a:pt x="37438" y="22528"/>
                  </a:moveTo>
                  <a:lnTo>
                    <a:pt x="29335" y="22592"/>
                  </a:lnTo>
                  <a:lnTo>
                    <a:pt x="10909" y="13974"/>
                  </a:lnTo>
                  <a:lnTo>
                    <a:pt x="0" y="1768"/>
                  </a:lnTo>
                  <a:lnTo>
                    <a:pt x="6354" y="0"/>
                  </a:lnTo>
                  <a:lnTo>
                    <a:pt x="25457" y="7120"/>
                  </a:lnTo>
                  <a:lnTo>
                    <a:pt x="38510" y="18050"/>
                  </a:lnTo>
                  <a:lnTo>
                    <a:pt x="37438" y="22528"/>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03" name="Polygon form 167"/>
            <p:cNvSpPr/>
            <p:nvPr/>
          </p:nvSpPr>
          <p:spPr>
            <a:xfrm>
              <a:off x="2875793" y="2887170"/>
              <a:ext cx="37372" cy="26873"/>
            </a:xfrm>
            <a:custGeom>
              <a:avLst/>
              <a:gdLst/>
              <a:ahLst/>
              <a:cxnLst/>
              <a:rect l="0" t="0" r="0" b="0"/>
              <a:pathLst>
                <a:path w="37372" h="26873">
                  <a:moveTo>
                    <a:pt x="10664" y="12103"/>
                  </a:moveTo>
                  <a:lnTo>
                    <a:pt x="21673" y="15922"/>
                  </a:lnTo>
                  <a:lnTo>
                    <a:pt x="37372" y="15955"/>
                  </a:lnTo>
                  <a:lnTo>
                    <a:pt x="25903" y="25563"/>
                  </a:lnTo>
                  <a:lnTo>
                    <a:pt x="19181" y="26873"/>
                  </a:lnTo>
                  <a:lnTo>
                    <a:pt x="1399" y="15567"/>
                  </a:lnTo>
                  <a:lnTo>
                    <a:pt x="0" y="7219"/>
                  </a:lnTo>
                  <a:lnTo>
                    <a:pt x="8841" y="0"/>
                  </a:lnTo>
                  <a:lnTo>
                    <a:pt x="10664" y="12103"/>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04" name="Polygon form 168"/>
            <p:cNvSpPr/>
            <p:nvPr/>
          </p:nvSpPr>
          <p:spPr>
            <a:xfrm>
              <a:off x="2758490" y="2486597"/>
              <a:ext cx="37235" cy="18104"/>
            </a:xfrm>
            <a:custGeom>
              <a:avLst/>
              <a:gdLst/>
              <a:ahLst/>
              <a:cxnLst/>
              <a:rect l="0" t="0" r="0" b="0"/>
              <a:pathLst>
                <a:path w="37235" h="18104">
                  <a:moveTo>
                    <a:pt x="33995" y="6197"/>
                  </a:moveTo>
                  <a:lnTo>
                    <a:pt x="9428" y="18104"/>
                  </a:lnTo>
                  <a:lnTo>
                    <a:pt x="0" y="16826"/>
                  </a:lnTo>
                  <a:lnTo>
                    <a:pt x="1150" y="10177"/>
                  </a:lnTo>
                  <a:lnTo>
                    <a:pt x="18523" y="0"/>
                  </a:lnTo>
                  <a:lnTo>
                    <a:pt x="37235" y="1619"/>
                  </a:lnTo>
                  <a:lnTo>
                    <a:pt x="33995" y="6197"/>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05" name="Polygon form 169"/>
            <p:cNvSpPr/>
            <p:nvPr/>
          </p:nvSpPr>
          <p:spPr>
            <a:xfrm>
              <a:off x="2689738" y="2215806"/>
              <a:ext cx="26159" cy="19892"/>
            </a:xfrm>
            <a:custGeom>
              <a:avLst/>
              <a:gdLst/>
              <a:ahLst/>
              <a:cxnLst/>
              <a:rect l="0" t="0" r="0" b="0"/>
              <a:pathLst>
                <a:path w="26159" h="19892">
                  <a:moveTo>
                    <a:pt x="26159" y="6126"/>
                  </a:moveTo>
                  <a:lnTo>
                    <a:pt x="865" y="19892"/>
                  </a:lnTo>
                  <a:lnTo>
                    <a:pt x="0" y="2744"/>
                  </a:lnTo>
                  <a:lnTo>
                    <a:pt x="7114" y="0"/>
                  </a:lnTo>
                  <a:lnTo>
                    <a:pt x="22896" y="479"/>
                  </a:lnTo>
                  <a:lnTo>
                    <a:pt x="26159" y="6126"/>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06" name="Polygon form 170"/>
            <p:cNvSpPr/>
            <p:nvPr/>
          </p:nvSpPr>
          <p:spPr>
            <a:xfrm>
              <a:off x="2802708" y="2502482"/>
              <a:ext cx="18049" cy="18180"/>
            </a:xfrm>
            <a:custGeom>
              <a:avLst/>
              <a:gdLst/>
              <a:ahLst/>
              <a:cxnLst/>
              <a:rect l="0" t="0" r="0" b="0"/>
              <a:pathLst>
                <a:path w="18049" h="18180">
                  <a:moveTo>
                    <a:pt x="18049" y="6050"/>
                  </a:moveTo>
                  <a:lnTo>
                    <a:pt x="4961" y="18180"/>
                  </a:lnTo>
                  <a:lnTo>
                    <a:pt x="0" y="15716"/>
                  </a:lnTo>
                  <a:lnTo>
                    <a:pt x="695" y="8352"/>
                  </a:lnTo>
                  <a:lnTo>
                    <a:pt x="2361" y="6755"/>
                  </a:lnTo>
                  <a:lnTo>
                    <a:pt x="12141" y="0"/>
                  </a:lnTo>
                  <a:lnTo>
                    <a:pt x="17503" y="923"/>
                  </a:lnTo>
                  <a:lnTo>
                    <a:pt x="18049" y="6050"/>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07" name="Polygon form 171"/>
            <p:cNvSpPr/>
            <p:nvPr/>
          </p:nvSpPr>
          <p:spPr>
            <a:xfrm>
              <a:off x="2756915" y="2097930"/>
              <a:ext cx="33834" cy="9854"/>
            </a:xfrm>
            <a:custGeom>
              <a:avLst/>
              <a:gdLst/>
              <a:ahLst/>
              <a:cxnLst/>
              <a:rect l="0" t="0" r="0" b="0"/>
              <a:pathLst>
                <a:path w="33834" h="9854">
                  <a:moveTo>
                    <a:pt x="33834" y="6717"/>
                  </a:moveTo>
                  <a:lnTo>
                    <a:pt x="16510" y="9854"/>
                  </a:lnTo>
                  <a:lnTo>
                    <a:pt x="0" y="8454"/>
                  </a:lnTo>
                  <a:lnTo>
                    <a:pt x="4016" y="5464"/>
                  </a:lnTo>
                  <a:lnTo>
                    <a:pt x="22250" y="0"/>
                  </a:lnTo>
                  <a:lnTo>
                    <a:pt x="26324" y="1391"/>
                  </a:lnTo>
                  <a:lnTo>
                    <a:pt x="33834" y="6717"/>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08" name="Polygon form 172"/>
            <p:cNvSpPr/>
            <p:nvPr/>
          </p:nvSpPr>
          <p:spPr>
            <a:xfrm>
              <a:off x="2902294" y="2131554"/>
              <a:ext cx="27402" cy="9182"/>
            </a:xfrm>
            <a:custGeom>
              <a:avLst/>
              <a:gdLst/>
              <a:ahLst/>
              <a:cxnLst/>
              <a:rect l="0" t="0" r="0" b="0"/>
              <a:pathLst>
                <a:path w="27402" h="9182">
                  <a:moveTo>
                    <a:pt x="23556" y="8890"/>
                  </a:moveTo>
                  <a:lnTo>
                    <a:pt x="18129" y="9182"/>
                  </a:lnTo>
                  <a:lnTo>
                    <a:pt x="0" y="6353"/>
                  </a:lnTo>
                  <a:lnTo>
                    <a:pt x="3741" y="0"/>
                  </a:lnTo>
                  <a:lnTo>
                    <a:pt x="24318" y="1825"/>
                  </a:lnTo>
                  <a:lnTo>
                    <a:pt x="27402" y="6449"/>
                  </a:lnTo>
                  <a:lnTo>
                    <a:pt x="23556" y="8890"/>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09" name="Polygon form 173"/>
            <p:cNvSpPr/>
            <p:nvPr/>
          </p:nvSpPr>
          <p:spPr>
            <a:xfrm>
              <a:off x="4062530" y="2891803"/>
              <a:ext cx="74386" cy="49669"/>
            </a:xfrm>
            <a:custGeom>
              <a:avLst/>
              <a:gdLst/>
              <a:ahLst/>
              <a:cxnLst/>
              <a:rect l="0" t="0" r="0" b="0"/>
              <a:pathLst>
                <a:path w="74386" h="49669">
                  <a:moveTo>
                    <a:pt x="59265" y="7265"/>
                  </a:moveTo>
                  <a:lnTo>
                    <a:pt x="60135" y="11543"/>
                  </a:lnTo>
                  <a:lnTo>
                    <a:pt x="57853" y="17466"/>
                  </a:lnTo>
                  <a:lnTo>
                    <a:pt x="65722" y="21809"/>
                  </a:lnTo>
                  <a:lnTo>
                    <a:pt x="74386" y="22405"/>
                  </a:lnTo>
                  <a:lnTo>
                    <a:pt x="73578" y="32307"/>
                  </a:lnTo>
                  <a:lnTo>
                    <a:pt x="66314" y="36429"/>
                  </a:lnTo>
                  <a:lnTo>
                    <a:pt x="53602" y="33486"/>
                  </a:lnTo>
                  <a:lnTo>
                    <a:pt x="50375" y="43239"/>
                  </a:lnTo>
                  <a:lnTo>
                    <a:pt x="42301" y="44054"/>
                  </a:lnTo>
                  <a:lnTo>
                    <a:pt x="39187" y="40246"/>
                  </a:lnTo>
                  <a:lnTo>
                    <a:pt x="29977" y="48481"/>
                  </a:lnTo>
                  <a:lnTo>
                    <a:pt x="21799" y="49669"/>
                  </a:lnTo>
                  <a:lnTo>
                    <a:pt x="14281" y="44536"/>
                  </a:lnTo>
                  <a:lnTo>
                    <a:pt x="8078" y="33982"/>
                  </a:lnTo>
                  <a:lnTo>
                    <a:pt x="90" y="37796"/>
                  </a:lnTo>
                  <a:lnTo>
                    <a:pt x="0" y="26871"/>
                  </a:lnTo>
                  <a:lnTo>
                    <a:pt x="11905" y="13260"/>
                  </a:lnTo>
                  <a:lnTo>
                    <a:pt x="11144" y="7132"/>
                  </a:lnTo>
                  <a:lnTo>
                    <a:pt x="18899" y="9315"/>
                  </a:lnTo>
                  <a:lnTo>
                    <a:pt x="23360" y="5171"/>
                  </a:lnTo>
                  <a:lnTo>
                    <a:pt x="37676" y="5262"/>
                  </a:lnTo>
                  <a:lnTo>
                    <a:pt x="40891" y="0"/>
                  </a:lnTo>
                  <a:lnTo>
                    <a:pt x="59265" y="7265"/>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210" name="Polygon form 174"/>
            <p:cNvSpPr/>
            <p:nvPr/>
          </p:nvSpPr>
          <p:spPr>
            <a:xfrm>
              <a:off x="2601751" y="4483457"/>
              <a:ext cx="257495" cy="893408"/>
            </a:xfrm>
            <a:custGeom>
              <a:avLst/>
              <a:gdLst/>
              <a:ahLst/>
              <a:cxnLst/>
              <a:rect l="0" t="0" r="0" b="0"/>
              <a:pathLst>
                <a:path w="257495" h="893408">
                  <a:moveTo>
                    <a:pt x="52604" y="96503"/>
                  </a:moveTo>
                  <a:lnTo>
                    <a:pt x="65499" y="130456"/>
                  </a:lnTo>
                  <a:lnTo>
                    <a:pt x="78660" y="126714"/>
                  </a:lnTo>
                  <a:lnTo>
                    <a:pt x="81970" y="132851"/>
                  </a:lnTo>
                  <a:lnTo>
                    <a:pt x="79752" y="158721"/>
                  </a:lnTo>
                  <a:lnTo>
                    <a:pt x="61291" y="171489"/>
                  </a:lnTo>
                  <a:lnTo>
                    <a:pt x="69479" y="212701"/>
                  </a:lnTo>
                  <a:lnTo>
                    <a:pt x="67092" y="220780"/>
                  </a:lnTo>
                  <a:lnTo>
                    <a:pt x="74584" y="230313"/>
                  </a:lnTo>
                  <a:lnTo>
                    <a:pt x="64461" y="246097"/>
                  </a:lnTo>
                  <a:lnTo>
                    <a:pt x="57076" y="269682"/>
                  </a:lnTo>
                  <a:lnTo>
                    <a:pt x="55310" y="292372"/>
                  </a:lnTo>
                  <a:lnTo>
                    <a:pt x="62424" y="316245"/>
                  </a:lnTo>
                  <a:lnTo>
                    <a:pt x="57034" y="342064"/>
                  </a:lnTo>
                  <a:lnTo>
                    <a:pt x="75876" y="384361"/>
                  </a:lnTo>
                  <a:lnTo>
                    <a:pt x="81724" y="388686"/>
                  </a:lnTo>
                  <a:lnTo>
                    <a:pt x="87473" y="411362"/>
                  </a:lnTo>
                  <a:lnTo>
                    <a:pt x="83560" y="435826"/>
                  </a:lnTo>
                  <a:lnTo>
                    <a:pt x="89602" y="456386"/>
                  </a:lnTo>
                  <a:lnTo>
                    <a:pt x="80622" y="473034"/>
                  </a:lnTo>
                  <a:lnTo>
                    <a:pt x="87230" y="495645"/>
                  </a:lnTo>
                  <a:lnTo>
                    <a:pt x="99732" y="519417"/>
                  </a:lnTo>
                  <a:lnTo>
                    <a:pt x="91923" y="528813"/>
                  </a:lnTo>
                  <a:lnTo>
                    <a:pt x="94076" y="550952"/>
                  </a:lnTo>
                  <a:lnTo>
                    <a:pt x="98073" y="576296"/>
                  </a:lnTo>
                  <a:lnTo>
                    <a:pt x="110907" y="606064"/>
                  </a:lnTo>
                  <a:lnTo>
                    <a:pt x="105700" y="611391"/>
                  </a:lnTo>
                  <a:lnTo>
                    <a:pt x="119456" y="639464"/>
                  </a:lnTo>
                  <a:lnTo>
                    <a:pt x="130377" y="648360"/>
                  </a:lnTo>
                  <a:lnTo>
                    <a:pt x="128439" y="658909"/>
                  </a:lnTo>
                  <a:lnTo>
                    <a:pt x="138022" y="663414"/>
                  </a:lnTo>
                  <a:lnTo>
                    <a:pt x="143127" y="672535"/>
                  </a:lnTo>
                  <a:lnTo>
                    <a:pt x="137465" y="677542"/>
                  </a:lnTo>
                  <a:lnTo>
                    <a:pt x="144522" y="691797"/>
                  </a:lnTo>
                  <a:lnTo>
                    <a:pt x="150620" y="724447"/>
                  </a:lnTo>
                  <a:lnTo>
                    <a:pt x="150001" y="745740"/>
                  </a:lnTo>
                  <a:lnTo>
                    <a:pt x="156804" y="757962"/>
                  </a:lnTo>
                  <a:lnTo>
                    <a:pt x="157880" y="773700"/>
                  </a:lnTo>
                  <a:lnTo>
                    <a:pt x="149863" y="785106"/>
                  </a:lnTo>
                  <a:lnTo>
                    <a:pt x="162162" y="810817"/>
                  </a:lnTo>
                  <a:lnTo>
                    <a:pt x="171571" y="819306"/>
                  </a:lnTo>
                  <a:lnTo>
                    <a:pt x="181537" y="817133"/>
                  </a:lnTo>
                  <a:lnTo>
                    <a:pt x="189019" y="835336"/>
                  </a:lnTo>
                  <a:lnTo>
                    <a:pt x="201723" y="849104"/>
                  </a:lnTo>
                  <a:lnTo>
                    <a:pt x="241268" y="850194"/>
                  </a:lnTo>
                  <a:lnTo>
                    <a:pt x="257495" y="853187"/>
                  </a:lnTo>
                  <a:lnTo>
                    <a:pt x="243382" y="853777"/>
                  </a:lnTo>
                  <a:lnTo>
                    <a:pt x="238338" y="860161"/>
                  </a:lnTo>
                  <a:lnTo>
                    <a:pt x="227972" y="869713"/>
                  </a:lnTo>
                  <a:lnTo>
                    <a:pt x="235495" y="892465"/>
                  </a:lnTo>
                  <a:lnTo>
                    <a:pt x="229182" y="893408"/>
                  </a:lnTo>
                  <a:lnTo>
                    <a:pt x="208102" y="886573"/>
                  </a:lnTo>
                  <a:lnTo>
                    <a:pt x="182569" y="870773"/>
                  </a:lnTo>
                  <a:lnTo>
                    <a:pt x="182569" y="870773"/>
                  </a:lnTo>
                  <a:lnTo>
                    <a:pt x="156738" y="858073"/>
                  </a:lnTo>
                  <a:lnTo>
                    <a:pt x="144804" y="843005"/>
                  </a:lnTo>
                  <a:lnTo>
                    <a:pt x="142907" y="828507"/>
                  </a:lnTo>
                  <a:lnTo>
                    <a:pt x="127732" y="812822"/>
                  </a:lnTo>
                  <a:lnTo>
                    <a:pt x="107739" y="771446"/>
                  </a:lnTo>
                  <a:lnTo>
                    <a:pt x="104893" y="747590"/>
                  </a:lnTo>
                  <a:lnTo>
                    <a:pt x="114644" y="727757"/>
                  </a:lnTo>
                  <a:lnTo>
                    <a:pt x="86735" y="722033"/>
                  </a:lnTo>
                  <a:lnTo>
                    <a:pt x="93998" y="699555"/>
                  </a:lnTo>
                  <a:lnTo>
                    <a:pt x="84308" y="658596"/>
                  </a:lnTo>
                  <a:lnTo>
                    <a:pt x="106227" y="666230"/>
                  </a:lnTo>
                  <a:lnTo>
                    <a:pt x="97034" y="615023"/>
                  </a:lnTo>
                  <a:lnTo>
                    <a:pt x="83285" y="609076"/>
                  </a:lnTo>
                  <a:lnTo>
                    <a:pt x="88739" y="639957"/>
                  </a:lnTo>
                  <a:lnTo>
                    <a:pt x="76781" y="637059"/>
                  </a:lnTo>
                  <a:lnTo>
                    <a:pt x="69751" y="601697"/>
                  </a:lnTo>
                  <a:lnTo>
                    <a:pt x="60351" y="555887"/>
                  </a:lnTo>
                  <a:lnTo>
                    <a:pt x="62951" y="538696"/>
                  </a:lnTo>
                  <a:lnTo>
                    <a:pt x="50351" y="514914"/>
                  </a:lnTo>
                  <a:lnTo>
                    <a:pt x="40416" y="487226"/>
                  </a:lnTo>
                  <a:lnTo>
                    <a:pt x="47646" y="486090"/>
                  </a:lnTo>
                  <a:lnTo>
                    <a:pt x="47036" y="445799"/>
                  </a:lnTo>
                  <a:lnTo>
                    <a:pt x="48694" y="405812"/>
                  </a:lnTo>
                  <a:lnTo>
                    <a:pt x="46893" y="368714"/>
                  </a:lnTo>
                  <a:lnTo>
                    <a:pt x="33618" y="331844"/>
                  </a:lnTo>
                  <a:lnTo>
                    <a:pt x="34319" y="311242"/>
                  </a:lnTo>
                  <a:lnTo>
                    <a:pt x="25198" y="280779"/>
                  </a:lnTo>
                  <a:lnTo>
                    <a:pt x="29559" y="250184"/>
                  </a:lnTo>
                  <a:lnTo>
                    <a:pt x="23280" y="202161"/>
                  </a:lnTo>
                  <a:lnTo>
                    <a:pt x="19821" y="150499"/>
                  </a:lnTo>
                  <a:lnTo>
                    <a:pt x="16497" y="94884"/>
                  </a:lnTo>
                  <a:lnTo>
                    <a:pt x="8922" y="54289"/>
                  </a:lnTo>
                  <a:lnTo>
                    <a:pt x="0" y="19395"/>
                  </a:lnTo>
                  <a:lnTo>
                    <a:pt x="9055" y="12841"/>
                  </a:lnTo>
                  <a:lnTo>
                    <a:pt x="12564" y="0"/>
                  </a:lnTo>
                  <a:lnTo>
                    <a:pt x="24217" y="16688"/>
                  </a:lnTo>
                  <a:lnTo>
                    <a:pt x="29200" y="34538"/>
                  </a:lnTo>
                  <a:lnTo>
                    <a:pt x="40735" y="44817"/>
                  </a:lnTo>
                  <a:lnTo>
                    <a:pt x="38136" y="68948"/>
                  </a:lnTo>
                  <a:lnTo>
                    <a:pt x="52604" y="96503"/>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211" name="Polygon form 175"/>
            <p:cNvSpPr/>
            <p:nvPr/>
          </p:nvSpPr>
          <p:spPr>
            <a:xfrm>
              <a:off x="2769351" y="5342618"/>
              <a:ext cx="141765" cy="73761"/>
            </a:xfrm>
            <a:custGeom>
              <a:avLst/>
              <a:gdLst/>
              <a:ahLst/>
              <a:cxnLst/>
              <a:rect l="0" t="0" r="0" b="0"/>
              <a:pathLst>
                <a:path w="141765" h="73761">
                  <a:moveTo>
                    <a:pt x="92337" y="2242"/>
                  </a:moveTo>
                  <a:lnTo>
                    <a:pt x="115733" y="56258"/>
                  </a:lnTo>
                  <a:lnTo>
                    <a:pt x="132210" y="55351"/>
                  </a:lnTo>
                  <a:lnTo>
                    <a:pt x="141765" y="55487"/>
                  </a:lnTo>
                  <a:lnTo>
                    <a:pt x="140944" y="65533"/>
                  </a:lnTo>
                  <a:lnTo>
                    <a:pt x="131163" y="73761"/>
                  </a:lnTo>
                  <a:lnTo>
                    <a:pt x="123320" y="73417"/>
                  </a:lnTo>
                  <a:lnTo>
                    <a:pt x="113398" y="71979"/>
                  </a:lnTo>
                  <a:lnTo>
                    <a:pt x="98994" y="65361"/>
                  </a:lnTo>
                  <a:lnTo>
                    <a:pt x="81353" y="62803"/>
                  </a:lnTo>
                  <a:lnTo>
                    <a:pt x="55783" y="50449"/>
                  </a:lnTo>
                  <a:lnTo>
                    <a:pt x="33985" y="38393"/>
                  </a:lnTo>
                  <a:lnTo>
                    <a:pt x="0" y="12574"/>
                  </a:lnTo>
                  <a:lnTo>
                    <a:pt x="15210" y="16882"/>
                  </a:lnTo>
                  <a:lnTo>
                    <a:pt x="44458" y="31750"/>
                  </a:lnTo>
                  <a:lnTo>
                    <a:pt x="68954" y="39226"/>
                  </a:lnTo>
                  <a:lnTo>
                    <a:pt x="71982" y="27673"/>
                  </a:lnTo>
                  <a:lnTo>
                    <a:pt x="69757" y="10813"/>
                  </a:lnTo>
                  <a:lnTo>
                    <a:pt x="79929" y="0"/>
                  </a:lnTo>
                  <a:lnTo>
                    <a:pt x="92337" y="2242"/>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212" name="Polygon form 176"/>
            <p:cNvSpPr/>
            <p:nvPr/>
          </p:nvSpPr>
          <p:spPr>
            <a:xfrm>
              <a:off x="4939914" y="3405404"/>
              <a:ext cx="88840" cy="87742"/>
            </a:xfrm>
            <a:custGeom>
              <a:avLst/>
              <a:gdLst/>
              <a:ahLst/>
              <a:cxnLst/>
              <a:rect l="0" t="0" r="0" b="0"/>
              <a:pathLst>
                <a:path w="88840" h="87742">
                  <a:moveTo>
                    <a:pt x="0" y="46199"/>
                  </a:moveTo>
                  <a:lnTo>
                    <a:pt x="3215" y="44942"/>
                  </a:lnTo>
                  <a:lnTo>
                    <a:pt x="4798" y="51642"/>
                  </a:lnTo>
                  <a:lnTo>
                    <a:pt x="19129" y="47483"/>
                  </a:lnTo>
                  <a:lnTo>
                    <a:pt x="34890" y="47799"/>
                  </a:lnTo>
                  <a:lnTo>
                    <a:pt x="46438" y="48285"/>
                  </a:lnTo>
                  <a:lnTo>
                    <a:pt x="57087" y="31431"/>
                  </a:lnTo>
                  <a:lnTo>
                    <a:pt x="68883" y="15392"/>
                  </a:lnTo>
                  <a:lnTo>
                    <a:pt x="78494" y="0"/>
                  </a:lnTo>
                  <a:lnTo>
                    <a:pt x="83360" y="8278"/>
                  </a:lnTo>
                  <a:lnTo>
                    <a:pt x="88840" y="27601"/>
                  </a:lnTo>
                  <a:lnTo>
                    <a:pt x="79206" y="27915"/>
                  </a:lnTo>
                  <a:lnTo>
                    <a:pt x="79965" y="43928"/>
                  </a:lnTo>
                  <a:lnTo>
                    <a:pt x="83806" y="47268"/>
                  </a:lnTo>
                  <a:lnTo>
                    <a:pt x="75907" y="52286"/>
                  </a:lnTo>
                  <a:lnTo>
                    <a:pt x="77244" y="62316"/>
                  </a:lnTo>
                  <a:lnTo>
                    <a:pt x="73085" y="72588"/>
                  </a:lnTo>
                  <a:lnTo>
                    <a:pt x="73900" y="82478"/>
                  </a:lnTo>
                  <a:lnTo>
                    <a:pt x="70739" y="87742"/>
                  </a:lnTo>
                  <a:lnTo>
                    <a:pt x="11913" y="76507"/>
                  </a:lnTo>
                  <a:lnTo>
                    <a:pt x="1465" y="51846"/>
                  </a:lnTo>
                  <a:lnTo>
                    <a:pt x="0" y="46199"/>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13" name="Polygon form 177"/>
            <p:cNvSpPr/>
            <p:nvPr/>
          </p:nvSpPr>
          <p:spPr>
            <a:xfrm>
              <a:off x="5261330" y="2657448"/>
              <a:ext cx="960565" cy="859116"/>
            </a:xfrm>
            <a:custGeom>
              <a:avLst/>
              <a:gdLst/>
              <a:ahLst/>
              <a:cxnLst/>
              <a:rect l="0" t="0" r="0" b="0"/>
              <a:pathLst>
                <a:path w="960565" h="859116">
                  <a:moveTo>
                    <a:pt x="750863" y="82941"/>
                  </a:moveTo>
                  <a:lnTo>
                    <a:pt x="783063" y="87644"/>
                  </a:lnTo>
                  <a:lnTo>
                    <a:pt x="814453" y="102989"/>
                  </a:lnTo>
                  <a:lnTo>
                    <a:pt x="838343" y="125488"/>
                  </a:lnTo>
                  <a:lnTo>
                    <a:pt x="861499" y="122677"/>
                  </a:lnTo>
                  <a:lnTo>
                    <a:pt x="867083" y="111258"/>
                  </a:lnTo>
                  <a:lnTo>
                    <a:pt x="886217" y="100788"/>
                  </a:lnTo>
                  <a:lnTo>
                    <a:pt x="895819" y="124108"/>
                  </a:lnTo>
                  <a:lnTo>
                    <a:pt x="896918" y="133952"/>
                  </a:lnTo>
                  <a:lnTo>
                    <a:pt x="912247" y="161928"/>
                  </a:lnTo>
                  <a:lnTo>
                    <a:pt x="919591" y="187565"/>
                  </a:lnTo>
                  <a:lnTo>
                    <a:pt x="897426" y="185384"/>
                  </a:lnTo>
                  <a:lnTo>
                    <a:pt x="890243" y="195821"/>
                  </a:lnTo>
                  <a:lnTo>
                    <a:pt x="909372" y="216868"/>
                  </a:lnTo>
                  <a:lnTo>
                    <a:pt x="927267" y="246947"/>
                  </a:lnTo>
                  <a:lnTo>
                    <a:pt x="919515" y="248549"/>
                  </a:lnTo>
                  <a:lnTo>
                    <a:pt x="928073" y="261396"/>
                  </a:lnTo>
                  <a:lnTo>
                    <a:pt x="907858" y="247610"/>
                  </a:lnTo>
                  <a:lnTo>
                    <a:pt x="910716" y="262490"/>
                  </a:lnTo>
                  <a:lnTo>
                    <a:pt x="892631" y="276096"/>
                  </a:lnTo>
                  <a:lnTo>
                    <a:pt x="903566" y="289200"/>
                  </a:lnTo>
                  <a:lnTo>
                    <a:pt x="888845" y="289760"/>
                  </a:lnTo>
                  <a:lnTo>
                    <a:pt x="876157" y="282627"/>
                  </a:lnTo>
                  <a:lnTo>
                    <a:pt x="875920" y="301765"/>
                  </a:lnTo>
                  <a:lnTo>
                    <a:pt x="865881" y="317240"/>
                  </a:lnTo>
                  <a:lnTo>
                    <a:pt x="861845" y="334865"/>
                  </a:lnTo>
                  <a:lnTo>
                    <a:pt x="842689" y="344497"/>
                  </a:lnTo>
                  <a:lnTo>
                    <a:pt x="836956" y="357541"/>
                  </a:lnTo>
                  <a:lnTo>
                    <a:pt x="822599" y="366155"/>
                  </a:lnTo>
                  <a:lnTo>
                    <a:pt x="825109" y="353551"/>
                  </a:lnTo>
                  <a:lnTo>
                    <a:pt x="816111" y="343988"/>
                  </a:lnTo>
                  <a:lnTo>
                    <a:pt x="819709" y="325690"/>
                  </a:lnTo>
                  <a:lnTo>
                    <a:pt x="803302" y="313261"/>
                  </a:lnTo>
                  <a:lnTo>
                    <a:pt x="793933" y="323570"/>
                  </a:lnTo>
                  <a:lnTo>
                    <a:pt x="784907" y="342929"/>
                  </a:lnTo>
                  <a:lnTo>
                    <a:pt x="783443" y="360237"/>
                  </a:lnTo>
                  <a:lnTo>
                    <a:pt x="767530" y="362928"/>
                  </a:lnTo>
                  <a:lnTo>
                    <a:pt x="765122" y="375519"/>
                  </a:lnTo>
                  <a:lnTo>
                    <a:pt x="782985" y="391917"/>
                  </a:lnTo>
                  <a:lnTo>
                    <a:pt x="799101" y="394887"/>
                  </a:lnTo>
                  <a:lnTo>
                    <a:pt x="805529" y="406270"/>
                  </a:lnTo>
                  <a:lnTo>
                    <a:pt x="822879" y="412553"/>
                  </a:lnTo>
                  <a:lnTo>
                    <a:pt x="832630" y="392664"/>
                  </a:lnTo>
                  <a:lnTo>
                    <a:pt x="852976" y="401254"/>
                  </a:lnTo>
                  <a:lnTo>
                    <a:pt x="864372" y="400949"/>
                  </a:lnTo>
                  <a:lnTo>
                    <a:pt x="874139" y="414103"/>
                  </a:lnTo>
                  <a:lnTo>
                    <a:pt x="853500" y="423381"/>
                  </a:lnTo>
                  <a:lnTo>
                    <a:pt x="852383" y="437891"/>
                  </a:lnTo>
                  <a:lnTo>
                    <a:pt x="841844" y="452151"/>
                  </a:lnTo>
                  <a:lnTo>
                    <a:pt x="841483" y="470821"/>
                  </a:lnTo>
                  <a:lnTo>
                    <a:pt x="866931" y="483408"/>
                  </a:lnTo>
                  <a:lnTo>
                    <a:pt x="885520" y="508170"/>
                  </a:lnTo>
                  <a:lnTo>
                    <a:pt x="906911" y="530974"/>
                  </a:lnTo>
                  <a:lnTo>
                    <a:pt x="927718" y="549915"/>
                  </a:lnTo>
                  <a:lnTo>
                    <a:pt x="935705" y="569193"/>
                  </a:lnTo>
                  <a:lnTo>
                    <a:pt x="927440" y="577113"/>
                  </a:lnTo>
                  <a:lnTo>
                    <a:pt x="937474" y="590641"/>
                  </a:lnTo>
                  <a:lnTo>
                    <a:pt x="951379" y="597937"/>
                  </a:lnTo>
                  <a:lnTo>
                    <a:pt x="957129" y="619333"/>
                  </a:lnTo>
                  <a:lnTo>
                    <a:pt x="960565" y="640306"/>
                  </a:lnTo>
                  <a:lnTo>
                    <a:pt x="951282" y="643342"/>
                  </a:lnTo>
                  <a:lnTo>
                    <a:pt x="948407" y="672449"/>
                  </a:lnTo>
                  <a:lnTo>
                    <a:pt x="945534" y="707638"/>
                  </a:lnTo>
                  <a:lnTo>
                    <a:pt x="938639" y="739829"/>
                  </a:lnTo>
                  <a:lnTo>
                    <a:pt x="920541" y="765372"/>
                  </a:lnTo>
                  <a:lnTo>
                    <a:pt x="901008" y="788722"/>
                  </a:lnTo>
                  <a:lnTo>
                    <a:pt x="880698" y="792801"/>
                  </a:lnTo>
                  <a:lnTo>
                    <a:pt x="872450" y="804948"/>
                  </a:lnTo>
                  <a:lnTo>
                    <a:pt x="863585" y="796824"/>
                  </a:lnTo>
                  <a:lnTo>
                    <a:pt x="856509" y="810276"/>
                  </a:lnTo>
                  <a:lnTo>
                    <a:pt x="833611" y="824548"/>
                  </a:lnTo>
                  <a:lnTo>
                    <a:pt x="814637" y="829451"/>
                  </a:lnTo>
                  <a:lnTo>
                    <a:pt x="815041" y="857143"/>
                  </a:lnTo>
                  <a:lnTo>
                    <a:pt x="804878" y="859116"/>
                  </a:lnTo>
                  <a:lnTo>
                    <a:pt x="795273" y="840517"/>
                  </a:lnTo>
                  <a:lnTo>
                    <a:pt x="797224" y="830295"/>
                  </a:lnTo>
                  <a:lnTo>
                    <a:pt x="769724" y="823150"/>
                  </a:lnTo>
                  <a:lnTo>
                    <a:pt x="761855" y="827757"/>
                  </a:lnTo>
                  <a:lnTo>
                    <a:pt x="741115" y="821898"/>
                  </a:lnTo>
                  <a:lnTo>
                    <a:pt x="729444" y="811821"/>
                  </a:lnTo>
                  <a:lnTo>
                    <a:pt x="728557" y="796842"/>
                  </a:lnTo>
                  <a:lnTo>
                    <a:pt x="710100" y="792929"/>
                  </a:lnTo>
                  <a:lnTo>
                    <a:pt x="698469" y="783698"/>
                  </a:lnTo>
                  <a:lnTo>
                    <a:pt x="686025" y="798119"/>
                  </a:lnTo>
                  <a:lnTo>
                    <a:pt x="668453" y="801892"/>
                  </a:lnTo>
                  <a:lnTo>
                    <a:pt x="653376" y="802418"/>
                  </a:lnTo>
                  <a:lnTo>
                    <a:pt x="644814" y="809108"/>
                  </a:lnTo>
                  <a:lnTo>
                    <a:pt x="635946" y="813277"/>
                  </a:lnTo>
                  <a:lnTo>
                    <a:pt x="645809" y="842472"/>
                  </a:lnTo>
                  <a:lnTo>
                    <a:pt x="635527" y="842176"/>
                  </a:lnTo>
                  <a:lnTo>
                    <a:pt x="632418" y="836225"/>
                  </a:lnTo>
                  <a:lnTo>
                    <a:pt x="629349" y="825660"/>
                  </a:lnTo>
                  <a:lnTo>
                    <a:pt x="617207" y="833674"/>
                  </a:lnTo>
                  <a:lnTo>
                    <a:pt x="607897" y="829293"/>
                  </a:lnTo>
                  <a:lnTo>
                    <a:pt x="591573" y="820265"/>
                  </a:lnTo>
                  <a:lnTo>
                    <a:pt x="591947" y="798825"/>
                  </a:lnTo>
                  <a:lnTo>
                    <a:pt x="578785" y="794383"/>
                  </a:lnTo>
                  <a:lnTo>
                    <a:pt x="568384" y="771106"/>
                  </a:lnTo>
                  <a:lnTo>
                    <a:pt x="549623" y="776181"/>
                  </a:lnTo>
                  <a:lnTo>
                    <a:pt x="544064" y="745905"/>
                  </a:lnTo>
                  <a:lnTo>
                    <a:pt x="555979" y="723863"/>
                  </a:lnTo>
                  <a:lnTo>
                    <a:pt x="550805" y="702857"/>
                  </a:lnTo>
                  <a:lnTo>
                    <a:pt x="544593" y="683443"/>
                  </a:lnTo>
                  <a:lnTo>
                    <a:pt x="534734" y="677790"/>
                  </a:lnTo>
                  <a:lnTo>
                    <a:pt x="524090" y="663166"/>
                  </a:lnTo>
                  <a:lnTo>
                    <a:pt x="513882" y="665588"/>
                  </a:lnTo>
                  <a:lnTo>
                    <a:pt x="492880" y="662786"/>
                  </a:lnTo>
                  <a:lnTo>
                    <a:pt x="495899" y="651852"/>
                  </a:lnTo>
                  <a:lnTo>
                    <a:pt x="482471" y="636562"/>
                  </a:lnTo>
                  <a:lnTo>
                    <a:pt x="472641" y="647859"/>
                  </a:lnTo>
                  <a:lnTo>
                    <a:pt x="455362" y="642417"/>
                  </a:lnTo>
                  <a:lnTo>
                    <a:pt x="438928" y="659513"/>
                  </a:lnTo>
                  <a:lnTo>
                    <a:pt x="427480" y="679058"/>
                  </a:lnTo>
                  <a:lnTo>
                    <a:pt x="413432" y="682892"/>
                  </a:lnTo>
                  <a:lnTo>
                    <a:pt x="403456" y="676484"/>
                  </a:lnTo>
                  <a:lnTo>
                    <a:pt x="393515" y="676311"/>
                  </a:lnTo>
                  <a:lnTo>
                    <a:pt x="378693" y="671079"/>
                  </a:lnTo>
                  <a:lnTo>
                    <a:pt x="370455" y="677903"/>
                  </a:lnTo>
                  <a:lnTo>
                    <a:pt x="363178" y="697129"/>
                  </a:lnTo>
                  <a:lnTo>
                    <a:pt x="356358" y="677400"/>
                  </a:lnTo>
                  <a:lnTo>
                    <a:pt x="346479" y="683173"/>
                  </a:lnTo>
                  <a:lnTo>
                    <a:pt x="324228" y="681643"/>
                  </a:lnTo>
                  <a:lnTo>
                    <a:pt x="301769" y="676778"/>
                  </a:lnTo>
                  <a:lnTo>
                    <a:pt x="283868" y="666411"/>
                  </a:lnTo>
                  <a:lnTo>
                    <a:pt x="268215" y="662083"/>
                  </a:lnTo>
                  <a:lnTo>
                    <a:pt x="258849" y="650336"/>
                  </a:lnTo>
                  <a:lnTo>
                    <a:pt x="247543" y="647188"/>
                  </a:lnTo>
                  <a:lnTo>
                    <a:pt x="224630" y="631712"/>
                  </a:lnTo>
                  <a:lnTo>
                    <a:pt x="207855" y="624671"/>
                  </a:lnTo>
                  <a:lnTo>
                    <a:pt x="201836" y="630953"/>
                  </a:lnTo>
                  <a:lnTo>
                    <a:pt x="171716" y="614609"/>
                  </a:lnTo>
                  <a:lnTo>
                    <a:pt x="149533" y="599620"/>
                  </a:lnTo>
                  <a:lnTo>
                    <a:pt x="136935" y="572466"/>
                  </a:lnTo>
                  <a:lnTo>
                    <a:pt x="150899" y="575238"/>
                  </a:lnTo>
                  <a:lnTo>
                    <a:pt x="147916" y="562534"/>
                  </a:lnTo>
                  <a:lnTo>
                    <a:pt x="137083" y="550152"/>
                  </a:lnTo>
                  <a:lnTo>
                    <a:pt x="133000" y="529840"/>
                  </a:lnTo>
                  <a:lnTo>
                    <a:pt x="105038" y="501691"/>
                  </a:lnTo>
                  <a:lnTo>
                    <a:pt x="72661" y="493035"/>
                  </a:lnTo>
                  <a:lnTo>
                    <a:pt x="61644" y="474294"/>
                  </a:lnTo>
                  <a:lnTo>
                    <a:pt x="45013" y="463390"/>
                  </a:lnTo>
                  <a:lnTo>
                    <a:pt x="39683" y="456457"/>
                  </a:lnTo>
                  <a:lnTo>
                    <a:pt x="32660" y="442526"/>
                  </a:lnTo>
                  <a:lnTo>
                    <a:pt x="30251" y="432915"/>
                  </a:lnTo>
                  <a:lnTo>
                    <a:pt x="17804" y="427809"/>
                  </a:lnTo>
                  <a:lnTo>
                    <a:pt x="12814" y="430559"/>
                  </a:lnTo>
                  <a:lnTo>
                    <a:pt x="1129" y="407991"/>
                  </a:lnTo>
                  <a:lnTo>
                    <a:pt x="4276" y="402126"/>
                  </a:lnTo>
                  <a:lnTo>
                    <a:pt x="0" y="396486"/>
                  </a:lnTo>
                  <a:lnTo>
                    <a:pt x="12742" y="384059"/>
                  </a:lnTo>
                  <a:lnTo>
                    <a:pt x="23090" y="378652"/>
                  </a:lnTo>
                  <a:lnTo>
                    <a:pt x="42554" y="381028"/>
                  </a:lnTo>
                  <a:lnTo>
                    <a:pt x="43612" y="364980"/>
                  </a:lnTo>
                  <a:lnTo>
                    <a:pt x="64667" y="360899"/>
                  </a:lnTo>
                  <a:lnTo>
                    <a:pt x="67249" y="350802"/>
                  </a:lnTo>
                  <a:lnTo>
                    <a:pt x="89258" y="335997"/>
                  </a:lnTo>
                  <a:lnTo>
                    <a:pt x="89539" y="330300"/>
                  </a:lnTo>
                  <a:lnTo>
                    <a:pt x="82784" y="316353"/>
                  </a:lnTo>
                  <a:lnTo>
                    <a:pt x="91912" y="309290"/>
                  </a:lnTo>
                  <a:lnTo>
                    <a:pt x="59674" y="267505"/>
                  </a:lnTo>
                  <a:lnTo>
                    <a:pt x="88625" y="255738"/>
                  </a:lnTo>
                  <a:lnTo>
                    <a:pt x="94804" y="249758"/>
                  </a:lnTo>
                  <a:lnTo>
                    <a:pt x="87373" y="205148"/>
                  </a:lnTo>
                  <a:lnTo>
                    <a:pt x="123460" y="211108"/>
                  </a:lnTo>
                  <a:lnTo>
                    <a:pt x="127392" y="199438"/>
                  </a:lnTo>
                  <a:lnTo>
                    <a:pt x="116520" y="174854"/>
                  </a:lnTo>
                  <a:lnTo>
                    <a:pt x="128797" y="171659"/>
                  </a:lnTo>
                  <a:lnTo>
                    <a:pt x="132983" y="154545"/>
                  </a:lnTo>
                  <a:lnTo>
                    <a:pt x="138228" y="152099"/>
                  </a:lnTo>
                  <a:lnTo>
                    <a:pt x="150952" y="168853"/>
                  </a:lnTo>
                  <a:lnTo>
                    <a:pt x="170912" y="180881"/>
                  </a:lnTo>
                  <a:lnTo>
                    <a:pt x="198519" y="188449"/>
                  </a:lnTo>
                  <a:lnTo>
                    <a:pt x="219495" y="207409"/>
                  </a:lnTo>
                  <a:lnTo>
                    <a:pt x="227082" y="236566"/>
                  </a:lnTo>
                  <a:lnTo>
                    <a:pt x="238065" y="246828"/>
                  </a:lnTo>
                  <a:lnTo>
                    <a:pt x="259683" y="249674"/>
                  </a:lnTo>
                  <a:lnTo>
                    <a:pt x="283572" y="251544"/>
                  </a:lnTo>
                  <a:lnTo>
                    <a:pt x="310970" y="265496"/>
                  </a:lnTo>
                  <a:lnTo>
                    <a:pt x="322541" y="267501"/>
                  </a:lnTo>
                  <a:lnTo>
                    <a:pt x="341030" y="289764"/>
                  </a:lnTo>
                  <a:lnTo>
                    <a:pt x="357793" y="303779"/>
                  </a:lnTo>
                  <a:lnTo>
                    <a:pt x="376010" y="301876"/>
                  </a:lnTo>
                  <a:lnTo>
                    <a:pt x="413274" y="304914"/>
                  </a:lnTo>
                  <a:lnTo>
                    <a:pt x="433854" y="299791"/>
                  </a:lnTo>
                  <a:lnTo>
                    <a:pt x="452191" y="302242"/>
                  </a:lnTo>
                  <a:lnTo>
                    <a:pt x="484465" y="315472"/>
                  </a:lnTo>
                  <a:lnTo>
                    <a:pt x="504753" y="313876"/>
                  </a:lnTo>
                  <a:lnTo>
                    <a:pt x="516065" y="321057"/>
                  </a:lnTo>
                  <a:lnTo>
                    <a:pt x="528788" y="306105"/>
                  </a:lnTo>
                  <a:lnTo>
                    <a:pt x="551210" y="295244"/>
                  </a:lnTo>
                  <a:lnTo>
                    <a:pt x="575607" y="292220"/>
                  </a:lnTo>
                  <a:lnTo>
                    <a:pt x="590204" y="281782"/>
                  </a:lnTo>
                  <a:lnTo>
                    <a:pt x="594636" y="267377"/>
                  </a:lnTo>
                  <a:lnTo>
                    <a:pt x="601389" y="257969"/>
                  </a:lnTo>
                  <a:lnTo>
                    <a:pt x="594054" y="249974"/>
                  </a:lnTo>
                  <a:lnTo>
                    <a:pt x="583357" y="240868"/>
                  </a:lnTo>
                  <a:lnTo>
                    <a:pt x="582532" y="224060"/>
                  </a:lnTo>
                  <a:lnTo>
                    <a:pt x="592954" y="225475"/>
                  </a:lnTo>
                  <a:lnTo>
                    <a:pt x="612561" y="228986"/>
                  </a:lnTo>
                  <a:lnTo>
                    <a:pt x="620691" y="214266"/>
                  </a:lnTo>
                  <a:lnTo>
                    <a:pt x="639195" y="202284"/>
                  </a:lnTo>
                  <a:lnTo>
                    <a:pt x="640502" y="184720"/>
                  </a:lnTo>
                  <a:lnTo>
                    <a:pt x="647102" y="176547"/>
                  </a:lnTo>
                  <a:lnTo>
                    <a:pt x="667854" y="170926"/>
                  </a:lnTo>
                  <a:lnTo>
                    <a:pt x="682117" y="172441"/>
                  </a:lnTo>
                  <a:lnTo>
                    <a:pt x="677974" y="163448"/>
                  </a:lnTo>
                  <a:lnTo>
                    <a:pt x="652184" y="147622"/>
                  </a:lnTo>
                  <a:lnTo>
                    <a:pt x="634361" y="141025"/>
                  </a:lnTo>
                  <a:lnTo>
                    <a:pt x="628480" y="151374"/>
                  </a:lnTo>
                  <a:lnTo>
                    <a:pt x="610513" y="149095"/>
                  </a:lnTo>
                  <a:lnTo>
                    <a:pt x="603715" y="153119"/>
                  </a:lnTo>
                  <a:lnTo>
                    <a:pt x="593057" y="143432"/>
                  </a:lnTo>
                  <a:lnTo>
                    <a:pt x="587521" y="117711"/>
                  </a:lnTo>
                  <a:lnTo>
                    <a:pt x="582239" y="98422"/>
                  </a:lnTo>
                  <a:lnTo>
                    <a:pt x="607075" y="105758"/>
                  </a:lnTo>
                  <a:lnTo>
                    <a:pt x="617565" y="87954"/>
                  </a:lnTo>
                  <a:lnTo>
                    <a:pt x="609632" y="77193"/>
                  </a:lnTo>
                  <a:lnTo>
                    <a:pt x="604002" y="49799"/>
                  </a:lnTo>
                  <a:lnTo>
                    <a:pt x="606349" y="41065"/>
                  </a:lnTo>
                  <a:lnTo>
                    <a:pt x="595861" y="27664"/>
                  </a:lnTo>
                  <a:lnTo>
                    <a:pt x="583331" y="22811"/>
                  </a:lnTo>
                  <a:lnTo>
                    <a:pt x="586010" y="9377"/>
                  </a:lnTo>
                  <a:lnTo>
                    <a:pt x="600624" y="2919"/>
                  </a:lnTo>
                  <a:lnTo>
                    <a:pt x="619314" y="0"/>
                  </a:lnTo>
                  <a:lnTo>
                    <a:pt x="646850" y="4607"/>
                  </a:lnTo>
                  <a:lnTo>
                    <a:pt x="666873" y="11983"/>
                  </a:lnTo>
                  <a:lnTo>
                    <a:pt x="695725" y="35389"/>
                  </a:lnTo>
                  <a:lnTo>
                    <a:pt x="709619" y="45210"/>
                  </a:lnTo>
                  <a:lnTo>
                    <a:pt x="726644" y="59590"/>
                  </a:lnTo>
                  <a:lnTo>
                    <a:pt x="750863" y="82941"/>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14" name="Polygon form 178"/>
            <p:cNvSpPr/>
            <p:nvPr/>
          </p:nvSpPr>
          <p:spPr>
            <a:xfrm>
              <a:off x="6047712" y="3521004"/>
              <a:ext cx="43458" cy="49992"/>
            </a:xfrm>
            <a:custGeom>
              <a:avLst/>
              <a:gdLst/>
              <a:ahLst/>
              <a:cxnLst/>
              <a:rect l="0" t="0" r="0" b="0"/>
              <a:pathLst>
                <a:path w="43458" h="49992">
                  <a:moveTo>
                    <a:pt x="36747" y="36858"/>
                  </a:moveTo>
                  <a:lnTo>
                    <a:pt x="22954" y="49992"/>
                  </a:lnTo>
                  <a:lnTo>
                    <a:pt x="5516" y="42549"/>
                  </a:lnTo>
                  <a:lnTo>
                    <a:pt x="0" y="20269"/>
                  </a:lnTo>
                  <a:lnTo>
                    <a:pt x="6681" y="8141"/>
                  </a:lnTo>
                  <a:lnTo>
                    <a:pt x="25748" y="0"/>
                  </a:lnTo>
                  <a:lnTo>
                    <a:pt x="36831" y="149"/>
                  </a:lnTo>
                  <a:lnTo>
                    <a:pt x="43458" y="9884"/>
                  </a:lnTo>
                  <a:lnTo>
                    <a:pt x="37760" y="21670"/>
                  </a:lnTo>
                  <a:lnTo>
                    <a:pt x="36747" y="36858"/>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15" name="Polygon form 179"/>
            <p:cNvSpPr/>
            <p:nvPr/>
          </p:nvSpPr>
          <p:spPr>
            <a:xfrm>
              <a:off x="3790870" y="3792161"/>
              <a:ext cx="119021" cy="149251"/>
            </a:xfrm>
            <a:custGeom>
              <a:avLst/>
              <a:gdLst/>
              <a:ahLst/>
              <a:cxnLst/>
              <a:rect l="0" t="0" r="0" b="0"/>
              <a:pathLst>
                <a:path w="119021" h="149251">
                  <a:moveTo>
                    <a:pt x="113093" y="133452"/>
                  </a:moveTo>
                  <a:lnTo>
                    <a:pt x="104125" y="133696"/>
                  </a:lnTo>
                  <a:lnTo>
                    <a:pt x="90382" y="128975"/>
                  </a:lnTo>
                  <a:lnTo>
                    <a:pt x="77747" y="129249"/>
                  </a:lnTo>
                  <a:lnTo>
                    <a:pt x="54388" y="133451"/>
                  </a:lnTo>
                  <a:lnTo>
                    <a:pt x="40681" y="140409"/>
                  </a:lnTo>
                  <a:lnTo>
                    <a:pt x="21130" y="149251"/>
                  </a:lnTo>
                  <a:lnTo>
                    <a:pt x="17322" y="148615"/>
                  </a:lnTo>
                  <a:lnTo>
                    <a:pt x="18910" y="128740"/>
                  </a:lnTo>
                  <a:lnTo>
                    <a:pt x="20808" y="125720"/>
                  </a:lnTo>
                  <a:lnTo>
                    <a:pt x="20248" y="116211"/>
                  </a:lnTo>
                  <a:lnTo>
                    <a:pt x="11953" y="106097"/>
                  </a:lnTo>
                  <a:lnTo>
                    <a:pt x="5705" y="104479"/>
                  </a:lnTo>
                  <a:lnTo>
                    <a:pt x="0" y="97848"/>
                  </a:lnTo>
                  <a:lnTo>
                    <a:pt x="4342" y="87130"/>
                  </a:lnTo>
                  <a:lnTo>
                    <a:pt x="2446" y="75461"/>
                  </a:lnTo>
                  <a:lnTo>
                    <a:pt x="3400" y="68443"/>
                  </a:lnTo>
                  <a:lnTo>
                    <a:pt x="6519" y="68419"/>
                  </a:lnTo>
                  <a:lnTo>
                    <a:pt x="7747" y="57894"/>
                  </a:lnTo>
                  <a:lnTo>
                    <a:pt x="6261" y="53231"/>
                  </a:lnTo>
                  <a:lnTo>
                    <a:pt x="8163" y="49878"/>
                  </a:lnTo>
                  <a:lnTo>
                    <a:pt x="15482" y="46984"/>
                  </a:lnTo>
                  <a:lnTo>
                    <a:pt x="10770" y="27659"/>
                  </a:lnTo>
                  <a:lnTo>
                    <a:pt x="6326" y="17679"/>
                  </a:lnTo>
                  <a:lnTo>
                    <a:pt x="7970" y="9487"/>
                  </a:lnTo>
                  <a:lnTo>
                    <a:pt x="11896" y="7622"/>
                  </a:lnTo>
                  <a:lnTo>
                    <a:pt x="14471" y="5432"/>
                  </a:lnTo>
                  <a:lnTo>
                    <a:pt x="19871" y="9063"/>
                  </a:lnTo>
                  <a:lnTo>
                    <a:pt x="35017" y="9279"/>
                  </a:lnTo>
                  <a:lnTo>
                    <a:pt x="38676" y="2241"/>
                  </a:lnTo>
                  <a:lnTo>
                    <a:pt x="42055" y="2715"/>
                  </a:lnTo>
                  <a:lnTo>
                    <a:pt x="47735" y="0"/>
                  </a:lnTo>
                  <a:lnTo>
                    <a:pt x="50704" y="10323"/>
                  </a:lnTo>
                  <a:lnTo>
                    <a:pt x="55303" y="7283"/>
                  </a:lnTo>
                  <a:lnTo>
                    <a:pt x="63415" y="3714"/>
                  </a:lnTo>
                  <a:lnTo>
                    <a:pt x="72206" y="8982"/>
                  </a:lnTo>
                  <a:lnTo>
                    <a:pt x="75595" y="16964"/>
                  </a:lnTo>
                  <a:lnTo>
                    <a:pt x="84396" y="22065"/>
                  </a:lnTo>
                  <a:lnTo>
                    <a:pt x="91286" y="16001"/>
                  </a:lnTo>
                  <a:lnTo>
                    <a:pt x="100483" y="15090"/>
                  </a:lnTo>
                  <a:lnTo>
                    <a:pt x="113894" y="21318"/>
                  </a:lnTo>
                  <a:lnTo>
                    <a:pt x="119021" y="55646"/>
                  </a:lnTo>
                  <a:lnTo>
                    <a:pt x="110689" y="75907"/>
                  </a:lnTo>
                  <a:lnTo>
                    <a:pt x="105497" y="103149"/>
                  </a:lnTo>
                  <a:lnTo>
                    <a:pt x="114003" y="123933"/>
                  </a:lnTo>
                  <a:lnTo>
                    <a:pt x="113093" y="133452"/>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216" name="Polygon form 180"/>
            <p:cNvSpPr/>
            <p:nvPr/>
          </p:nvSpPr>
          <p:spPr>
            <a:xfrm>
              <a:off x="4127627" y="3735475"/>
              <a:ext cx="148642" cy="268886"/>
            </a:xfrm>
            <a:custGeom>
              <a:avLst/>
              <a:gdLst/>
              <a:ahLst/>
              <a:cxnLst/>
              <a:rect l="0" t="0" r="0" b="0"/>
              <a:pathLst>
                <a:path w="148642" h="268886">
                  <a:moveTo>
                    <a:pt x="90680" y="255880"/>
                  </a:moveTo>
                  <a:lnTo>
                    <a:pt x="88220" y="254565"/>
                  </a:lnTo>
                  <a:lnTo>
                    <a:pt x="76547" y="257681"/>
                  </a:lnTo>
                  <a:lnTo>
                    <a:pt x="64545" y="254451"/>
                  </a:lnTo>
                  <a:lnTo>
                    <a:pt x="55171" y="256042"/>
                  </a:lnTo>
                  <a:lnTo>
                    <a:pt x="23055" y="255503"/>
                  </a:lnTo>
                  <a:lnTo>
                    <a:pt x="25886" y="236443"/>
                  </a:lnTo>
                  <a:lnTo>
                    <a:pt x="18124" y="220489"/>
                  </a:lnTo>
                  <a:lnTo>
                    <a:pt x="9110" y="216400"/>
                  </a:lnTo>
                  <a:lnTo>
                    <a:pt x="5063" y="205587"/>
                  </a:lnTo>
                  <a:lnTo>
                    <a:pt x="0" y="202129"/>
                  </a:lnTo>
                  <a:lnTo>
                    <a:pt x="199" y="195459"/>
                  </a:lnTo>
                  <a:lnTo>
                    <a:pt x="5193" y="178375"/>
                  </a:lnTo>
                  <a:lnTo>
                    <a:pt x="14434" y="155080"/>
                  </a:lnTo>
                  <a:lnTo>
                    <a:pt x="20134" y="154857"/>
                  </a:lnTo>
                  <a:lnTo>
                    <a:pt x="31762" y="140717"/>
                  </a:lnTo>
                  <a:lnTo>
                    <a:pt x="39220" y="140308"/>
                  </a:lnTo>
                  <a:lnTo>
                    <a:pt x="50345" y="150216"/>
                  </a:lnTo>
                  <a:lnTo>
                    <a:pt x="63803" y="142064"/>
                  </a:lnTo>
                  <a:lnTo>
                    <a:pt x="65557" y="132026"/>
                  </a:lnTo>
                  <a:lnTo>
                    <a:pt x="69886" y="122294"/>
                  </a:lnTo>
                  <a:lnTo>
                    <a:pt x="72810" y="110071"/>
                  </a:lnTo>
                  <a:lnTo>
                    <a:pt x="83212" y="100107"/>
                  </a:lnTo>
                  <a:lnTo>
                    <a:pt x="86975" y="83195"/>
                  </a:lnTo>
                  <a:lnTo>
                    <a:pt x="91070" y="77805"/>
                  </a:lnTo>
                  <a:lnTo>
                    <a:pt x="93670" y="65247"/>
                  </a:lnTo>
                  <a:lnTo>
                    <a:pt x="98630" y="49823"/>
                  </a:lnTo>
                  <a:lnTo>
                    <a:pt x="114831" y="31093"/>
                  </a:lnTo>
                  <a:lnTo>
                    <a:pt x="115726" y="23061"/>
                  </a:lnTo>
                  <a:lnTo>
                    <a:pt x="117780" y="18693"/>
                  </a:lnTo>
                  <a:lnTo>
                    <a:pt x="109866" y="9093"/>
                  </a:lnTo>
                  <a:lnTo>
                    <a:pt x="110354" y="1401"/>
                  </a:lnTo>
                  <a:lnTo>
                    <a:pt x="115843" y="0"/>
                  </a:lnTo>
                  <a:lnTo>
                    <a:pt x="123906" y="15446"/>
                  </a:lnTo>
                  <a:lnTo>
                    <a:pt x="125503" y="31470"/>
                  </a:lnTo>
                  <a:lnTo>
                    <a:pt x="125061" y="47519"/>
                  </a:lnTo>
                  <a:lnTo>
                    <a:pt x="136088" y="69452"/>
                  </a:lnTo>
                  <a:lnTo>
                    <a:pt x="125128" y="69242"/>
                  </a:lnTo>
                  <a:lnTo>
                    <a:pt x="119618" y="70974"/>
                  </a:lnTo>
                  <a:lnTo>
                    <a:pt x="110642" y="68568"/>
                  </a:lnTo>
                  <a:lnTo>
                    <a:pt x="106539" y="79975"/>
                  </a:lnTo>
                  <a:lnTo>
                    <a:pt x="118318" y="94048"/>
                  </a:lnTo>
                  <a:lnTo>
                    <a:pt x="126928" y="98132"/>
                  </a:lnTo>
                  <a:lnTo>
                    <a:pt x="129828" y="108127"/>
                  </a:lnTo>
                  <a:lnTo>
                    <a:pt x="136234" y="124769"/>
                  </a:lnTo>
                  <a:lnTo>
                    <a:pt x="133231" y="131319"/>
                  </a:lnTo>
                  <a:lnTo>
                    <a:pt x="123592" y="155818"/>
                  </a:lnTo>
                  <a:lnTo>
                    <a:pt x="118907" y="160210"/>
                  </a:lnTo>
                  <a:lnTo>
                    <a:pt x="117549" y="178938"/>
                  </a:lnTo>
                  <a:lnTo>
                    <a:pt x="119589" y="189109"/>
                  </a:lnTo>
                  <a:lnTo>
                    <a:pt x="118053" y="196310"/>
                  </a:lnTo>
                  <a:lnTo>
                    <a:pt x="127455" y="208915"/>
                  </a:lnTo>
                  <a:lnTo>
                    <a:pt x="129189" y="217587"/>
                  </a:lnTo>
                  <a:lnTo>
                    <a:pt x="136541" y="230049"/>
                  </a:lnTo>
                  <a:lnTo>
                    <a:pt x="145603" y="237816"/>
                  </a:lnTo>
                  <a:lnTo>
                    <a:pt x="146533" y="248838"/>
                  </a:lnTo>
                  <a:lnTo>
                    <a:pt x="148642" y="255838"/>
                  </a:lnTo>
                  <a:lnTo>
                    <a:pt x="147265" y="268886"/>
                  </a:lnTo>
                  <a:lnTo>
                    <a:pt x="131566" y="263182"/>
                  </a:lnTo>
                  <a:lnTo>
                    <a:pt x="115589" y="256816"/>
                  </a:lnTo>
                  <a:lnTo>
                    <a:pt x="90680" y="255880"/>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17" name="Polygon form 181"/>
            <p:cNvSpPr/>
            <p:nvPr/>
          </p:nvSpPr>
          <p:spPr>
            <a:xfrm>
              <a:off x="4200250" y="3918777"/>
              <a:ext cx="375233" cy="448929"/>
            </a:xfrm>
            <a:custGeom>
              <a:avLst/>
              <a:gdLst/>
              <a:ahLst/>
              <a:cxnLst/>
              <a:rect l="0" t="0" r="0" b="0"/>
              <a:pathLst>
                <a:path w="375233" h="448929">
                  <a:moveTo>
                    <a:pt x="368233" y="42160"/>
                  </a:moveTo>
                  <a:lnTo>
                    <a:pt x="367300" y="70541"/>
                  </a:lnTo>
                  <a:lnTo>
                    <a:pt x="375233" y="73819"/>
                  </a:lnTo>
                  <a:lnTo>
                    <a:pt x="368944" y="82443"/>
                  </a:lnTo>
                  <a:lnTo>
                    <a:pt x="361396" y="88895"/>
                  </a:lnTo>
                  <a:lnTo>
                    <a:pt x="353900" y="101555"/>
                  </a:lnTo>
                  <a:lnTo>
                    <a:pt x="349776" y="112837"/>
                  </a:lnTo>
                  <a:lnTo>
                    <a:pt x="348677" y="132312"/>
                  </a:lnTo>
                  <a:lnTo>
                    <a:pt x="344092" y="141580"/>
                  </a:lnTo>
                  <a:lnTo>
                    <a:pt x="343874" y="159870"/>
                  </a:lnTo>
                  <a:lnTo>
                    <a:pt x="338168" y="166627"/>
                  </a:lnTo>
                  <a:lnTo>
                    <a:pt x="337354" y="181061"/>
                  </a:lnTo>
                  <a:lnTo>
                    <a:pt x="334631" y="182928"/>
                  </a:lnTo>
                  <a:lnTo>
                    <a:pt x="332703" y="196194"/>
                  </a:lnTo>
                  <a:lnTo>
                    <a:pt x="337564" y="207229"/>
                  </a:lnTo>
                  <a:lnTo>
                    <a:pt x="338478" y="236486"/>
                  </a:lnTo>
                  <a:lnTo>
                    <a:pt x="341693" y="258810"/>
                  </a:lnTo>
                  <a:lnTo>
                    <a:pt x="339508" y="271419"/>
                  </a:lnTo>
                  <a:lnTo>
                    <a:pt x="343183" y="285500"/>
                  </a:lnTo>
                  <a:lnTo>
                    <a:pt x="354316" y="299122"/>
                  </a:lnTo>
                  <a:lnTo>
                    <a:pt x="364202" y="329736"/>
                  </a:lnTo>
                  <a:lnTo>
                    <a:pt x="356524" y="327236"/>
                  </a:lnTo>
                  <a:lnTo>
                    <a:pt x="330022" y="331228"/>
                  </a:lnTo>
                  <a:lnTo>
                    <a:pt x="324682" y="334106"/>
                  </a:lnTo>
                  <a:lnTo>
                    <a:pt x="318684" y="349563"/>
                  </a:lnTo>
                  <a:lnTo>
                    <a:pt x="322785" y="360275"/>
                  </a:lnTo>
                  <a:lnTo>
                    <a:pt x="318446" y="388966"/>
                  </a:lnTo>
                  <a:lnTo>
                    <a:pt x="315221" y="413290"/>
                  </a:lnTo>
                  <a:lnTo>
                    <a:pt x="320357" y="417632"/>
                  </a:lnTo>
                  <a:lnTo>
                    <a:pt x="333687" y="427145"/>
                  </a:lnTo>
                  <a:lnTo>
                    <a:pt x="339216" y="422765"/>
                  </a:lnTo>
                  <a:lnTo>
                    <a:pt x="339838" y="448929"/>
                  </a:lnTo>
                  <a:lnTo>
                    <a:pt x="324907" y="448637"/>
                  </a:lnTo>
                  <a:lnTo>
                    <a:pt x="317397" y="435246"/>
                  </a:lnTo>
                  <a:lnTo>
                    <a:pt x="310570" y="424876"/>
                  </a:lnTo>
                  <a:lnTo>
                    <a:pt x="295703" y="421409"/>
                  </a:lnTo>
                  <a:lnTo>
                    <a:pt x="291734" y="408688"/>
                  </a:lnTo>
                  <a:lnTo>
                    <a:pt x="279525" y="416278"/>
                  </a:lnTo>
                  <a:lnTo>
                    <a:pt x="263965" y="412823"/>
                  </a:lnTo>
                  <a:lnTo>
                    <a:pt x="257756" y="401796"/>
                  </a:lnTo>
                  <a:lnTo>
                    <a:pt x="245388" y="399507"/>
                  </a:lnTo>
                  <a:lnTo>
                    <a:pt x="236194" y="400052"/>
                  </a:lnTo>
                  <a:lnTo>
                    <a:pt x="235278" y="392521"/>
                  </a:lnTo>
                  <a:lnTo>
                    <a:pt x="228536" y="391884"/>
                  </a:lnTo>
                  <a:lnTo>
                    <a:pt x="219651" y="390420"/>
                  </a:lnTo>
                  <a:lnTo>
                    <a:pt x="207421" y="393997"/>
                  </a:lnTo>
                  <a:lnTo>
                    <a:pt x="198923" y="393370"/>
                  </a:lnTo>
                  <a:lnTo>
                    <a:pt x="194019" y="395571"/>
                  </a:lnTo>
                  <a:lnTo>
                    <a:pt x="195752" y="366779"/>
                  </a:lnTo>
                  <a:lnTo>
                    <a:pt x="189402" y="357778"/>
                  </a:lnTo>
                  <a:lnTo>
                    <a:pt x="188267" y="342893"/>
                  </a:lnTo>
                  <a:lnTo>
                    <a:pt x="191442" y="328316"/>
                  </a:lnTo>
                  <a:lnTo>
                    <a:pt x="187627" y="318969"/>
                  </a:lnTo>
                  <a:lnTo>
                    <a:pt x="187522" y="303744"/>
                  </a:lnTo>
                  <a:lnTo>
                    <a:pt x="163646" y="303898"/>
                  </a:lnTo>
                  <a:lnTo>
                    <a:pt x="165490" y="295187"/>
                  </a:lnTo>
                  <a:lnTo>
                    <a:pt x="155447" y="295256"/>
                  </a:lnTo>
                  <a:lnTo>
                    <a:pt x="154326" y="299444"/>
                  </a:lnTo>
                  <a:lnTo>
                    <a:pt x="142108" y="300362"/>
                  </a:lnTo>
                  <a:lnTo>
                    <a:pt x="136966" y="314443"/>
                  </a:lnTo>
                  <a:lnTo>
                    <a:pt x="133926" y="320482"/>
                  </a:lnTo>
                  <a:lnTo>
                    <a:pt x="123113" y="317042"/>
                  </a:lnTo>
                  <a:lnTo>
                    <a:pt x="116574" y="320428"/>
                  </a:lnTo>
                  <a:lnTo>
                    <a:pt x="103545" y="322354"/>
                  </a:lnTo>
                  <a:lnTo>
                    <a:pt x="96187" y="309701"/>
                  </a:lnTo>
                  <a:lnTo>
                    <a:pt x="91766" y="301877"/>
                  </a:lnTo>
                  <a:lnTo>
                    <a:pt x="86288" y="287375"/>
                  </a:lnTo>
                  <a:lnTo>
                    <a:pt x="81619" y="269360"/>
                  </a:lnTo>
                  <a:lnTo>
                    <a:pt x="23493" y="268961"/>
                  </a:lnTo>
                  <a:lnTo>
                    <a:pt x="16561" y="271854"/>
                  </a:lnTo>
                  <a:lnTo>
                    <a:pt x="10858" y="271396"/>
                  </a:lnTo>
                  <a:lnTo>
                    <a:pt x="2704" y="274632"/>
                  </a:lnTo>
                  <a:lnTo>
                    <a:pt x="0" y="267139"/>
                  </a:lnTo>
                  <a:lnTo>
                    <a:pt x="5029" y="264594"/>
                  </a:lnTo>
                  <a:lnTo>
                    <a:pt x="5719" y="254068"/>
                  </a:lnTo>
                  <a:lnTo>
                    <a:pt x="8984" y="247863"/>
                  </a:lnTo>
                  <a:lnTo>
                    <a:pt x="16190" y="242794"/>
                  </a:lnTo>
                  <a:lnTo>
                    <a:pt x="21353" y="245259"/>
                  </a:lnTo>
                  <a:lnTo>
                    <a:pt x="28154" y="236020"/>
                  </a:lnTo>
                  <a:lnTo>
                    <a:pt x="38892" y="236269"/>
                  </a:lnTo>
                  <a:lnTo>
                    <a:pt x="40110" y="243108"/>
                  </a:lnTo>
                  <a:lnTo>
                    <a:pt x="47443" y="247395"/>
                  </a:lnTo>
                  <a:lnTo>
                    <a:pt x="59149" y="232267"/>
                  </a:lnTo>
                  <a:lnTo>
                    <a:pt x="70713" y="220480"/>
                  </a:lnTo>
                  <a:lnTo>
                    <a:pt x="75745" y="212752"/>
                  </a:lnTo>
                  <a:lnTo>
                    <a:pt x="75185" y="192871"/>
                  </a:lnTo>
                  <a:lnTo>
                    <a:pt x="83842" y="169401"/>
                  </a:lnTo>
                  <a:lnTo>
                    <a:pt x="92917" y="156956"/>
                  </a:lnTo>
                  <a:lnTo>
                    <a:pt x="105934" y="145310"/>
                  </a:lnTo>
                  <a:lnTo>
                    <a:pt x="108211" y="137599"/>
                  </a:lnTo>
                  <a:lnTo>
                    <a:pt x="108706" y="128734"/>
                  </a:lnTo>
                  <a:lnTo>
                    <a:pt x="111922" y="120346"/>
                  </a:lnTo>
                  <a:lnTo>
                    <a:pt x="110875" y="106647"/>
                  </a:lnTo>
                  <a:lnTo>
                    <a:pt x="113285" y="85224"/>
                  </a:lnTo>
                  <a:lnTo>
                    <a:pt x="117085" y="70140"/>
                  </a:lnTo>
                  <a:lnTo>
                    <a:pt x="122932" y="57209"/>
                  </a:lnTo>
                  <a:lnTo>
                    <a:pt x="124014" y="42607"/>
                  </a:lnTo>
                  <a:lnTo>
                    <a:pt x="125665" y="25744"/>
                  </a:lnTo>
                  <a:lnTo>
                    <a:pt x="133237" y="13458"/>
                  </a:lnTo>
                  <a:lnTo>
                    <a:pt x="143718" y="5656"/>
                  </a:lnTo>
                  <a:lnTo>
                    <a:pt x="160019" y="13851"/>
                  </a:lnTo>
                  <a:lnTo>
                    <a:pt x="172661" y="22756"/>
                  </a:lnTo>
                  <a:lnTo>
                    <a:pt x="187108" y="25117"/>
                  </a:lnTo>
                  <a:lnTo>
                    <a:pt x="201862" y="29819"/>
                  </a:lnTo>
                  <a:lnTo>
                    <a:pt x="207613" y="15195"/>
                  </a:lnTo>
                  <a:lnTo>
                    <a:pt x="210300" y="13325"/>
                  </a:lnTo>
                  <a:lnTo>
                    <a:pt x="219311" y="15741"/>
                  </a:lnTo>
                  <a:lnTo>
                    <a:pt x="241114" y="3617"/>
                  </a:lnTo>
                  <a:lnTo>
                    <a:pt x="248954" y="8725"/>
                  </a:lnTo>
                  <a:lnTo>
                    <a:pt x="255327" y="7986"/>
                  </a:lnTo>
                  <a:lnTo>
                    <a:pt x="258206" y="2091"/>
                  </a:lnTo>
                  <a:lnTo>
                    <a:pt x="265502" y="0"/>
                  </a:lnTo>
                  <a:lnTo>
                    <a:pt x="280364" y="2518"/>
                  </a:lnTo>
                  <a:lnTo>
                    <a:pt x="293010" y="3048"/>
                  </a:lnTo>
                  <a:lnTo>
                    <a:pt x="299480" y="462"/>
                  </a:lnTo>
                  <a:lnTo>
                    <a:pt x="311692" y="20450"/>
                  </a:lnTo>
                  <a:lnTo>
                    <a:pt x="320583" y="23373"/>
                  </a:lnTo>
                  <a:lnTo>
                    <a:pt x="325809" y="19290"/>
                  </a:lnTo>
                  <a:lnTo>
                    <a:pt x="334946" y="20868"/>
                  </a:lnTo>
                  <a:lnTo>
                    <a:pt x="345857" y="15714"/>
                  </a:lnTo>
                  <a:lnTo>
                    <a:pt x="350678" y="26066"/>
                  </a:lnTo>
                  <a:lnTo>
                    <a:pt x="368233" y="42160"/>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218" name="Polygon form 182"/>
            <p:cNvSpPr/>
            <p:nvPr/>
          </p:nvSpPr>
          <p:spPr>
            <a:xfrm>
              <a:off x="4179047" y="3955999"/>
              <a:ext cx="145217" cy="211755"/>
            </a:xfrm>
            <a:custGeom>
              <a:avLst/>
              <a:gdLst/>
              <a:ahLst/>
              <a:cxnLst/>
              <a:rect l="0" t="0" r="0" b="0"/>
              <a:pathLst>
                <a:path w="145217" h="211755">
                  <a:moveTo>
                    <a:pt x="37393" y="205572"/>
                  </a:moveTo>
                  <a:lnTo>
                    <a:pt x="30055" y="197280"/>
                  </a:lnTo>
                  <a:lnTo>
                    <a:pt x="24074" y="201336"/>
                  </a:lnTo>
                  <a:lnTo>
                    <a:pt x="16056" y="211755"/>
                  </a:lnTo>
                  <a:lnTo>
                    <a:pt x="0" y="186169"/>
                  </a:lnTo>
                  <a:lnTo>
                    <a:pt x="15075" y="172852"/>
                  </a:lnTo>
                  <a:lnTo>
                    <a:pt x="7694" y="156882"/>
                  </a:lnTo>
                  <a:lnTo>
                    <a:pt x="14479" y="150814"/>
                  </a:lnTo>
                  <a:lnTo>
                    <a:pt x="27803" y="147863"/>
                  </a:lnTo>
                  <a:lnTo>
                    <a:pt x="29404" y="137161"/>
                  </a:lnTo>
                  <a:lnTo>
                    <a:pt x="39916" y="148763"/>
                  </a:lnTo>
                  <a:lnTo>
                    <a:pt x="57333" y="149788"/>
                  </a:lnTo>
                  <a:lnTo>
                    <a:pt x="63424" y="138377"/>
                  </a:lnTo>
                  <a:lnTo>
                    <a:pt x="65955" y="122318"/>
                  </a:lnTo>
                  <a:lnTo>
                    <a:pt x="63829" y="103457"/>
                  </a:lnTo>
                  <a:lnTo>
                    <a:pt x="54495" y="89172"/>
                  </a:lnTo>
                  <a:lnTo>
                    <a:pt x="63016" y="61195"/>
                  </a:lnTo>
                  <a:lnTo>
                    <a:pt x="58080" y="56396"/>
                  </a:lnTo>
                  <a:lnTo>
                    <a:pt x="43398" y="58368"/>
                  </a:lnTo>
                  <a:lnTo>
                    <a:pt x="37854" y="45891"/>
                  </a:lnTo>
                  <a:lnTo>
                    <a:pt x="39261" y="35356"/>
                  </a:lnTo>
                  <a:lnTo>
                    <a:pt x="64169" y="36292"/>
                  </a:lnTo>
                  <a:lnTo>
                    <a:pt x="80146" y="42658"/>
                  </a:lnTo>
                  <a:lnTo>
                    <a:pt x="95845" y="48362"/>
                  </a:lnTo>
                  <a:lnTo>
                    <a:pt x="97222" y="35313"/>
                  </a:lnTo>
                  <a:lnTo>
                    <a:pt x="107464" y="12818"/>
                  </a:lnTo>
                  <a:lnTo>
                    <a:pt x="119145" y="0"/>
                  </a:lnTo>
                  <a:lnTo>
                    <a:pt x="132522" y="4047"/>
                  </a:lnTo>
                  <a:lnTo>
                    <a:pt x="145217" y="5384"/>
                  </a:lnTo>
                  <a:lnTo>
                    <a:pt x="144136" y="19986"/>
                  </a:lnTo>
                  <a:lnTo>
                    <a:pt x="138289" y="32918"/>
                  </a:lnTo>
                  <a:lnTo>
                    <a:pt x="134488" y="48002"/>
                  </a:lnTo>
                  <a:lnTo>
                    <a:pt x="132078" y="69424"/>
                  </a:lnTo>
                  <a:lnTo>
                    <a:pt x="133126" y="83124"/>
                  </a:lnTo>
                  <a:lnTo>
                    <a:pt x="129910" y="91512"/>
                  </a:lnTo>
                  <a:lnTo>
                    <a:pt x="129414" y="100377"/>
                  </a:lnTo>
                  <a:lnTo>
                    <a:pt x="127138" y="108087"/>
                  </a:lnTo>
                  <a:lnTo>
                    <a:pt x="114121" y="119733"/>
                  </a:lnTo>
                  <a:lnTo>
                    <a:pt x="105045" y="132178"/>
                  </a:lnTo>
                  <a:lnTo>
                    <a:pt x="96389" y="155648"/>
                  </a:lnTo>
                  <a:lnTo>
                    <a:pt x="96948" y="175529"/>
                  </a:lnTo>
                  <a:lnTo>
                    <a:pt x="91917" y="183257"/>
                  </a:lnTo>
                  <a:lnTo>
                    <a:pt x="80353" y="195045"/>
                  </a:lnTo>
                  <a:lnTo>
                    <a:pt x="68646" y="210173"/>
                  </a:lnTo>
                  <a:lnTo>
                    <a:pt x="61313" y="205885"/>
                  </a:lnTo>
                  <a:lnTo>
                    <a:pt x="60096" y="199046"/>
                  </a:lnTo>
                  <a:lnTo>
                    <a:pt x="49358" y="198797"/>
                  </a:lnTo>
                  <a:lnTo>
                    <a:pt x="42556" y="208037"/>
                  </a:lnTo>
                  <a:lnTo>
                    <a:pt x="37393" y="205572"/>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219" name="Polygon form 183"/>
            <p:cNvSpPr/>
            <p:nvPr/>
          </p:nvSpPr>
          <p:spPr>
            <a:xfrm>
              <a:off x="2401187" y="3735935"/>
              <a:ext cx="238995" cy="417216"/>
            </a:xfrm>
            <a:custGeom>
              <a:avLst/>
              <a:gdLst/>
              <a:ahLst/>
              <a:cxnLst/>
              <a:rect l="0" t="0" r="0" b="0"/>
              <a:pathLst>
                <a:path w="238995" h="417216">
                  <a:moveTo>
                    <a:pt x="71124" y="313978"/>
                  </a:moveTo>
                  <a:lnTo>
                    <a:pt x="62669" y="308047"/>
                  </a:lnTo>
                  <a:lnTo>
                    <a:pt x="52995" y="299744"/>
                  </a:lnTo>
                  <a:lnTo>
                    <a:pt x="47377" y="303730"/>
                  </a:lnTo>
                  <a:lnTo>
                    <a:pt x="30634" y="300242"/>
                  </a:lnTo>
                  <a:lnTo>
                    <a:pt x="25878" y="289442"/>
                  </a:lnTo>
                  <a:lnTo>
                    <a:pt x="22194" y="289839"/>
                  </a:lnTo>
                  <a:lnTo>
                    <a:pt x="2579" y="275467"/>
                  </a:lnTo>
                  <a:lnTo>
                    <a:pt x="0" y="267659"/>
                  </a:lnTo>
                  <a:lnTo>
                    <a:pt x="7391" y="265791"/>
                  </a:lnTo>
                  <a:lnTo>
                    <a:pt x="6724" y="253202"/>
                  </a:lnTo>
                  <a:lnTo>
                    <a:pt x="11534" y="244119"/>
                  </a:lnTo>
                  <a:lnTo>
                    <a:pt x="21358" y="242470"/>
                  </a:lnTo>
                  <a:lnTo>
                    <a:pt x="30049" y="226731"/>
                  </a:lnTo>
                  <a:lnTo>
                    <a:pt x="37978" y="213606"/>
                  </a:lnTo>
                  <a:lnTo>
                    <a:pt x="30900" y="207598"/>
                  </a:lnTo>
                  <a:lnTo>
                    <a:pt x="35133" y="193059"/>
                  </a:lnTo>
                  <a:lnTo>
                    <a:pt x="31636" y="170079"/>
                  </a:lnTo>
                  <a:lnTo>
                    <a:pt x="36161" y="163526"/>
                  </a:lnTo>
                  <a:lnTo>
                    <a:pt x="34126" y="142286"/>
                  </a:lnTo>
                  <a:lnTo>
                    <a:pt x="26914" y="128849"/>
                  </a:lnTo>
                  <a:lnTo>
                    <a:pt x="30172" y="116679"/>
                  </a:lnTo>
                  <a:lnTo>
                    <a:pt x="36395" y="118544"/>
                  </a:lnTo>
                  <a:lnTo>
                    <a:pt x="40568" y="111130"/>
                  </a:lnTo>
                  <a:lnTo>
                    <a:pt x="36989" y="96311"/>
                  </a:lnTo>
                  <a:lnTo>
                    <a:pt x="39626" y="92672"/>
                  </a:lnTo>
                  <a:lnTo>
                    <a:pt x="49713" y="93585"/>
                  </a:lnTo>
                  <a:lnTo>
                    <a:pt x="65688" y="76274"/>
                  </a:lnTo>
                  <a:lnTo>
                    <a:pt x="73962" y="73709"/>
                  </a:lnTo>
                  <a:lnTo>
                    <a:pt x="74783" y="65434"/>
                  </a:lnTo>
                  <a:lnTo>
                    <a:pt x="80092" y="44341"/>
                  </a:lnTo>
                  <a:lnTo>
                    <a:pt x="92303" y="32893"/>
                  </a:lnTo>
                  <a:lnTo>
                    <a:pt x="104671" y="32593"/>
                  </a:lnTo>
                  <a:lnTo>
                    <a:pt x="106679" y="27408"/>
                  </a:lnTo>
                  <a:lnTo>
                    <a:pt x="121800" y="29709"/>
                  </a:lnTo>
                  <a:lnTo>
                    <a:pt x="138286" y="17330"/>
                  </a:lnTo>
                  <a:lnTo>
                    <a:pt x="146398" y="11866"/>
                  </a:lnTo>
                  <a:lnTo>
                    <a:pt x="156950" y="0"/>
                  </a:lnTo>
                  <a:lnTo>
                    <a:pt x="163724" y="1630"/>
                  </a:lnTo>
                  <a:lnTo>
                    <a:pt x="168251" y="8258"/>
                  </a:lnTo>
                  <a:lnTo>
                    <a:pt x="163715" y="16589"/>
                  </a:lnTo>
                  <a:lnTo>
                    <a:pt x="150796" y="20587"/>
                  </a:lnTo>
                  <a:lnTo>
                    <a:pt x="144773" y="32982"/>
                  </a:lnTo>
                  <a:lnTo>
                    <a:pt x="136607" y="40031"/>
                  </a:lnTo>
                  <a:lnTo>
                    <a:pt x="130170" y="49228"/>
                  </a:lnTo>
                  <a:lnTo>
                    <a:pt x="126407" y="67006"/>
                  </a:lnTo>
                  <a:lnTo>
                    <a:pt x="119918" y="81540"/>
                  </a:lnTo>
                  <a:lnTo>
                    <a:pt x="129931" y="83327"/>
                  </a:lnTo>
                  <a:lnTo>
                    <a:pt x="131680" y="94828"/>
                  </a:lnTo>
                  <a:lnTo>
                    <a:pt x="135659" y="100364"/>
                  </a:lnTo>
                  <a:lnTo>
                    <a:pt x="136590" y="110425"/>
                  </a:lnTo>
                  <a:lnTo>
                    <a:pt x="133713" y="119639"/>
                  </a:lnTo>
                  <a:lnTo>
                    <a:pt x="134109" y="124854"/>
                  </a:lnTo>
                  <a:lnTo>
                    <a:pt x="138834" y="126977"/>
                  </a:lnTo>
                  <a:lnTo>
                    <a:pt x="143051" y="135720"/>
                  </a:lnTo>
                  <a:lnTo>
                    <a:pt x="168471" y="133539"/>
                  </a:lnTo>
                  <a:lnTo>
                    <a:pt x="179735" y="136808"/>
                  </a:lnTo>
                  <a:lnTo>
                    <a:pt x="192575" y="158336"/>
                  </a:lnTo>
                  <a:lnTo>
                    <a:pt x="200649" y="155732"/>
                  </a:lnTo>
                  <a:lnTo>
                    <a:pt x="214771" y="157165"/>
                  </a:lnTo>
                  <a:lnTo>
                    <a:pt x="226115" y="154410"/>
                  </a:lnTo>
                  <a:lnTo>
                    <a:pt x="232893" y="158728"/>
                  </a:lnTo>
                  <a:lnTo>
                    <a:pt x="228802" y="172085"/>
                  </a:lnTo>
                  <a:lnTo>
                    <a:pt x="224091" y="180401"/>
                  </a:lnTo>
                  <a:lnTo>
                    <a:pt x="221940" y="198217"/>
                  </a:lnTo>
                  <a:lnTo>
                    <a:pt x="225424" y="214749"/>
                  </a:lnTo>
                  <a:lnTo>
                    <a:pt x="230840" y="222156"/>
                  </a:lnTo>
                  <a:lnTo>
                    <a:pt x="231385" y="227721"/>
                  </a:lnTo>
                  <a:lnTo>
                    <a:pt x="221123" y="240057"/>
                  </a:lnTo>
                  <a:lnTo>
                    <a:pt x="228178" y="245556"/>
                  </a:lnTo>
                  <a:lnTo>
                    <a:pt x="233277" y="254258"/>
                  </a:lnTo>
                  <a:lnTo>
                    <a:pt x="238995" y="279042"/>
                  </a:lnTo>
                  <a:lnTo>
                    <a:pt x="235244" y="282098"/>
                  </a:lnTo>
                  <a:lnTo>
                    <a:pt x="231541" y="267437"/>
                  </a:lnTo>
                  <a:lnTo>
                    <a:pt x="226162" y="259545"/>
                  </a:lnTo>
                  <a:lnTo>
                    <a:pt x="219522" y="268098"/>
                  </a:lnTo>
                  <a:lnTo>
                    <a:pt x="181073" y="267466"/>
                  </a:lnTo>
                  <a:lnTo>
                    <a:pt x="181160" y="283049"/>
                  </a:lnTo>
                  <a:lnTo>
                    <a:pt x="192707" y="285638"/>
                  </a:lnTo>
                  <a:lnTo>
                    <a:pt x="191985" y="295171"/>
                  </a:lnTo>
                  <a:lnTo>
                    <a:pt x="188050" y="292591"/>
                  </a:lnTo>
                  <a:lnTo>
                    <a:pt x="176915" y="296686"/>
                  </a:lnTo>
                  <a:lnTo>
                    <a:pt x="176791" y="314784"/>
                  </a:lnTo>
                  <a:lnTo>
                    <a:pt x="185572" y="323866"/>
                  </a:lnTo>
                  <a:lnTo>
                    <a:pt x="188748" y="338119"/>
                  </a:lnTo>
                  <a:lnTo>
                    <a:pt x="188386" y="348916"/>
                  </a:lnTo>
                  <a:lnTo>
                    <a:pt x="180960" y="417216"/>
                  </a:lnTo>
                  <a:lnTo>
                    <a:pt x="170705" y="404022"/>
                  </a:lnTo>
                  <a:lnTo>
                    <a:pt x="164799" y="403458"/>
                  </a:lnTo>
                  <a:lnTo>
                    <a:pt x="176924" y="378052"/>
                  </a:lnTo>
                  <a:lnTo>
                    <a:pt x="161602" y="366429"/>
                  </a:lnTo>
                  <a:lnTo>
                    <a:pt x="149795" y="368605"/>
                  </a:lnTo>
                  <a:lnTo>
                    <a:pt x="142596" y="364308"/>
                  </a:lnTo>
                  <a:lnTo>
                    <a:pt x="131836" y="370938"/>
                  </a:lnTo>
                  <a:lnTo>
                    <a:pt x="117087" y="367853"/>
                  </a:lnTo>
                  <a:lnTo>
                    <a:pt x="105104" y="341680"/>
                  </a:lnTo>
                  <a:lnTo>
                    <a:pt x="95911" y="335251"/>
                  </a:lnTo>
                  <a:lnTo>
                    <a:pt x="89540" y="323451"/>
                  </a:lnTo>
                  <a:lnTo>
                    <a:pt x="76385" y="311604"/>
                  </a:lnTo>
                  <a:lnTo>
                    <a:pt x="71124" y="313978"/>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220" name="Polygon form 184"/>
            <p:cNvSpPr/>
            <p:nvPr/>
          </p:nvSpPr>
          <p:spPr>
            <a:xfrm>
              <a:off x="2277211" y="3762216"/>
              <a:ext cx="63452" cy="76296"/>
            </a:xfrm>
            <a:custGeom>
              <a:avLst/>
              <a:gdLst/>
              <a:ahLst/>
              <a:cxnLst/>
              <a:rect l="0" t="0" r="0" b="0"/>
              <a:pathLst>
                <a:path w="63452" h="76296">
                  <a:moveTo>
                    <a:pt x="52613" y="76296"/>
                  </a:moveTo>
                  <a:lnTo>
                    <a:pt x="42365" y="70567"/>
                  </a:lnTo>
                  <a:lnTo>
                    <a:pt x="38776" y="65219"/>
                  </a:lnTo>
                  <a:lnTo>
                    <a:pt x="41372" y="60865"/>
                  </a:lnTo>
                  <a:lnTo>
                    <a:pt x="41096" y="55279"/>
                  </a:lnTo>
                  <a:lnTo>
                    <a:pt x="36144" y="49162"/>
                  </a:lnTo>
                  <a:lnTo>
                    <a:pt x="28840" y="44092"/>
                  </a:lnTo>
                  <a:lnTo>
                    <a:pt x="22366" y="40758"/>
                  </a:lnTo>
                  <a:lnTo>
                    <a:pt x="21719" y="33348"/>
                  </a:lnTo>
                  <a:lnTo>
                    <a:pt x="16983" y="28757"/>
                  </a:lnTo>
                  <a:lnTo>
                    <a:pt x="17591" y="36123"/>
                  </a:lnTo>
                  <a:lnTo>
                    <a:pt x="13159" y="42106"/>
                  </a:lnTo>
                  <a:lnTo>
                    <a:pt x="9289" y="35025"/>
                  </a:lnTo>
                  <a:lnTo>
                    <a:pt x="3216" y="32432"/>
                  </a:lnTo>
                  <a:lnTo>
                    <a:pt x="999" y="27293"/>
                  </a:lnTo>
                  <a:lnTo>
                    <a:pt x="1825" y="19594"/>
                  </a:lnTo>
                  <a:lnTo>
                    <a:pt x="5176" y="11670"/>
                  </a:lnTo>
                  <a:lnTo>
                    <a:pt x="0" y="8014"/>
                  </a:lnTo>
                  <a:lnTo>
                    <a:pt x="4966" y="3204"/>
                  </a:lnTo>
                  <a:lnTo>
                    <a:pt x="8238" y="0"/>
                  </a:lnTo>
                  <a:lnTo>
                    <a:pt x="20456" y="6907"/>
                  </a:lnTo>
                  <a:lnTo>
                    <a:pt x="25276" y="3689"/>
                  </a:lnTo>
                  <a:lnTo>
                    <a:pt x="31271" y="5897"/>
                  </a:lnTo>
                  <a:lnTo>
                    <a:pt x="34012" y="11145"/>
                  </a:lnTo>
                  <a:lnTo>
                    <a:pt x="39627" y="12918"/>
                  </a:lnTo>
                  <a:lnTo>
                    <a:pt x="44820" y="7645"/>
                  </a:lnTo>
                  <a:lnTo>
                    <a:pt x="48495" y="21430"/>
                  </a:lnTo>
                  <a:lnTo>
                    <a:pt x="55164" y="31693"/>
                  </a:lnTo>
                  <a:lnTo>
                    <a:pt x="63452" y="42585"/>
                  </a:lnTo>
                  <a:lnTo>
                    <a:pt x="55685" y="44732"/>
                  </a:lnTo>
                  <a:lnTo>
                    <a:pt x="54980" y="54884"/>
                  </a:lnTo>
                  <a:lnTo>
                    <a:pt x="58768" y="58685"/>
                  </a:lnTo>
                  <a:lnTo>
                    <a:pt x="55605" y="61634"/>
                  </a:lnTo>
                  <a:lnTo>
                    <a:pt x="56024" y="66208"/>
                  </a:lnTo>
                  <a:lnTo>
                    <a:pt x="54008" y="71302"/>
                  </a:lnTo>
                  <a:lnTo>
                    <a:pt x="52613" y="76296"/>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221" name="Polygon form 185"/>
            <p:cNvSpPr/>
            <p:nvPr/>
          </p:nvSpPr>
          <p:spPr>
            <a:xfrm>
              <a:off x="2336988" y="3462404"/>
              <a:ext cx="198774" cy="86581"/>
            </a:xfrm>
            <a:custGeom>
              <a:avLst/>
              <a:gdLst/>
              <a:ahLst/>
              <a:cxnLst/>
              <a:rect l="0" t="0" r="0" b="0"/>
              <a:pathLst>
                <a:path w="198774" h="86581">
                  <a:moveTo>
                    <a:pt x="57857" y="0"/>
                  </a:moveTo>
                  <a:lnTo>
                    <a:pt x="73847" y="2323"/>
                  </a:lnTo>
                  <a:lnTo>
                    <a:pt x="88670" y="3086"/>
                  </a:lnTo>
                  <a:lnTo>
                    <a:pt x="104804" y="12171"/>
                  </a:lnTo>
                  <a:lnTo>
                    <a:pt x="110612" y="21558"/>
                  </a:lnTo>
                  <a:lnTo>
                    <a:pt x="128881" y="19273"/>
                  </a:lnTo>
                  <a:lnTo>
                    <a:pt x="134518" y="25343"/>
                  </a:lnTo>
                  <a:lnTo>
                    <a:pt x="147837" y="41277"/>
                  </a:lnTo>
                  <a:lnTo>
                    <a:pt x="157743" y="52867"/>
                  </a:lnTo>
                  <a:lnTo>
                    <a:pt x="164082" y="52698"/>
                  </a:lnTo>
                  <a:lnTo>
                    <a:pt x="174603" y="58095"/>
                  </a:lnTo>
                  <a:lnTo>
                    <a:pt x="172040" y="65078"/>
                  </a:lnTo>
                  <a:lnTo>
                    <a:pt x="185960" y="66479"/>
                  </a:lnTo>
                  <a:lnTo>
                    <a:pt x="198774" y="77052"/>
                  </a:lnTo>
                  <a:lnTo>
                    <a:pt x="195581" y="82830"/>
                  </a:lnTo>
                  <a:lnTo>
                    <a:pt x="182344" y="85671"/>
                  </a:lnTo>
                  <a:lnTo>
                    <a:pt x="169250" y="86581"/>
                  </a:lnTo>
                  <a:lnTo>
                    <a:pt x="156366" y="84266"/>
                  </a:lnTo>
                  <a:lnTo>
                    <a:pt x="128542" y="85979"/>
                  </a:lnTo>
                  <a:lnTo>
                    <a:pt x="143671" y="72383"/>
                  </a:lnTo>
                  <a:lnTo>
                    <a:pt x="136970" y="65683"/>
                  </a:lnTo>
                  <a:lnTo>
                    <a:pt x="124938" y="63673"/>
                  </a:lnTo>
                  <a:lnTo>
                    <a:pt x="119590" y="56271"/>
                  </a:lnTo>
                  <a:lnTo>
                    <a:pt x="117599" y="41904"/>
                  </a:lnTo>
                  <a:lnTo>
                    <a:pt x="106659" y="42563"/>
                  </a:lnTo>
                  <a:lnTo>
                    <a:pt x="90139" y="35324"/>
                  </a:lnTo>
                  <a:lnTo>
                    <a:pt x="85415" y="29900"/>
                  </a:lnTo>
                  <a:lnTo>
                    <a:pt x="61385" y="25250"/>
                  </a:lnTo>
                  <a:lnTo>
                    <a:pt x="55707" y="20151"/>
                  </a:lnTo>
                  <a:lnTo>
                    <a:pt x="64053" y="14116"/>
                  </a:lnTo>
                  <a:lnTo>
                    <a:pt x="45707" y="12232"/>
                  </a:lnTo>
                  <a:lnTo>
                    <a:pt x="29481" y="24829"/>
                  </a:lnTo>
                  <a:lnTo>
                    <a:pt x="21542" y="24926"/>
                  </a:lnTo>
                  <a:lnTo>
                    <a:pt x="17611" y="30967"/>
                  </a:lnTo>
                  <a:lnTo>
                    <a:pt x="7663" y="33412"/>
                  </a:lnTo>
                  <a:lnTo>
                    <a:pt x="0" y="30766"/>
                  </a:lnTo>
                  <a:lnTo>
                    <a:pt x="11573" y="23327"/>
                  </a:lnTo>
                  <a:lnTo>
                    <a:pt x="17510" y="14398"/>
                  </a:lnTo>
                  <a:lnTo>
                    <a:pt x="27214" y="9098"/>
                  </a:lnTo>
                  <a:lnTo>
                    <a:pt x="37886" y="4528"/>
                  </a:lnTo>
                  <a:lnTo>
                    <a:pt x="52711" y="2602"/>
                  </a:lnTo>
                  <a:lnTo>
                    <a:pt x="57857" y="0"/>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22" name="Polygon form 186"/>
            <p:cNvSpPr/>
            <p:nvPr/>
          </p:nvSpPr>
          <p:spPr>
            <a:xfrm>
              <a:off x="4555129" y="3179691"/>
              <a:ext cx="31768" cy="16641"/>
            </a:xfrm>
            <a:custGeom>
              <a:avLst/>
              <a:gdLst/>
              <a:ahLst/>
              <a:cxnLst/>
              <a:rect l="0" t="0" r="0" b="0"/>
              <a:pathLst>
                <a:path w="31768" h="16641">
                  <a:moveTo>
                    <a:pt x="0" y="13496"/>
                  </a:moveTo>
                  <a:lnTo>
                    <a:pt x="1266" y="13340"/>
                  </a:lnTo>
                  <a:lnTo>
                    <a:pt x="3158" y="7448"/>
                  </a:lnTo>
                  <a:lnTo>
                    <a:pt x="16250" y="7540"/>
                  </a:lnTo>
                  <a:lnTo>
                    <a:pt x="31768" y="0"/>
                  </a:lnTo>
                  <a:lnTo>
                    <a:pt x="20879" y="10552"/>
                  </a:lnTo>
                  <a:lnTo>
                    <a:pt x="22782" y="15067"/>
                  </a:lnTo>
                  <a:lnTo>
                    <a:pt x="20728" y="14252"/>
                  </a:lnTo>
                  <a:lnTo>
                    <a:pt x="17494" y="16151"/>
                  </a:lnTo>
                  <a:lnTo>
                    <a:pt x="14713" y="15695"/>
                  </a:lnTo>
                  <a:lnTo>
                    <a:pt x="13925" y="16641"/>
                  </a:lnTo>
                  <a:lnTo>
                    <a:pt x="13256" y="14197"/>
                  </a:lnTo>
                  <a:lnTo>
                    <a:pt x="11760" y="12735"/>
                  </a:lnTo>
                  <a:lnTo>
                    <a:pt x="8230" y="12546"/>
                  </a:lnTo>
                  <a:lnTo>
                    <a:pt x="3564" y="14700"/>
                  </a:lnTo>
                  <a:lnTo>
                    <a:pt x="0" y="13496"/>
                  </a:lnTo>
                  <a:close/>
                </a:path>
              </a:pathLst>
            </a:custGeom>
            <a:solidFill>
              <a:srgbClr val="F7FBFF">
                <a:alpha val="100000"/>
              </a:srgbClr>
            </a:solidFill>
            <a:ln w="5400">
              <a:solidFill>
                <a:srgbClr val="7F7F7F">
                  <a:alpha val="100000"/>
                </a:srgbClr>
              </a:solidFill>
              <a:prstDash val="solid"/>
              <a:round/>
            </a:ln>
          </p:spPr>
          <p:txBody>
            <a:bodyPr/>
            <a:lstStyle/>
            <a:p/>
          </p:txBody>
        </p:sp>
        <p:sp>
          <p:nvSpPr>
            <p:cNvPr id="223" name="Polygon form 187"/>
            <p:cNvSpPr/>
            <p:nvPr/>
          </p:nvSpPr>
          <p:spPr>
            <a:xfrm>
              <a:off x="4546617" y="3192237"/>
              <a:ext cx="32110" cy="14641"/>
            </a:xfrm>
            <a:custGeom>
              <a:avLst/>
              <a:gdLst/>
              <a:ahLst/>
              <a:cxnLst/>
              <a:rect l="0" t="0" r="0" b="0"/>
              <a:pathLst>
                <a:path w="32110" h="14641">
                  <a:moveTo>
                    <a:pt x="31294" y="2521"/>
                  </a:moveTo>
                  <a:lnTo>
                    <a:pt x="32110" y="4461"/>
                  </a:lnTo>
                  <a:lnTo>
                    <a:pt x="14710" y="14641"/>
                  </a:lnTo>
                  <a:lnTo>
                    <a:pt x="5424" y="11650"/>
                  </a:lnTo>
                  <a:lnTo>
                    <a:pt x="0" y="1993"/>
                  </a:lnTo>
                  <a:lnTo>
                    <a:pt x="8512" y="950"/>
                  </a:lnTo>
                  <a:lnTo>
                    <a:pt x="12076" y="2155"/>
                  </a:lnTo>
                  <a:lnTo>
                    <a:pt x="16742" y="0"/>
                  </a:lnTo>
                  <a:lnTo>
                    <a:pt x="20272" y="190"/>
                  </a:lnTo>
                  <a:lnTo>
                    <a:pt x="21767" y="1652"/>
                  </a:lnTo>
                  <a:lnTo>
                    <a:pt x="22437" y="4095"/>
                  </a:lnTo>
                  <a:lnTo>
                    <a:pt x="23225" y="3149"/>
                  </a:lnTo>
                  <a:lnTo>
                    <a:pt x="26006" y="3605"/>
                  </a:lnTo>
                  <a:lnTo>
                    <a:pt x="29240" y="1706"/>
                  </a:lnTo>
                  <a:lnTo>
                    <a:pt x="31294" y="2521"/>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24" name="Polygon form 188"/>
            <p:cNvSpPr/>
            <p:nvPr/>
          </p:nvSpPr>
          <p:spPr>
            <a:xfrm>
              <a:off x="2657061" y="4587426"/>
              <a:ext cx="293829" cy="750080"/>
            </a:xfrm>
            <a:custGeom>
              <a:avLst/>
              <a:gdLst/>
              <a:ahLst/>
              <a:cxnLst/>
              <a:rect l="0" t="0" r="0" b="0"/>
              <a:pathLst>
                <a:path w="293829" h="750080">
                  <a:moveTo>
                    <a:pt x="61572" y="5425"/>
                  </a:moveTo>
                  <a:lnTo>
                    <a:pt x="75490" y="22996"/>
                  </a:lnTo>
                  <a:lnTo>
                    <a:pt x="79912" y="2957"/>
                  </a:lnTo>
                  <a:lnTo>
                    <a:pt x="101804" y="3477"/>
                  </a:lnTo>
                  <a:lnTo>
                    <a:pt x="105652" y="8686"/>
                  </a:lnTo>
                  <a:lnTo>
                    <a:pt x="146623" y="48079"/>
                  </a:lnTo>
                  <a:lnTo>
                    <a:pt x="162688" y="51456"/>
                  </a:lnTo>
                  <a:lnTo>
                    <a:pt x="188587" y="69076"/>
                  </a:lnTo>
                  <a:lnTo>
                    <a:pt x="209514" y="78220"/>
                  </a:lnTo>
                  <a:lnTo>
                    <a:pt x="213898" y="88994"/>
                  </a:lnTo>
                  <a:lnTo>
                    <a:pt x="201458" y="126783"/>
                  </a:lnTo>
                  <a:lnTo>
                    <a:pt x="221461" y="132981"/>
                  </a:lnTo>
                  <a:lnTo>
                    <a:pt x="243096" y="136193"/>
                  </a:lnTo>
                  <a:lnTo>
                    <a:pt x="257252" y="131886"/>
                  </a:lnTo>
                  <a:lnTo>
                    <a:pt x="271293" y="112701"/>
                  </a:lnTo>
                  <a:lnTo>
                    <a:pt x="271096" y="91001"/>
                  </a:lnTo>
                  <a:lnTo>
                    <a:pt x="279741" y="86095"/>
                  </a:lnTo>
                  <a:lnTo>
                    <a:pt x="291270" y="100025"/>
                  </a:lnTo>
                  <a:lnTo>
                    <a:pt x="293829" y="119593"/>
                  </a:lnTo>
                  <a:lnTo>
                    <a:pt x="280152" y="133468"/>
                  </a:lnTo>
                  <a:lnTo>
                    <a:pt x="269198" y="143750"/>
                  </a:lnTo>
                  <a:lnTo>
                    <a:pt x="252150" y="168077"/>
                  </a:lnTo>
                  <a:lnTo>
                    <a:pt x="233399" y="202174"/>
                  </a:lnTo>
                  <a:lnTo>
                    <a:pt x="232498" y="221924"/>
                  </a:lnTo>
                  <a:lnTo>
                    <a:pt x="232524" y="247264"/>
                  </a:lnTo>
                  <a:lnTo>
                    <a:pt x="237668" y="271664"/>
                  </a:lnTo>
                  <a:lnTo>
                    <a:pt x="234847" y="277240"/>
                  </a:lnTo>
                  <a:lnTo>
                    <a:pt x="236786" y="293115"/>
                  </a:lnTo>
                  <a:lnTo>
                    <a:pt x="238305" y="305938"/>
                  </a:lnTo>
                  <a:lnTo>
                    <a:pt x="265819" y="326163"/>
                  </a:lnTo>
                  <a:lnTo>
                    <a:pt x="267096" y="343104"/>
                  </a:lnTo>
                  <a:lnTo>
                    <a:pt x="280695" y="353390"/>
                  </a:lnTo>
                  <a:lnTo>
                    <a:pt x="282488" y="365358"/>
                  </a:lnTo>
                  <a:lnTo>
                    <a:pt x="272737" y="397274"/>
                  </a:lnTo>
                  <a:lnTo>
                    <a:pt x="249730" y="411316"/>
                  </a:lnTo>
                  <a:lnTo>
                    <a:pt x="215655" y="417719"/>
                  </a:lnTo>
                  <a:lnTo>
                    <a:pt x="195644" y="415995"/>
                  </a:lnTo>
                  <a:lnTo>
                    <a:pt x="203249" y="430445"/>
                  </a:lnTo>
                  <a:lnTo>
                    <a:pt x="204658" y="448894"/>
                  </a:lnTo>
                  <a:lnTo>
                    <a:pt x="211304" y="461095"/>
                  </a:lnTo>
                  <a:lnTo>
                    <a:pt x="203297" y="470118"/>
                  </a:lnTo>
                  <a:lnTo>
                    <a:pt x="186480" y="474226"/>
                  </a:lnTo>
                  <a:lnTo>
                    <a:pt x="167183" y="466019"/>
                  </a:lnTo>
                  <a:lnTo>
                    <a:pt x="162366" y="472704"/>
                  </a:lnTo>
                  <a:lnTo>
                    <a:pt x="172075" y="496905"/>
                  </a:lnTo>
                  <a:lnTo>
                    <a:pt x="185932" y="503761"/>
                  </a:lnTo>
                  <a:lnTo>
                    <a:pt x="193044" y="495652"/>
                  </a:lnTo>
                  <a:lnTo>
                    <a:pt x="201972" y="508125"/>
                  </a:lnTo>
                  <a:lnTo>
                    <a:pt x="188480" y="516389"/>
                  </a:lnTo>
                  <a:lnTo>
                    <a:pt x="179500" y="532184"/>
                  </a:lnTo>
                  <a:lnTo>
                    <a:pt x="184908" y="556858"/>
                  </a:lnTo>
                  <a:lnTo>
                    <a:pt x="185221" y="570106"/>
                  </a:lnTo>
                  <a:lnTo>
                    <a:pt x="169329" y="570920"/>
                  </a:lnTo>
                  <a:lnTo>
                    <a:pt x="160431" y="584048"/>
                  </a:lnTo>
                  <a:lnTo>
                    <a:pt x="162046" y="602571"/>
                  </a:lnTo>
                  <a:lnTo>
                    <a:pt x="184727" y="619615"/>
                  </a:lnTo>
                  <a:lnTo>
                    <a:pt x="202307" y="623770"/>
                  </a:lnTo>
                  <a:lnTo>
                    <a:pt x="204436" y="645883"/>
                  </a:lnTo>
                  <a:lnTo>
                    <a:pt x="190144" y="660572"/>
                  </a:lnTo>
                  <a:lnTo>
                    <a:pt x="190466" y="689615"/>
                  </a:lnTo>
                  <a:lnTo>
                    <a:pt x="179528" y="699975"/>
                  </a:lnTo>
                  <a:lnTo>
                    <a:pt x="177523" y="711700"/>
                  </a:lnTo>
                  <a:lnTo>
                    <a:pt x="192999" y="736621"/>
                  </a:lnTo>
                  <a:lnTo>
                    <a:pt x="209349" y="750080"/>
                  </a:lnTo>
                  <a:lnTo>
                    <a:pt x="202186" y="749218"/>
                  </a:lnTo>
                  <a:lnTo>
                    <a:pt x="185958" y="746225"/>
                  </a:lnTo>
                  <a:lnTo>
                    <a:pt x="146413" y="745135"/>
                  </a:lnTo>
                  <a:lnTo>
                    <a:pt x="133710" y="731367"/>
                  </a:lnTo>
                  <a:lnTo>
                    <a:pt x="126227" y="713164"/>
                  </a:lnTo>
                  <a:lnTo>
                    <a:pt x="116261" y="715337"/>
                  </a:lnTo>
                  <a:lnTo>
                    <a:pt x="106853" y="706848"/>
                  </a:lnTo>
                  <a:lnTo>
                    <a:pt x="94554" y="681137"/>
                  </a:lnTo>
                  <a:lnTo>
                    <a:pt x="102570" y="669731"/>
                  </a:lnTo>
                  <a:lnTo>
                    <a:pt x="101495" y="653993"/>
                  </a:lnTo>
                  <a:lnTo>
                    <a:pt x="94692" y="641772"/>
                  </a:lnTo>
                  <a:lnTo>
                    <a:pt x="95310" y="620478"/>
                  </a:lnTo>
                  <a:lnTo>
                    <a:pt x="89212" y="587828"/>
                  </a:lnTo>
                  <a:lnTo>
                    <a:pt x="82155" y="573573"/>
                  </a:lnTo>
                  <a:lnTo>
                    <a:pt x="87818" y="568567"/>
                  </a:lnTo>
                  <a:lnTo>
                    <a:pt x="82712" y="559445"/>
                  </a:lnTo>
                  <a:lnTo>
                    <a:pt x="73130" y="554941"/>
                  </a:lnTo>
                  <a:lnTo>
                    <a:pt x="75067" y="544392"/>
                  </a:lnTo>
                  <a:lnTo>
                    <a:pt x="64147" y="535495"/>
                  </a:lnTo>
                  <a:lnTo>
                    <a:pt x="50390" y="507423"/>
                  </a:lnTo>
                  <a:lnTo>
                    <a:pt x="55598" y="502096"/>
                  </a:lnTo>
                  <a:lnTo>
                    <a:pt x="42764" y="472327"/>
                  </a:lnTo>
                  <a:lnTo>
                    <a:pt x="38767" y="446983"/>
                  </a:lnTo>
                  <a:lnTo>
                    <a:pt x="36613" y="424844"/>
                  </a:lnTo>
                  <a:lnTo>
                    <a:pt x="44423" y="415448"/>
                  </a:lnTo>
                  <a:lnTo>
                    <a:pt x="31921" y="391676"/>
                  </a:lnTo>
                  <a:lnTo>
                    <a:pt x="25313" y="369065"/>
                  </a:lnTo>
                  <a:lnTo>
                    <a:pt x="34293" y="352418"/>
                  </a:lnTo>
                  <a:lnTo>
                    <a:pt x="28250" y="331857"/>
                  </a:lnTo>
                  <a:lnTo>
                    <a:pt x="32163" y="307393"/>
                  </a:lnTo>
                  <a:lnTo>
                    <a:pt x="26414" y="284718"/>
                  </a:lnTo>
                  <a:lnTo>
                    <a:pt x="20566" y="280392"/>
                  </a:lnTo>
                  <a:lnTo>
                    <a:pt x="1724" y="238095"/>
                  </a:lnTo>
                  <a:lnTo>
                    <a:pt x="7114" y="212277"/>
                  </a:lnTo>
                  <a:lnTo>
                    <a:pt x="0" y="188404"/>
                  </a:lnTo>
                  <a:lnTo>
                    <a:pt x="1767" y="165713"/>
                  </a:lnTo>
                  <a:lnTo>
                    <a:pt x="9151" y="142128"/>
                  </a:lnTo>
                  <a:lnTo>
                    <a:pt x="19275" y="126344"/>
                  </a:lnTo>
                  <a:lnTo>
                    <a:pt x="11782" y="116811"/>
                  </a:lnTo>
                  <a:lnTo>
                    <a:pt x="14169" y="108733"/>
                  </a:lnTo>
                  <a:lnTo>
                    <a:pt x="5981" y="67520"/>
                  </a:lnTo>
                  <a:lnTo>
                    <a:pt x="24443" y="54753"/>
                  </a:lnTo>
                  <a:lnTo>
                    <a:pt x="26661" y="28882"/>
                  </a:lnTo>
                  <a:lnTo>
                    <a:pt x="23351" y="22746"/>
                  </a:lnTo>
                  <a:lnTo>
                    <a:pt x="35714" y="0"/>
                  </a:lnTo>
                  <a:lnTo>
                    <a:pt x="61572" y="5425"/>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225" name="Polygon form 189"/>
            <p:cNvSpPr/>
            <p:nvPr/>
          </p:nvSpPr>
          <p:spPr>
            <a:xfrm>
              <a:off x="2861688" y="5344861"/>
              <a:ext cx="76852" cy="61345"/>
            </a:xfrm>
            <a:custGeom>
              <a:avLst/>
              <a:gdLst/>
              <a:ahLst/>
              <a:cxnLst/>
              <a:rect l="0" t="0" r="0" b="0"/>
              <a:pathLst>
                <a:path w="76852" h="61345">
                  <a:moveTo>
                    <a:pt x="75025" y="59350"/>
                  </a:moveTo>
                  <a:lnTo>
                    <a:pt x="60961" y="61345"/>
                  </a:lnTo>
                  <a:lnTo>
                    <a:pt x="49428" y="53245"/>
                  </a:lnTo>
                  <a:lnTo>
                    <a:pt x="39873" y="53108"/>
                  </a:lnTo>
                  <a:lnTo>
                    <a:pt x="23396" y="54016"/>
                  </a:lnTo>
                  <a:lnTo>
                    <a:pt x="0" y="0"/>
                  </a:lnTo>
                  <a:lnTo>
                    <a:pt x="10773" y="10896"/>
                  </a:lnTo>
                  <a:lnTo>
                    <a:pt x="26305" y="28615"/>
                  </a:lnTo>
                  <a:lnTo>
                    <a:pt x="52660" y="42022"/>
                  </a:lnTo>
                  <a:lnTo>
                    <a:pt x="76852" y="46905"/>
                  </a:lnTo>
                  <a:lnTo>
                    <a:pt x="75025" y="59350"/>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226" name="Polygon form 190"/>
            <p:cNvSpPr/>
            <p:nvPr/>
          </p:nvSpPr>
          <p:spPr>
            <a:xfrm>
              <a:off x="4161868" y="2811722"/>
              <a:ext cx="110803" cy="61821"/>
            </a:xfrm>
            <a:custGeom>
              <a:avLst/>
              <a:gdLst/>
              <a:ahLst/>
              <a:cxnLst/>
              <a:rect l="0" t="0" r="0" b="0"/>
              <a:pathLst>
                <a:path w="110803" h="61821">
                  <a:moveTo>
                    <a:pt x="81502" y="60334"/>
                  </a:moveTo>
                  <a:lnTo>
                    <a:pt x="73400" y="55867"/>
                  </a:lnTo>
                  <a:lnTo>
                    <a:pt x="65689" y="57210"/>
                  </a:lnTo>
                  <a:lnTo>
                    <a:pt x="52135" y="49987"/>
                  </a:lnTo>
                  <a:lnTo>
                    <a:pt x="46433" y="51852"/>
                  </a:lnTo>
                  <a:lnTo>
                    <a:pt x="37851" y="61821"/>
                  </a:lnTo>
                  <a:lnTo>
                    <a:pt x="24872" y="54176"/>
                  </a:lnTo>
                  <a:lnTo>
                    <a:pt x="14724" y="43890"/>
                  </a:lnTo>
                  <a:lnTo>
                    <a:pt x="5851" y="38167"/>
                  </a:lnTo>
                  <a:lnTo>
                    <a:pt x="3388" y="28006"/>
                  </a:lnTo>
                  <a:lnTo>
                    <a:pt x="0" y="20860"/>
                  </a:lnTo>
                  <a:lnTo>
                    <a:pt x="11575" y="15497"/>
                  </a:lnTo>
                  <a:lnTo>
                    <a:pt x="17215" y="9427"/>
                  </a:lnTo>
                  <a:lnTo>
                    <a:pt x="28610" y="4636"/>
                  </a:lnTo>
                  <a:lnTo>
                    <a:pt x="32333" y="0"/>
                  </a:lnTo>
                  <a:lnTo>
                    <a:pt x="36877" y="2728"/>
                  </a:lnTo>
                  <a:lnTo>
                    <a:pt x="43956" y="131"/>
                  </a:lnTo>
                  <a:lnTo>
                    <a:pt x="52398" y="7814"/>
                  </a:lnTo>
                  <a:lnTo>
                    <a:pt x="64844" y="9773"/>
                  </a:lnTo>
                  <a:lnTo>
                    <a:pt x="64438" y="16425"/>
                  </a:lnTo>
                  <a:lnTo>
                    <a:pt x="73841" y="21311"/>
                  </a:lnTo>
                  <a:lnTo>
                    <a:pt x="75698" y="15049"/>
                  </a:lnTo>
                  <a:lnTo>
                    <a:pt x="87232" y="17607"/>
                  </a:lnTo>
                  <a:lnTo>
                    <a:pt x="89551" y="25145"/>
                  </a:lnTo>
                  <a:lnTo>
                    <a:pt x="101955" y="26444"/>
                  </a:lnTo>
                  <a:lnTo>
                    <a:pt x="110803" y="38228"/>
                  </a:lnTo>
                  <a:lnTo>
                    <a:pt x="105870" y="38323"/>
                  </a:lnTo>
                  <a:lnTo>
                    <a:pt x="103751" y="42703"/>
                  </a:lnTo>
                  <a:lnTo>
                    <a:pt x="100052" y="43802"/>
                  </a:lnTo>
                  <a:lnTo>
                    <a:pt x="99517" y="49308"/>
                  </a:lnTo>
                  <a:lnTo>
                    <a:pt x="96449" y="50495"/>
                  </a:lnTo>
                  <a:lnTo>
                    <a:pt x="96222" y="52746"/>
                  </a:lnTo>
                  <a:lnTo>
                    <a:pt x="90782" y="55315"/>
                  </a:lnTo>
                  <a:lnTo>
                    <a:pt x="83367" y="54996"/>
                  </a:lnTo>
                  <a:lnTo>
                    <a:pt x="81502" y="60334"/>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227" name="Polygon form 191"/>
            <p:cNvSpPr/>
            <p:nvPr/>
          </p:nvSpPr>
          <p:spPr>
            <a:xfrm>
              <a:off x="4057588" y="2719087"/>
              <a:ext cx="148237" cy="185258"/>
            </a:xfrm>
            <a:custGeom>
              <a:avLst/>
              <a:gdLst/>
              <a:ahLst/>
              <a:cxnLst/>
              <a:rect l="0" t="0" r="0" b="0"/>
              <a:pathLst>
                <a:path w="148237" h="185258">
                  <a:moveTo>
                    <a:pt x="59301" y="0"/>
                  </a:moveTo>
                  <a:lnTo>
                    <a:pt x="60168" y="9321"/>
                  </a:lnTo>
                  <a:lnTo>
                    <a:pt x="76562" y="14816"/>
                  </a:lnTo>
                  <a:lnTo>
                    <a:pt x="76979" y="23380"/>
                  </a:lnTo>
                  <a:lnTo>
                    <a:pt x="92834" y="18709"/>
                  </a:lnTo>
                  <a:lnTo>
                    <a:pt x="101251" y="12018"/>
                  </a:lnTo>
                  <a:lnTo>
                    <a:pt x="119965" y="21366"/>
                  </a:lnTo>
                  <a:lnTo>
                    <a:pt x="128153" y="28971"/>
                  </a:lnTo>
                  <a:lnTo>
                    <a:pt x="132966" y="41209"/>
                  </a:lnTo>
                  <a:lnTo>
                    <a:pt x="129049" y="47697"/>
                  </a:lnTo>
                  <a:lnTo>
                    <a:pt x="135637" y="56234"/>
                  </a:lnTo>
                  <a:lnTo>
                    <a:pt x="140762" y="69098"/>
                  </a:lnTo>
                  <a:lnTo>
                    <a:pt x="140220" y="77431"/>
                  </a:lnTo>
                  <a:lnTo>
                    <a:pt x="148237" y="92767"/>
                  </a:lnTo>
                  <a:lnTo>
                    <a:pt x="141157" y="95363"/>
                  </a:lnTo>
                  <a:lnTo>
                    <a:pt x="136614" y="92635"/>
                  </a:lnTo>
                  <a:lnTo>
                    <a:pt x="132890" y="97271"/>
                  </a:lnTo>
                  <a:lnTo>
                    <a:pt x="121496" y="102062"/>
                  </a:lnTo>
                  <a:lnTo>
                    <a:pt x="115855" y="108132"/>
                  </a:lnTo>
                  <a:lnTo>
                    <a:pt x="104281" y="113495"/>
                  </a:lnTo>
                  <a:lnTo>
                    <a:pt x="107668" y="120642"/>
                  </a:lnTo>
                  <a:lnTo>
                    <a:pt x="110132" y="130802"/>
                  </a:lnTo>
                  <a:lnTo>
                    <a:pt x="119004" y="136525"/>
                  </a:lnTo>
                  <a:lnTo>
                    <a:pt x="129153" y="146811"/>
                  </a:lnTo>
                  <a:lnTo>
                    <a:pt x="124089" y="157993"/>
                  </a:lnTo>
                  <a:lnTo>
                    <a:pt x="118300" y="161112"/>
                  </a:lnTo>
                  <a:lnTo>
                    <a:pt x="121773" y="176814"/>
                  </a:lnTo>
                  <a:lnTo>
                    <a:pt x="120488" y="180930"/>
                  </a:lnTo>
                  <a:lnTo>
                    <a:pt x="114905" y="176035"/>
                  </a:lnTo>
                  <a:lnTo>
                    <a:pt x="106799" y="175363"/>
                  </a:lnTo>
                  <a:lnTo>
                    <a:pt x="95047" y="179788"/>
                  </a:lnTo>
                  <a:lnTo>
                    <a:pt x="80146" y="178872"/>
                  </a:lnTo>
                  <a:lnTo>
                    <a:pt x="78101" y="185258"/>
                  </a:lnTo>
                  <a:lnTo>
                    <a:pt x="69218" y="178616"/>
                  </a:lnTo>
                  <a:lnTo>
                    <a:pt x="64207" y="179981"/>
                  </a:lnTo>
                  <a:lnTo>
                    <a:pt x="45833" y="172716"/>
                  </a:lnTo>
                  <a:lnTo>
                    <a:pt x="42618" y="177978"/>
                  </a:lnTo>
                  <a:lnTo>
                    <a:pt x="28303" y="177887"/>
                  </a:lnTo>
                  <a:lnTo>
                    <a:pt x="29736" y="160686"/>
                  </a:lnTo>
                  <a:lnTo>
                    <a:pt x="37462" y="144119"/>
                  </a:lnTo>
                  <a:lnTo>
                    <a:pt x="13319" y="139800"/>
                  </a:lnTo>
                  <a:lnTo>
                    <a:pt x="5260" y="133518"/>
                  </a:lnTo>
                  <a:lnTo>
                    <a:pt x="5826" y="122937"/>
                  </a:lnTo>
                  <a:lnTo>
                    <a:pt x="2340" y="117503"/>
                  </a:lnTo>
                  <a:lnTo>
                    <a:pt x="3639" y="101194"/>
                  </a:lnTo>
                  <a:lnTo>
                    <a:pt x="0" y="75925"/>
                  </a:lnTo>
                  <a:lnTo>
                    <a:pt x="9762" y="75870"/>
                  </a:lnTo>
                  <a:lnTo>
                    <a:pt x="13511" y="66769"/>
                  </a:lnTo>
                  <a:lnTo>
                    <a:pt x="16601" y="44658"/>
                  </a:lnTo>
                  <a:lnTo>
                    <a:pt x="13254" y="36517"/>
                  </a:lnTo>
                  <a:lnTo>
                    <a:pt x="16157" y="31392"/>
                  </a:lnTo>
                  <a:lnTo>
                    <a:pt x="29448" y="30004"/>
                  </a:lnTo>
                  <a:lnTo>
                    <a:pt x="32677" y="35306"/>
                  </a:lnTo>
                  <a:lnTo>
                    <a:pt x="42895" y="23343"/>
                  </a:lnTo>
                  <a:lnTo>
                    <a:pt x="38768" y="14323"/>
                  </a:lnTo>
                  <a:lnTo>
                    <a:pt x="37302" y="647"/>
                  </a:lnTo>
                  <a:lnTo>
                    <a:pt x="49421" y="3747"/>
                  </a:lnTo>
                  <a:lnTo>
                    <a:pt x="59301" y="0"/>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28" name="Polygon form 192"/>
            <p:cNvSpPr/>
            <p:nvPr/>
          </p:nvSpPr>
          <p:spPr>
            <a:xfrm>
              <a:off x="4775663" y="3736119"/>
              <a:ext cx="31411" cy="43305"/>
            </a:xfrm>
            <a:custGeom>
              <a:avLst/>
              <a:gdLst/>
              <a:ahLst/>
              <a:cxnLst/>
              <a:rect l="0" t="0" r="0" b="0"/>
              <a:pathLst>
                <a:path w="31411" h="43305">
                  <a:moveTo>
                    <a:pt x="26367" y="0"/>
                  </a:moveTo>
                  <a:lnTo>
                    <a:pt x="31411" y="7512"/>
                  </a:lnTo>
                  <a:lnTo>
                    <a:pt x="31346" y="17651"/>
                  </a:lnTo>
                  <a:lnTo>
                    <a:pt x="20494" y="23581"/>
                  </a:lnTo>
                  <a:lnTo>
                    <a:pt x="29238" y="30191"/>
                  </a:lnTo>
                  <a:lnTo>
                    <a:pt x="22670" y="43305"/>
                  </a:lnTo>
                  <a:lnTo>
                    <a:pt x="18114" y="38989"/>
                  </a:lnTo>
                  <a:lnTo>
                    <a:pt x="13482" y="40755"/>
                  </a:lnTo>
                  <a:lnTo>
                    <a:pt x="2524" y="40428"/>
                  </a:lnTo>
                  <a:lnTo>
                    <a:pt x="1855" y="33012"/>
                  </a:lnTo>
                  <a:lnTo>
                    <a:pt x="0" y="26291"/>
                  </a:lnTo>
                  <a:lnTo>
                    <a:pt x="6032" y="14806"/>
                  </a:lnTo>
                  <a:lnTo>
                    <a:pt x="12326" y="3963"/>
                  </a:lnTo>
                  <a:lnTo>
                    <a:pt x="20806" y="6010"/>
                  </a:lnTo>
                  <a:lnTo>
                    <a:pt x="26367" y="0"/>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229" name="Polygon form 193"/>
            <p:cNvSpPr/>
            <p:nvPr/>
          </p:nvSpPr>
          <p:spPr>
            <a:xfrm>
              <a:off x="4086006" y="2652738"/>
              <a:ext cx="43991" cy="70096"/>
            </a:xfrm>
            <a:custGeom>
              <a:avLst/>
              <a:gdLst/>
              <a:ahLst/>
              <a:cxnLst/>
              <a:rect l="0" t="0" r="0" b="0"/>
              <a:pathLst>
                <a:path w="43991" h="70096">
                  <a:moveTo>
                    <a:pt x="43991" y="30628"/>
                  </a:moveTo>
                  <a:lnTo>
                    <a:pt x="40829" y="39760"/>
                  </a:lnTo>
                  <a:lnTo>
                    <a:pt x="36003" y="37178"/>
                  </a:lnTo>
                  <a:lnTo>
                    <a:pt x="25866" y="54635"/>
                  </a:lnTo>
                  <a:lnTo>
                    <a:pt x="30883" y="66349"/>
                  </a:lnTo>
                  <a:lnTo>
                    <a:pt x="21003" y="70096"/>
                  </a:lnTo>
                  <a:lnTo>
                    <a:pt x="8884" y="66996"/>
                  </a:lnTo>
                  <a:lnTo>
                    <a:pt x="1779" y="53648"/>
                  </a:lnTo>
                  <a:lnTo>
                    <a:pt x="0" y="28989"/>
                  </a:lnTo>
                  <a:lnTo>
                    <a:pt x="2233" y="22460"/>
                  </a:lnTo>
                  <a:lnTo>
                    <a:pt x="6265" y="15193"/>
                  </a:lnTo>
                  <a:lnTo>
                    <a:pt x="19780" y="13600"/>
                  </a:lnTo>
                  <a:lnTo>
                    <a:pt x="24761" y="6904"/>
                  </a:lnTo>
                  <a:lnTo>
                    <a:pt x="36654" y="0"/>
                  </a:lnTo>
                  <a:lnTo>
                    <a:pt x="37017" y="12411"/>
                  </a:lnTo>
                  <a:lnTo>
                    <a:pt x="32988" y="20305"/>
                  </a:lnTo>
                  <a:lnTo>
                    <a:pt x="35311" y="27046"/>
                  </a:lnTo>
                  <a:lnTo>
                    <a:pt x="43991" y="30628"/>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230" name="Polygon form 194"/>
            <p:cNvSpPr/>
            <p:nvPr/>
          </p:nvSpPr>
          <p:spPr>
            <a:xfrm>
              <a:off x="4131036" y="2691536"/>
              <a:ext cx="28295" cy="31679"/>
            </a:xfrm>
            <a:custGeom>
              <a:avLst/>
              <a:gdLst/>
              <a:ahLst/>
              <a:cxnLst/>
              <a:rect l="0" t="0" r="0" b="0"/>
              <a:pathLst>
                <a:path w="28295" h="31679">
                  <a:moveTo>
                    <a:pt x="28295" y="12048"/>
                  </a:moveTo>
                  <a:lnTo>
                    <a:pt x="20402" y="31679"/>
                  </a:lnTo>
                  <a:lnTo>
                    <a:pt x="2901" y="18199"/>
                  </a:lnTo>
                  <a:lnTo>
                    <a:pt x="0" y="8203"/>
                  </a:lnTo>
                  <a:lnTo>
                    <a:pt x="22319" y="0"/>
                  </a:lnTo>
                  <a:lnTo>
                    <a:pt x="28295" y="12048"/>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231" name="Polygon form 195"/>
            <p:cNvSpPr/>
            <p:nvPr/>
          </p:nvSpPr>
          <p:spPr>
            <a:xfrm>
              <a:off x="2572403" y="3550632"/>
              <a:ext cx="69791" cy="56934"/>
            </a:xfrm>
            <a:custGeom>
              <a:avLst/>
              <a:gdLst/>
              <a:ahLst/>
              <a:cxnLst/>
              <a:rect l="0" t="0" r="0" b="0"/>
              <a:pathLst>
                <a:path w="69791" h="56934">
                  <a:moveTo>
                    <a:pt x="8424" y="4180"/>
                  </a:moveTo>
                  <a:lnTo>
                    <a:pt x="11455" y="0"/>
                  </a:lnTo>
                  <a:lnTo>
                    <a:pt x="26405" y="472"/>
                  </a:lnTo>
                  <a:lnTo>
                    <a:pt x="36830" y="7131"/>
                  </a:lnTo>
                  <a:lnTo>
                    <a:pt x="41978" y="6624"/>
                  </a:lnTo>
                  <a:lnTo>
                    <a:pt x="44205" y="15510"/>
                  </a:lnTo>
                  <a:lnTo>
                    <a:pt x="54785" y="15252"/>
                  </a:lnTo>
                  <a:lnTo>
                    <a:pt x="53135" y="22633"/>
                  </a:lnTo>
                  <a:lnTo>
                    <a:pt x="61566" y="23718"/>
                  </a:lnTo>
                  <a:lnTo>
                    <a:pt x="69791" y="33022"/>
                  </a:lnTo>
                  <a:lnTo>
                    <a:pt x="61303" y="42968"/>
                  </a:lnTo>
                  <a:lnTo>
                    <a:pt x="52855" y="37377"/>
                  </a:lnTo>
                  <a:lnTo>
                    <a:pt x="43876" y="38228"/>
                  </a:lnTo>
                  <a:lnTo>
                    <a:pt x="37700" y="36910"/>
                  </a:lnTo>
                  <a:lnTo>
                    <a:pt x="33617" y="41365"/>
                  </a:lnTo>
                  <a:lnTo>
                    <a:pt x="26015" y="42737"/>
                  </a:lnTo>
                  <a:lnTo>
                    <a:pt x="23902" y="36644"/>
                  </a:lnTo>
                  <a:lnTo>
                    <a:pt x="17047" y="40073"/>
                  </a:lnTo>
                  <a:lnTo>
                    <a:pt x="7047" y="56934"/>
                  </a:lnTo>
                  <a:lnTo>
                    <a:pt x="2606" y="52873"/>
                  </a:lnTo>
                  <a:lnTo>
                    <a:pt x="2592" y="45701"/>
                  </a:lnTo>
                  <a:lnTo>
                    <a:pt x="3914" y="38952"/>
                  </a:lnTo>
                  <a:lnTo>
                    <a:pt x="0" y="31372"/>
                  </a:lnTo>
                  <a:lnTo>
                    <a:pt x="5282" y="27287"/>
                  </a:lnTo>
                  <a:lnTo>
                    <a:pt x="8118" y="17761"/>
                  </a:lnTo>
                  <a:lnTo>
                    <a:pt x="8424" y="4180"/>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232" name="Polygon form 196"/>
            <p:cNvSpPr/>
            <p:nvPr/>
          </p:nvSpPr>
          <p:spPr>
            <a:xfrm>
              <a:off x="3796933" y="3150385"/>
              <a:ext cx="392010" cy="435949"/>
            </a:xfrm>
            <a:custGeom>
              <a:avLst/>
              <a:gdLst/>
              <a:ahLst/>
              <a:cxnLst/>
              <a:rect l="0" t="0" r="0" b="0"/>
              <a:pathLst>
                <a:path w="392010" h="435949">
                  <a:moveTo>
                    <a:pt x="392010" y="328991"/>
                  </a:moveTo>
                  <a:lnTo>
                    <a:pt x="327631" y="375233"/>
                  </a:lnTo>
                  <a:lnTo>
                    <a:pt x="272714" y="422764"/>
                  </a:lnTo>
                  <a:lnTo>
                    <a:pt x="245637" y="433564"/>
                  </a:lnTo>
                  <a:lnTo>
                    <a:pt x="224256" y="435949"/>
                  </a:lnTo>
                  <a:lnTo>
                    <a:pt x="223938" y="420600"/>
                  </a:lnTo>
                  <a:lnTo>
                    <a:pt x="214997" y="416684"/>
                  </a:lnTo>
                  <a:lnTo>
                    <a:pt x="202980" y="409793"/>
                  </a:lnTo>
                  <a:lnTo>
                    <a:pt x="198362" y="398491"/>
                  </a:lnTo>
                  <a:lnTo>
                    <a:pt x="133723" y="345858"/>
                  </a:lnTo>
                  <a:lnTo>
                    <a:pt x="69945" y="293141"/>
                  </a:lnTo>
                  <a:lnTo>
                    <a:pt x="0" y="234524"/>
                  </a:lnTo>
                  <a:lnTo>
                    <a:pt x="479" y="229849"/>
                  </a:lnTo>
                  <a:lnTo>
                    <a:pt x="511" y="228234"/>
                  </a:lnTo>
                  <a:lnTo>
                    <a:pt x="1086" y="199638"/>
                  </a:lnTo>
                  <a:lnTo>
                    <a:pt x="31676" y="181936"/>
                  </a:lnTo>
                  <a:lnTo>
                    <a:pt x="50368" y="178312"/>
                  </a:lnTo>
                  <a:lnTo>
                    <a:pt x="65730" y="171867"/>
                  </a:lnTo>
                  <a:lnTo>
                    <a:pt x="73038" y="159802"/>
                  </a:lnTo>
                  <a:lnTo>
                    <a:pt x="94875" y="150297"/>
                  </a:lnTo>
                  <a:lnTo>
                    <a:pt x="95886" y="132437"/>
                  </a:lnTo>
                  <a:lnTo>
                    <a:pt x="106604" y="130351"/>
                  </a:lnTo>
                  <a:lnTo>
                    <a:pt x="115044" y="121439"/>
                  </a:lnTo>
                  <a:lnTo>
                    <a:pt x="139211" y="117396"/>
                  </a:lnTo>
                  <a:lnTo>
                    <a:pt x="142628" y="108023"/>
                  </a:lnTo>
                  <a:lnTo>
                    <a:pt x="137803" y="102894"/>
                  </a:lnTo>
                  <a:lnTo>
                    <a:pt x="131608" y="77420"/>
                  </a:lnTo>
                  <a:lnTo>
                    <a:pt x="130615" y="62747"/>
                  </a:lnTo>
                  <a:lnTo>
                    <a:pt x="123863" y="47288"/>
                  </a:lnTo>
                  <a:lnTo>
                    <a:pt x="141406" y="34121"/>
                  </a:lnTo>
                  <a:lnTo>
                    <a:pt x="161017" y="29935"/>
                  </a:lnTo>
                  <a:lnTo>
                    <a:pt x="172438" y="19980"/>
                  </a:lnTo>
                  <a:lnTo>
                    <a:pt x="189809" y="12628"/>
                  </a:lnTo>
                  <a:lnTo>
                    <a:pt x="220352" y="8288"/>
                  </a:lnTo>
                  <a:lnTo>
                    <a:pt x="250147" y="6265"/>
                  </a:lnTo>
                  <a:lnTo>
                    <a:pt x="259315" y="9823"/>
                  </a:lnTo>
                  <a:lnTo>
                    <a:pt x="276068" y="259"/>
                  </a:lnTo>
                  <a:lnTo>
                    <a:pt x="295300" y="0"/>
                  </a:lnTo>
                  <a:lnTo>
                    <a:pt x="302794" y="5584"/>
                  </a:lnTo>
                  <a:lnTo>
                    <a:pt x="315071" y="4063"/>
                  </a:lnTo>
                  <a:lnTo>
                    <a:pt x="311812" y="16465"/>
                  </a:lnTo>
                  <a:lnTo>
                    <a:pt x="315419" y="39457"/>
                  </a:lnTo>
                  <a:lnTo>
                    <a:pt x="311753" y="59377"/>
                  </a:lnTo>
                  <a:lnTo>
                    <a:pt x="300886" y="72882"/>
                  </a:lnTo>
                  <a:lnTo>
                    <a:pt x="302994" y="91052"/>
                  </a:lnTo>
                  <a:lnTo>
                    <a:pt x="318423" y="105369"/>
                  </a:lnTo>
                  <a:lnTo>
                    <a:pt x="318753" y="111210"/>
                  </a:lnTo>
                  <a:lnTo>
                    <a:pt x="330408" y="120901"/>
                  </a:lnTo>
                  <a:lnTo>
                    <a:pt x="339633" y="164190"/>
                  </a:lnTo>
                  <a:lnTo>
                    <a:pt x="346305" y="185473"/>
                  </a:lnTo>
                  <a:lnTo>
                    <a:pt x="347659" y="196683"/>
                  </a:lnTo>
                  <a:lnTo>
                    <a:pt x="344939" y="216388"/>
                  </a:lnTo>
                  <a:lnTo>
                    <a:pt x="346608" y="227386"/>
                  </a:lnTo>
                  <a:lnTo>
                    <a:pt x="344586" y="240605"/>
                  </a:lnTo>
                  <a:lnTo>
                    <a:pt x="346642" y="255774"/>
                  </a:lnTo>
                  <a:lnTo>
                    <a:pt x="339414" y="265889"/>
                  </a:lnTo>
                  <a:lnTo>
                    <a:pt x="351053" y="283438"/>
                  </a:lnTo>
                  <a:lnTo>
                    <a:pt x="352034" y="293778"/>
                  </a:lnTo>
                  <a:lnTo>
                    <a:pt x="359135" y="307212"/>
                  </a:lnTo>
                  <a:lnTo>
                    <a:pt x="367897" y="302755"/>
                  </a:lnTo>
                  <a:lnTo>
                    <a:pt x="383215" y="313908"/>
                  </a:lnTo>
                  <a:lnTo>
                    <a:pt x="392010" y="328991"/>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33" name="Polygon form 197"/>
            <p:cNvSpPr/>
            <p:nvPr/>
          </p:nvSpPr>
          <p:spPr>
            <a:xfrm>
              <a:off x="2362403" y="4011402"/>
              <a:ext cx="112741" cy="159371"/>
            </a:xfrm>
            <a:custGeom>
              <a:avLst/>
              <a:gdLst/>
              <a:ahLst/>
              <a:cxnLst/>
              <a:rect l="0" t="0" r="0" b="0"/>
              <a:pathLst>
                <a:path w="112741" h="159371">
                  <a:moveTo>
                    <a:pt x="13816" y="120405"/>
                  </a:moveTo>
                  <a:lnTo>
                    <a:pt x="23841" y="101556"/>
                  </a:lnTo>
                  <a:lnTo>
                    <a:pt x="19350" y="90584"/>
                  </a:lnTo>
                  <a:lnTo>
                    <a:pt x="12048" y="102296"/>
                  </a:lnTo>
                  <a:lnTo>
                    <a:pt x="0" y="91303"/>
                  </a:lnTo>
                  <a:lnTo>
                    <a:pt x="3879" y="84191"/>
                  </a:lnTo>
                  <a:lnTo>
                    <a:pt x="255" y="61340"/>
                  </a:lnTo>
                  <a:lnTo>
                    <a:pt x="7139" y="57533"/>
                  </a:lnTo>
                  <a:lnTo>
                    <a:pt x="10694" y="41846"/>
                  </a:lnTo>
                  <a:lnTo>
                    <a:pt x="18169" y="25637"/>
                  </a:lnTo>
                  <a:lnTo>
                    <a:pt x="16841" y="15367"/>
                  </a:lnTo>
                  <a:lnTo>
                    <a:pt x="27695" y="9984"/>
                  </a:lnTo>
                  <a:lnTo>
                    <a:pt x="41363" y="0"/>
                  </a:lnTo>
                  <a:lnTo>
                    <a:pt x="60978" y="14372"/>
                  </a:lnTo>
                  <a:lnTo>
                    <a:pt x="64661" y="13975"/>
                  </a:lnTo>
                  <a:lnTo>
                    <a:pt x="69418" y="24775"/>
                  </a:lnTo>
                  <a:lnTo>
                    <a:pt x="86161" y="28263"/>
                  </a:lnTo>
                  <a:lnTo>
                    <a:pt x="91779" y="24277"/>
                  </a:lnTo>
                  <a:lnTo>
                    <a:pt x="101453" y="32580"/>
                  </a:lnTo>
                  <a:lnTo>
                    <a:pt x="109908" y="38511"/>
                  </a:lnTo>
                  <a:lnTo>
                    <a:pt x="112741" y="57523"/>
                  </a:lnTo>
                  <a:lnTo>
                    <a:pt x="106754" y="73814"/>
                  </a:lnTo>
                  <a:lnTo>
                    <a:pt x="85669" y="100109"/>
                  </a:lnTo>
                  <a:lnTo>
                    <a:pt x="62167" y="110091"/>
                  </a:lnTo>
                  <a:lnTo>
                    <a:pt x="50692" y="131994"/>
                  </a:lnTo>
                  <a:lnTo>
                    <a:pt x="47545" y="148963"/>
                  </a:lnTo>
                  <a:lnTo>
                    <a:pt x="36806" y="159371"/>
                  </a:lnTo>
                  <a:lnTo>
                    <a:pt x="28041" y="146731"/>
                  </a:lnTo>
                  <a:lnTo>
                    <a:pt x="19979" y="144060"/>
                  </a:lnTo>
                  <a:lnTo>
                    <a:pt x="11905" y="146114"/>
                  </a:lnTo>
                  <a:lnTo>
                    <a:pt x="11043" y="136894"/>
                  </a:lnTo>
                  <a:lnTo>
                    <a:pt x="16470" y="130870"/>
                  </a:lnTo>
                  <a:lnTo>
                    <a:pt x="13816" y="120405"/>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234" name="Polygon form 198"/>
            <p:cNvSpPr/>
            <p:nvPr/>
          </p:nvSpPr>
          <p:spPr>
            <a:xfrm>
              <a:off x="4419767" y="3280571"/>
              <a:ext cx="245903" cy="232772"/>
            </a:xfrm>
            <a:custGeom>
              <a:avLst/>
              <a:gdLst/>
              <a:ahLst/>
              <a:cxnLst/>
              <a:rect l="0" t="0" r="0" b="0"/>
              <a:pathLst>
                <a:path w="245903" h="232772">
                  <a:moveTo>
                    <a:pt x="191560" y="48687"/>
                  </a:moveTo>
                  <a:lnTo>
                    <a:pt x="187378" y="58523"/>
                  </a:lnTo>
                  <a:lnTo>
                    <a:pt x="185278" y="76919"/>
                  </a:lnTo>
                  <a:lnTo>
                    <a:pt x="181466" y="89631"/>
                  </a:lnTo>
                  <a:lnTo>
                    <a:pt x="177515" y="93933"/>
                  </a:lnTo>
                  <a:lnTo>
                    <a:pt x="170494" y="86195"/>
                  </a:lnTo>
                  <a:lnTo>
                    <a:pt x="160972" y="75491"/>
                  </a:lnTo>
                  <a:lnTo>
                    <a:pt x="144158" y="40922"/>
                  </a:lnTo>
                  <a:lnTo>
                    <a:pt x="142471" y="43149"/>
                  </a:lnTo>
                  <a:lnTo>
                    <a:pt x="152766" y="68625"/>
                  </a:lnTo>
                  <a:lnTo>
                    <a:pt x="166653" y="92846"/>
                  </a:lnTo>
                  <a:lnTo>
                    <a:pt x="184476" y="130444"/>
                  </a:lnTo>
                  <a:lnTo>
                    <a:pt x="192676" y="143545"/>
                  </a:lnTo>
                  <a:lnTo>
                    <a:pt x="200012" y="157175"/>
                  </a:lnTo>
                  <a:lnTo>
                    <a:pt x="219461" y="183832"/>
                  </a:lnTo>
                  <a:lnTo>
                    <a:pt x="216059" y="188117"/>
                  </a:lnTo>
                  <a:lnTo>
                    <a:pt x="218043" y="203897"/>
                  </a:lnTo>
                  <a:lnTo>
                    <a:pt x="242127" y="225423"/>
                  </a:lnTo>
                  <a:lnTo>
                    <a:pt x="245903" y="230359"/>
                  </a:lnTo>
                  <a:lnTo>
                    <a:pt x="170066" y="231272"/>
                  </a:lnTo>
                  <a:lnTo>
                    <a:pt x="95860" y="232061"/>
                  </a:lnTo>
                  <a:lnTo>
                    <a:pt x="18960" y="232772"/>
                  </a:lnTo>
                  <a:lnTo>
                    <a:pt x="13424" y="143632"/>
                  </a:lnTo>
                  <a:lnTo>
                    <a:pt x="7219" y="57567"/>
                  </a:lnTo>
                  <a:lnTo>
                    <a:pt x="117" y="38139"/>
                  </a:lnTo>
                  <a:lnTo>
                    <a:pt x="3709" y="23144"/>
                  </a:lnTo>
                  <a:lnTo>
                    <a:pt x="0" y="12830"/>
                  </a:lnTo>
                  <a:lnTo>
                    <a:pt x="5730" y="1139"/>
                  </a:lnTo>
                  <a:lnTo>
                    <a:pt x="30271" y="432"/>
                  </a:lnTo>
                  <a:lnTo>
                    <a:pt x="48629" y="6601"/>
                  </a:lnTo>
                  <a:lnTo>
                    <a:pt x="67658" y="13510"/>
                  </a:lnTo>
                  <a:lnTo>
                    <a:pt x="76587" y="17164"/>
                  </a:lnTo>
                  <a:lnTo>
                    <a:pt x="90097" y="9291"/>
                  </a:lnTo>
                  <a:lnTo>
                    <a:pt x="97015" y="2239"/>
                  </a:lnTo>
                  <a:lnTo>
                    <a:pt x="113096" y="0"/>
                  </a:lnTo>
                  <a:lnTo>
                    <a:pt x="126547" y="2860"/>
                  </a:lnTo>
                  <a:lnTo>
                    <a:pt x="132851" y="14806"/>
                  </a:lnTo>
                  <a:lnTo>
                    <a:pt x="136305" y="6819"/>
                  </a:lnTo>
                  <a:lnTo>
                    <a:pt x="151743" y="12316"/>
                  </a:lnTo>
                  <a:lnTo>
                    <a:pt x="166317" y="13458"/>
                  </a:lnTo>
                  <a:lnTo>
                    <a:pt x="174730" y="7198"/>
                  </a:lnTo>
                  <a:lnTo>
                    <a:pt x="191560" y="48687"/>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235" name="Polygon form 199"/>
            <p:cNvSpPr/>
            <p:nvPr/>
          </p:nvSpPr>
          <p:spPr>
            <a:xfrm>
              <a:off x="4667369" y="3607905"/>
              <a:ext cx="134660" cy="134224"/>
            </a:xfrm>
            <a:custGeom>
              <a:avLst/>
              <a:gdLst/>
              <a:ahLst/>
              <a:cxnLst/>
              <a:rect l="0" t="0" r="0" b="0"/>
              <a:pathLst>
                <a:path w="134660" h="134224">
                  <a:moveTo>
                    <a:pt x="120620" y="132177"/>
                  </a:moveTo>
                  <a:lnTo>
                    <a:pt x="113508" y="124342"/>
                  </a:lnTo>
                  <a:lnTo>
                    <a:pt x="104674" y="110117"/>
                  </a:lnTo>
                  <a:lnTo>
                    <a:pt x="95573" y="102363"/>
                  </a:lnTo>
                  <a:lnTo>
                    <a:pt x="90038" y="93993"/>
                  </a:lnTo>
                  <a:lnTo>
                    <a:pt x="72503" y="84380"/>
                  </a:lnTo>
                  <a:lnTo>
                    <a:pt x="59137" y="84210"/>
                  </a:lnTo>
                  <a:lnTo>
                    <a:pt x="54141" y="79162"/>
                  </a:lnTo>
                  <a:lnTo>
                    <a:pt x="43060" y="84990"/>
                  </a:lnTo>
                  <a:lnTo>
                    <a:pt x="30608" y="74047"/>
                  </a:lnTo>
                  <a:lnTo>
                    <a:pt x="25558" y="92260"/>
                  </a:lnTo>
                  <a:lnTo>
                    <a:pt x="2603" y="87366"/>
                  </a:lnTo>
                  <a:lnTo>
                    <a:pt x="0" y="77647"/>
                  </a:lnTo>
                  <a:lnTo>
                    <a:pt x="6274" y="41839"/>
                  </a:lnTo>
                  <a:lnTo>
                    <a:pt x="7166" y="25656"/>
                  </a:lnTo>
                  <a:lnTo>
                    <a:pt x="12777" y="18138"/>
                  </a:lnTo>
                  <a:lnTo>
                    <a:pt x="26763" y="13993"/>
                  </a:lnTo>
                  <a:lnTo>
                    <a:pt x="35579" y="0"/>
                  </a:lnTo>
                  <a:lnTo>
                    <a:pt x="48776" y="28057"/>
                  </a:lnTo>
                  <a:lnTo>
                    <a:pt x="55598" y="50349"/>
                  </a:lnTo>
                  <a:lnTo>
                    <a:pt x="67005" y="62106"/>
                  </a:lnTo>
                  <a:lnTo>
                    <a:pt x="94994" y="84864"/>
                  </a:lnTo>
                  <a:lnTo>
                    <a:pt x="106662" y="98659"/>
                  </a:lnTo>
                  <a:lnTo>
                    <a:pt x="118058" y="112634"/>
                  </a:lnTo>
                  <a:lnTo>
                    <a:pt x="124644" y="120960"/>
                  </a:lnTo>
                  <a:lnTo>
                    <a:pt x="134660" y="128214"/>
                  </a:lnTo>
                  <a:lnTo>
                    <a:pt x="129100" y="134224"/>
                  </a:lnTo>
                  <a:lnTo>
                    <a:pt x="120620" y="132177"/>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236" name="Polygon form 200"/>
            <p:cNvSpPr/>
            <p:nvPr/>
          </p:nvSpPr>
          <p:spPr>
            <a:xfrm>
              <a:off x="3796994" y="2990358"/>
              <a:ext cx="216489" cy="188418"/>
            </a:xfrm>
            <a:custGeom>
              <a:avLst/>
              <a:gdLst/>
              <a:ahLst/>
              <a:cxnLst/>
              <a:rect l="0" t="0" r="0" b="0"/>
              <a:pathLst>
                <a:path w="216489" h="188418">
                  <a:moveTo>
                    <a:pt x="5060" y="44970"/>
                  </a:moveTo>
                  <a:lnTo>
                    <a:pt x="6656" y="27789"/>
                  </a:lnTo>
                  <a:lnTo>
                    <a:pt x="0" y="17279"/>
                  </a:lnTo>
                  <a:lnTo>
                    <a:pt x="25249" y="0"/>
                  </a:lnTo>
                  <a:lnTo>
                    <a:pt x="46274" y="4454"/>
                  </a:lnTo>
                  <a:lnTo>
                    <a:pt x="69531" y="4392"/>
                  </a:lnTo>
                  <a:lnTo>
                    <a:pt x="87874" y="8570"/>
                  </a:lnTo>
                  <a:lnTo>
                    <a:pt x="102292" y="7340"/>
                  </a:lnTo>
                  <a:lnTo>
                    <a:pt x="130299" y="8187"/>
                  </a:lnTo>
                  <a:lnTo>
                    <a:pt x="137143" y="17574"/>
                  </a:lnTo>
                  <a:lnTo>
                    <a:pt x="169159" y="28550"/>
                  </a:lnTo>
                  <a:lnTo>
                    <a:pt x="175480" y="23332"/>
                  </a:lnTo>
                  <a:lnTo>
                    <a:pt x="195162" y="34229"/>
                  </a:lnTo>
                  <a:lnTo>
                    <a:pt x="215359" y="31072"/>
                  </a:lnTo>
                  <a:lnTo>
                    <a:pt x="216489" y="45084"/>
                  </a:lnTo>
                  <a:lnTo>
                    <a:pt x="200048" y="61178"/>
                  </a:lnTo>
                  <a:lnTo>
                    <a:pt x="177536" y="66297"/>
                  </a:lnTo>
                  <a:lnTo>
                    <a:pt x="175992" y="74413"/>
                  </a:lnTo>
                  <a:lnTo>
                    <a:pt x="165154" y="87790"/>
                  </a:lnTo>
                  <a:lnTo>
                    <a:pt x="158308" y="107426"/>
                  </a:lnTo>
                  <a:lnTo>
                    <a:pt x="165251" y="121212"/>
                  </a:lnTo>
                  <a:lnTo>
                    <a:pt x="154909" y="131974"/>
                  </a:lnTo>
                  <a:lnTo>
                    <a:pt x="150996" y="147654"/>
                  </a:lnTo>
                  <a:lnTo>
                    <a:pt x="137413" y="152454"/>
                  </a:lnTo>
                  <a:lnTo>
                    <a:pt x="124528" y="170991"/>
                  </a:lnTo>
                  <a:lnTo>
                    <a:pt x="101616" y="171324"/>
                  </a:lnTo>
                  <a:lnTo>
                    <a:pt x="84423" y="170830"/>
                  </a:lnTo>
                  <a:lnTo>
                    <a:pt x="72954" y="179321"/>
                  </a:lnTo>
                  <a:lnTo>
                    <a:pt x="65859" y="188418"/>
                  </a:lnTo>
                  <a:lnTo>
                    <a:pt x="57041" y="186389"/>
                  </a:lnTo>
                  <a:lnTo>
                    <a:pt x="50535" y="178215"/>
                  </a:lnTo>
                  <a:lnTo>
                    <a:pt x="45767" y="164318"/>
                  </a:lnTo>
                  <a:lnTo>
                    <a:pt x="29057" y="160515"/>
                  </a:lnTo>
                  <a:lnTo>
                    <a:pt x="27797" y="152519"/>
                  </a:lnTo>
                  <a:lnTo>
                    <a:pt x="34720" y="143499"/>
                  </a:lnTo>
                  <a:lnTo>
                    <a:pt x="37370" y="136949"/>
                  </a:lnTo>
                  <a:lnTo>
                    <a:pt x="31414" y="129750"/>
                  </a:lnTo>
                  <a:lnTo>
                    <a:pt x="36820" y="113917"/>
                  </a:lnTo>
                  <a:lnTo>
                    <a:pt x="30147" y="99422"/>
                  </a:lnTo>
                  <a:lnTo>
                    <a:pt x="37877" y="97468"/>
                  </a:lnTo>
                  <a:lnTo>
                    <a:pt x="38937" y="86067"/>
                  </a:lnTo>
                  <a:lnTo>
                    <a:pt x="41916" y="82548"/>
                  </a:lnTo>
                  <a:lnTo>
                    <a:pt x="42716" y="63724"/>
                  </a:lnTo>
                  <a:lnTo>
                    <a:pt x="51033" y="57225"/>
                  </a:lnTo>
                  <a:lnTo>
                    <a:pt x="46491" y="45103"/>
                  </a:lnTo>
                  <a:lnTo>
                    <a:pt x="36316" y="44216"/>
                  </a:lnTo>
                  <a:lnTo>
                    <a:pt x="33216" y="47249"/>
                  </a:lnTo>
                  <a:lnTo>
                    <a:pt x="22867" y="47228"/>
                  </a:lnTo>
                  <a:lnTo>
                    <a:pt x="18925" y="35393"/>
                  </a:lnTo>
                  <a:lnTo>
                    <a:pt x="11657" y="38873"/>
                  </a:lnTo>
                  <a:lnTo>
                    <a:pt x="5060" y="44970"/>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37" name="Polygon form 201"/>
            <p:cNvSpPr/>
            <p:nvPr/>
          </p:nvSpPr>
          <p:spPr>
            <a:xfrm>
              <a:off x="4725677" y="3040013"/>
              <a:ext cx="62576" cy="60346"/>
            </a:xfrm>
            <a:custGeom>
              <a:avLst/>
              <a:gdLst/>
              <a:ahLst/>
              <a:cxnLst/>
              <a:rect l="0" t="0" r="0" b="0"/>
              <a:pathLst>
                <a:path w="62576" h="60346">
                  <a:moveTo>
                    <a:pt x="0" y="4466"/>
                  </a:moveTo>
                  <a:lnTo>
                    <a:pt x="23529" y="0"/>
                  </a:lnTo>
                  <a:lnTo>
                    <a:pt x="28448" y="6280"/>
                  </a:lnTo>
                  <a:lnTo>
                    <a:pt x="35970" y="10294"/>
                  </a:lnTo>
                  <a:lnTo>
                    <a:pt x="33682" y="16487"/>
                  </a:lnTo>
                  <a:lnTo>
                    <a:pt x="44719" y="24558"/>
                  </a:lnTo>
                  <a:lnTo>
                    <a:pt x="41314" y="32438"/>
                  </a:lnTo>
                  <a:lnTo>
                    <a:pt x="50114" y="38838"/>
                  </a:lnTo>
                  <a:lnTo>
                    <a:pt x="58833" y="42599"/>
                  </a:lnTo>
                  <a:lnTo>
                    <a:pt x="62576" y="59452"/>
                  </a:lnTo>
                  <a:lnTo>
                    <a:pt x="56296" y="60346"/>
                  </a:lnTo>
                  <a:lnTo>
                    <a:pt x="46316" y="46481"/>
                  </a:lnTo>
                  <a:lnTo>
                    <a:pt x="45658" y="42728"/>
                  </a:lnTo>
                  <a:lnTo>
                    <a:pt x="37867" y="42999"/>
                  </a:lnTo>
                  <a:lnTo>
                    <a:pt x="31367" y="36624"/>
                  </a:lnTo>
                  <a:lnTo>
                    <a:pt x="27827" y="37380"/>
                  </a:lnTo>
                  <a:lnTo>
                    <a:pt x="19505" y="30476"/>
                  </a:lnTo>
                  <a:lnTo>
                    <a:pt x="5255" y="24793"/>
                  </a:lnTo>
                  <a:lnTo>
                    <a:pt x="4651" y="12930"/>
                  </a:lnTo>
                  <a:lnTo>
                    <a:pt x="0" y="4466"/>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238" name="Polygon form 202"/>
            <p:cNvSpPr/>
            <p:nvPr/>
          </p:nvSpPr>
          <p:spPr>
            <a:xfrm>
              <a:off x="4312534" y="2604000"/>
              <a:ext cx="72325" cy="51286"/>
            </a:xfrm>
            <a:custGeom>
              <a:avLst/>
              <a:gdLst/>
              <a:ahLst/>
              <a:cxnLst/>
              <a:rect l="0" t="0" r="0" b="0"/>
              <a:pathLst>
                <a:path w="72325" h="51286">
                  <a:moveTo>
                    <a:pt x="20309" y="44303"/>
                  </a:moveTo>
                  <a:lnTo>
                    <a:pt x="19698" y="30040"/>
                  </a:lnTo>
                  <a:lnTo>
                    <a:pt x="14617" y="33188"/>
                  </a:lnTo>
                  <a:lnTo>
                    <a:pt x="3574" y="24800"/>
                  </a:lnTo>
                  <a:lnTo>
                    <a:pt x="0" y="10971"/>
                  </a:lnTo>
                  <a:lnTo>
                    <a:pt x="17871" y="3886"/>
                  </a:lnTo>
                  <a:lnTo>
                    <a:pt x="36131" y="0"/>
                  </a:lnTo>
                  <a:lnTo>
                    <a:pt x="53135" y="3638"/>
                  </a:lnTo>
                  <a:lnTo>
                    <a:pt x="68468" y="2582"/>
                  </a:lnTo>
                  <a:lnTo>
                    <a:pt x="71562" y="6739"/>
                  </a:lnTo>
                  <a:lnTo>
                    <a:pt x="63547" y="20872"/>
                  </a:lnTo>
                  <a:lnTo>
                    <a:pt x="72325" y="43264"/>
                  </a:lnTo>
                  <a:lnTo>
                    <a:pt x="67200" y="51061"/>
                  </a:lnTo>
                  <a:lnTo>
                    <a:pt x="54551" y="51286"/>
                  </a:lnTo>
                  <a:lnTo>
                    <a:pt x="39797" y="42607"/>
                  </a:lnTo>
                  <a:lnTo>
                    <a:pt x="32596" y="39785"/>
                  </a:lnTo>
                  <a:lnTo>
                    <a:pt x="20309" y="44303"/>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39" name="Polygon form 203"/>
            <p:cNvSpPr/>
            <p:nvPr/>
          </p:nvSpPr>
          <p:spPr>
            <a:xfrm>
              <a:off x="4608334" y="3681951"/>
              <a:ext cx="291498" cy="280770"/>
            </a:xfrm>
            <a:custGeom>
              <a:avLst/>
              <a:gdLst/>
              <a:ahLst/>
              <a:cxnLst/>
              <a:rect l="0" t="0" r="0" b="0"/>
              <a:pathLst>
                <a:path w="291498" h="280770">
                  <a:moveTo>
                    <a:pt x="89643" y="0"/>
                  </a:moveTo>
                  <a:lnTo>
                    <a:pt x="102095" y="10943"/>
                  </a:lnTo>
                  <a:lnTo>
                    <a:pt x="113176" y="5115"/>
                  </a:lnTo>
                  <a:lnTo>
                    <a:pt x="118172" y="10164"/>
                  </a:lnTo>
                  <a:lnTo>
                    <a:pt x="131538" y="10333"/>
                  </a:lnTo>
                  <a:lnTo>
                    <a:pt x="149073" y="19946"/>
                  </a:lnTo>
                  <a:lnTo>
                    <a:pt x="154609" y="28316"/>
                  </a:lnTo>
                  <a:lnTo>
                    <a:pt x="163709" y="36070"/>
                  </a:lnTo>
                  <a:lnTo>
                    <a:pt x="172544" y="50295"/>
                  </a:lnTo>
                  <a:lnTo>
                    <a:pt x="179655" y="58130"/>
                  </a:lnTo>
                  <a:lnTo>
                    <a:pt x="173361" y="68973"/>
                  </a:lnTo>
                  <a:lnTo>
                    <a:pt x="167328" y="80458"/>
                  </a:lnTo>
                  <a:lnTo>
                    <a:pt x="169183" y="87179"/>
                  </a:lnTo>
                  <a:lnTo>
                    <a:pt x="169853" y="94595"/>
                  </a:lnTo>
                  <a:lnTo>
                    <a:pt x="180811" y="94922"/>
                  </a:lnTo>
                  <a:lnTo>
                    <a:pt x="185442" y="93157"/>
                  </a:lnTo>
                  <a:lnTo>
                    <a:pt x="189998" y="97473"/>
                  </a:lnTo>
                  <a:lnTo>
                    <a:pt x="186133" y="106148"/>
                  </a:lnTo>
                  <a:lnTo>
                    <a:pt x="193981" y="119534"/>
                  </a:lnTo>
                  <a:lnTo>
                    <a:pt x="201726" y="131236"/>
                  </a:lnTo>
                  <a:lnTo>
                    <a:pt x="209583" y="139899"/>
                  </a:lnTo>
                  <a:lnTo>
                    <a:pt x="274970" y="168499"/>
                  </a:lnTo>
                  <a:lnTo>
                    <a:pt x="291498" y="168249"/>
                  </a:lnTo>
                  <a:lnTo>
                    <a:pt x="238148" y="241922"/>
                  </a:lnTo>
                  <a:lnTo>
                    <a:pt x="212497" y="243090"/>
                  </a:lnTo>
                  <a:lnTo>
                    <a:pt x="195279" y="260356"/>
                  </a:lnTo>
                  <a:lnTo>
                    <a:pt x="182647" y="260843"/>
                  </a:lnTo>
                  <a:lnTo>
                    <a:pt x="177388" y="268549"/>
                  </a:lnTo>
                  <a:lnTo>
                    <a:pt x="163913" y="268579"/>
                  </a:lnTo>
                  <a:lnTo>
                    <a:pt x="155818" y="260360"/>
                  </a:lnTo>
                  <a:lnTo>
                    <a:pt x="137974" y="270602"/>
                  </a:lnTo>
                  <a:lnTo>
                    <a:pt x="132294" y="280770"/>
                  </a:lnTo>
                  <a:lnTo>
                    <a:pt x="119112" y="278882"/>
                  </a:lnTo>
                  <a:lnTo>
                    <a:pt x="114706" y="276083"/>
                  </a:lnTo>
                  <a:lnTo>
                    <a:pt x="110097" y="276764"/>
                  </a:lnTo>
                  <a:lnTo>
                    <a:pt x="103860" y="276532"/>
                  </a:lnTo>
                  <a:lnTo>
                    <a:pt x="78579" y="255920"/>
                  </a:lnTo>
                  <a:lnTo>
                    <a:pt x="64856" y="255955"/>
                  </a:lnTo>
                  <a:lnTo>
                    <a:pt x="57986" y="247968"/>
                  </a:lnTo>
                  <a:lnTo>
                    <a:pt x="57733" y="234317"/>
                  </a:lnTo>
                  <a:lnTo>
                    <a:pt x="47418" y="230268"/>
                  </a:lnTo>
                  <a:lnTo>
                    <a:pt x="35206" y="203850"/>
                  </a:lnTo>
                  <a:lnTo>
                    <a:pt x="26084" y="198248"/>
                  </a:lnTo>
                  <a:lnTo>
                    <a:pt x="22397" y="188543"/>
                  </a:lnTo>
                  <a:lnTo>
                    <a:pt x="12122" y="176740"/>
                  </a:lnTo>
                  <a:lnTo>
                    <a:pt x="0" y="175049"/>
                  </a:lnTo>
                  <a:lnTo>
                    <a:pt x="6318" y="161184"/>
                  </a:lnTo>
                  <a:lnTo>
                    <a:pt x="16730" y="160541"/>
                  </a:lnTo>
                  <a:lnTo>
                    <a:pt x="19448" y="153106"/>
                  </a:lnTo>
                  <a:lnTo>
                    <a:pt x="18492" y="131262"/>
                  </a:lnTo>
                  <a:lnTo>
                    <a:pt x="23395" y="105801"/>
                  </a:lnTo>
                  <a:lnTo>
                    <a:pt x="32418" y="98940"/>
                  </a:lnTo>
                  <a:lnTo>
                    <a:pt x="33992" y="88992"/>
                  </a:lnTo>
                  <a:lnTo>
                    <a:pt x="41602" y="70369"/>
                  </a:lnTo>
                  <a:lnTo>
                    <a:pt x="52849" y="58242"/>
                  </a:lnTo>
                  <a:lnTo>
                    <a:pt x="59626" y="34229"/>
                  </a:lnTo>
                  <a:lnTo>
                    <a:pt x="61638" y="13320"/>
                  </a:lnTo>
                  <a:lnTo>
                    <a:pt x="84593" y="18214"/>
                  </a:lnTo>
                  <a:lnTo>
                    <a:pt x="89643" y="0"/>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40" name="Polygon form 204"/>
            <p:cNvSpPr/>
            <p:nvPr/>
          </p:nvSpPr>
          <p:spPr>
            <a:xfrm>
              <a:off x="4233153" y="2349370"/>
              <a:ext cx="181818" cy="249839"/>
            </a:xfrm>
            <a:custGeom>
              <a:avLst/>
              <a:gdLst/>
              <a:ahLst/>
              <a:cxnLst/>
              <a:rect l="0" t="0" r="0" b="0"/>
              <a:pathLst>
                <a:path w="181818" h="249839">
                  <a:moveTo>
                    <a:pt x="104898" y="26162"/>
                  </a:moveTo>
                  <a:lnTo>
                    <a:pt x="107135" y="43038"/>
                  </a:lnTo>
                  <a:lnTo>
                    <a:pt x="131612" y="58560"/>
                  </a:lnTo>
                  <a:lnTo>
                    <a:pt x="123654" y="76996"/>
                  </a:lnTo>
                  <a:lnTo>
                    <a:pt x="146287" y="103982"/>
                  </a:lnTo>
                  <a:lnTo>
                    <a:pt x="141912" y="124841"/>
                  </a:lnTo>
                  <a:lnTo>
                    <a:pt x="158825" y="142436"/>
                  </a:lnTo>
                  <a:lnTo>
                    <a:pt x="156736" y="158266"/>
                  </a:lnTo>
                  <a:lnTo>
                    <a:pt x="181818" y="174221"/>
                  </a:lnTo>
                  <a:lnTo>
                    <a:pt x="179324" y="186641"/>
                  </a:lnTo>
                  <a:lnTo>
                    <a:pt x="169050" y="200894"/>
                  </a:lnTo>
                  <a:lnTo>
                    <a:pt x="144195" y="232400"/>
                  </a:lnTo>
                  <a:lnTo>
                    <a:pt x="117678" y="234912"/>
                  </a:lnTo>
                  <a:lnTo>
                    <a:pt x="93148" y="244288"/>
                  </a:lnTo>
                  <a:lnTo>
                    <a:pt x="69726" y="249839"/>
                  </a:lnTo>
                  <a:lnTo>
                    <a:pt x="58967" y="236843"/>
                  </a:lnTo>
                  <a:lnTo>
                    <a:pt x="43354" y="229183"/>
                  </a:lnTo>
                  <a:lnTo>
                    <a:pt x="42884" y="205375"/>
                  </a:lnTo>
                  <a:lnTo>
                    <a:pt x="32341" y="183755"/>
                  </a:lnTo>
                  <a:lnTo>
                    <a:pt x="36929" y="169599"/>
                  </a:lnTo>
                  <a:lnTo>
                    <a:pt x="47313" y="154229"/>
                  </a:lnTo>
                  <a:lnTo>
                    <a:pt x="74766" y="127473"/>
                  </a:lnTo>
                  <a:lnTo>
                    <a:pt x="83098" y="122244"/>
                  </a:lnTo>
                  <a:lnTo>
                    <a:pt x="79568" y="112091"/>
                  </a:lnTo>
                  <a:lnTo>
                    <a:pt x="58032" y="101105"/>
                  </a:lnTo>
                  <a:lnTo>
                    <a:pt x="51558" y="91827"/>
                  </a:lnTo>
                  <a:lnTo>
                    <a:pt x="43875" y="54760"/>
                  </a:lnTo>
                  <a:lnTo>
                    <a:pt x="19828" y="38763"/>
                  </a:lnTo>
                  <a:lnTo>
                    <a:pt x="0" y="27290"/>
                  </a:lnTo>
                  <a:lnTo>
                    <a:pt x="6719" y="20793"/>
                  </a:lnTo>
                  <a:lnTo>
                    <a:pt x="23796" y="33257"/>
                  </a:lnTo>
                  <a:lnTo>
                    <a:pt x="40831" y="31738"/>
                  </a:lnTo>
                  <a:lnTo>
                    <a:pt x="56271" y="37269"/>
                  </a:lnTo>
                  <a:lnTo>
                    <a:pt x="66536" y="26361"/>
                  </a:lnTo>
                  <a:lnTo>
                    <a:pt x="68921" y="8592"/>
                  </a:lnTo>
                  <a:lnTo>
                    <a:pt x="87098" y="0"/>
                  </a:lnTo>
                  <a:lnTo>
                    <a:pt x="106157" y="9168"/>
                  </a:lnTo>
                  <a:lnTo>
                    <a:pt x="104898" y="26162"/>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241" name="Polygon form 205"/>
            <p:cNvSpPr/>
            <p:nvPr/>
          </p:nvSpPr>
          <p:spPr>
            <a:xfrm>
              <a:off x="2971892" y="5299640"/>
              <a:ext cx="52540" cy="30656"/>
            </a:xfrm>
            <a:custGeom>
              <a:avLst/>
              <a:gdLst/>
              <a:ahLst/>
              <a:cxnLst/>
              <a:rect l="0" t="0" r="0" b="0"/>
              <a:pathLst>
                <a:path w="52540" h="30656">
                  <a:moveTo>
                    <a:pt x="0" y="20137"/>
                  </a:moveTo>
                  <a:lnTo>
                    <a:pt x="13937" y="4697"/>
                  </a:lnTo>
                  <a:lnTo>
                    <a:pt x="29698" y="10128"/>
                  </a:lnTo>
                  <a:lnTo>
                    <a:pt x="35950" y="0"/>
                  </a:lnTo>
                  <a:lnTo>
                    <a:pt x="52540" y="10327"/>
                  </a:lnTo>
                  <a:lnTo>
                    <a:pt x="50675" y="19018"/>
                  </a:lnTo>
                  <a:lnTo>
                    <a:pt x="31736" y="27265"/>
                  </a:lnTo>
                  <a:lnTo>
                    <a:pt x="21525" y="19122"/>
                  </a:lnTo>
                  <a:lnTo>
                    <a:pt x="11962" y="30656"/>
                  </a:lnTo>
                  <a:lnTo>
                    <a:pt x="0" y="20137"/>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242" name="Polygon form 206"/>
            <p:cNvSpPr/>
            <p:nvPr/>
          </p:nvSpPr>
          <p:spPr>
            <a:xfrm>
              <a:off x="3883624" y="2812151"/>
              <a:ext cx="211426" cy="212436"/>
            </a:xfrm>
            <a:custGeom>
              <a:avLst/>
              <a:gdLst/>
              <a:ahLst/>
              <a:cxnLst/>
              <a:rect l="0" t="0" r="0" b="0"/>
              <a:pathLst>
                <a:path w="211426" h="212436">
                  <a:moveTo>
                    <a:pt x="135694" y="18525"/>
                  </a:moveTo>
                  <a:lnTo>
                    <a:pt x="147456" y="29867"/>
                  </a:lnTo>
                  <a:lnTo>
                    <a:pt x="155884" y="27961"/>
                  </a:lnTo>
                  <a:lnTo>
                    <a:pt x="170680" y="38906"/>
                  </a:lnTo>
                  <a:lnTo>
                    <a:pt x="174456" y="40985"/>
                  </a:lnTo>
                  <a:lnTo>
                    <a:pt x="179224" y="40454"/>
                  </a:lnTo>
                  <a:lnTo>
                    <a:pt x="187283" y="46736"/>
                  </a:lnTo>
                  <a:lnTo>
                    <a:pt x="211426" y="51054"/>
                  </a:lnTo>
                  <a:lnTo>
                    <a:pt x="203699" y="67622"/>
                  </a:lnTo>
                  <a:lnTo>
                    <a:pt x="202266" y="84823"/>
                  </a:lnTo>
                  <a:lnTo>
                    <a:pt x="197805" y="88967"/>
                  </a:lnTo>
                  <a:lnTo>
                    <a:pt x="190050" y="86783"/>
                  </a:lnTo>
                  <a:lnTo>
                    <a:pt x="190812" y="92911"/>
                  </a:lnTo>
                  <a:lnTo>
                    <a:pt x="178906" y="106523"/>
                  </a:lnTo>
                  <a:lnTo>
                    <a:pt x="178997" y="117448"/>
                  </a:lnTo>
                  <a:lnTo>
                    <a:pt x="186984" y="113633"/>
                  </a:lnTo>
                  <a:lnTo>
                    <a:pt x="193187" y="124187"/>
                  </a:lnTo>
                  <a:lnTo>
                    <a:pt x="192721" y="131008"/>
                  </a:lnTo>
                  <a:lnTo>
                    <a:pt x="198068" y="140044"/>
                  </a:lnTo>
                  <a:lnTo>
                    <a:pt x="192384" y="147420"/>
                  </a:lnTo>
                  <a:lnTo>
                    <a:pt x="197447" y="166069"/>
                  </a:lnTo>
                  <a:lnTo>
                    <a:pt x="206903" y="169086"/>
                  </a:lnTo>
                  <a:lnTo>
                    <a:pt x="205306" y="179568"/>
                  </a:lnTo>
                  <a:lnTo>
                    <a:pt x="190055" y="193269"/>
                  </a:lnTo>
                  <a:lnTo>
                    <a:pt x="155655" y="186858"/>
                  </a:lnTo>
                  <a:lnTo>
                    <a:pt x="130514" y="194747"/>
                  </a:lnTo>
                  <a:lnTo>
                    <a:pt x="128729" y="209278"/>
                  </a:lnTo>
                  <a:lnTo>
                    <a:pt x="108532" y="212436"/>
                  </a:lnTo>
                  <a:lnTo>
                    <a:pt x="88850" y="201539"/>
                  </a:lnTo>
                  <a:lnTo>
                    <a:pt x="82529" y="206757"/>
                  </a:lnTo>
                  <a:lnTo>
                    <a:pt x="50513" y="195781"/>
                  </a:lnTo>
                  <a:lnTo>
                    <a:pt x="43669" y="186394"/>
                  </a:lnTo>
                  <a:lnTo>
                    <a:pt x="52732" y="171934"/>
                  </a:lnTo>
                  <a:lnTo>
                    <a:pt x="56306" y="123873"/>
                  </a:lnTo>
                  <a:lnTo>
                    <a:pt x="39026" y="98536"/>
                  </a:lnTo>
                  <a:lnTo>
                    <a:pt x="26755" y="86308"/>
                  </a:lnTo>
                  <a:lnTo>
                    <a:pt x="1253" y="76962"/>
                  </a:lnTo>
                  <a:lnTo>
                    <a:pt x="0" y="59365"/>
                  </a:lnTo>
                  <a:lnTo>
                    <a:pt x="21730" y="54177"/>
                  </a:lnTo>
                  <a:lnTo>
                    <a:pt x="49650" y="60431"/>
                  </a:lnTo>
                  <a:lnTo>
                    <a:pt x="44652" y="33118"/>
                  </a:lnTo>
                  <a:lnTo>
                    <a:pt x="60210" y="43483"/>
                  </a:lnTo>
                  <a:lnTo>
                    <a:pt x="98717" y="24666"/>
                  </a:lnTo>
                  <a:lnTo>
                    <a:pt x="103483" y="4892"/>
                  </a:lnTo>
                  <a:lnTo>
                    <a:pt x="117738" y="0"/>
                  </a:lnTo>
                  <a:lnTo>
                    <a:pt x="120237" y="8479"/>
                  </a:lnTo>
                  <a:lnTo>
                    <a:pt x="127868" y="8861"/>
                  </a:lnTo>
                  <a:lnTo>
                    <a:pt x="135694" y="18525"/>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43" name="Polygon form 207"/>
            <p:cNvSpPr/>
            <p:nvPr/>
          </p:nvSpPr>
          <p:spPr>
            <a:xfrm>
              <a:off x="2884249" y="3904608"/>
              <a:ext cx="57353" cy="91042"/>
            </a:xfrm>
            <a:custGeom>
              <a:avLst/>
              <a:gdLst/>
              <a:ahLst/>
              <a:cxnLst/>
              <a:rect l="0" t="0" r="0" b="0"/>
              <a:pathLst>
                <a:path w="57353" h="91042">
                  <a:moveTo>
                    <a:pt x="38904" y="79989"/>
                  </a:moveTo>
                  <a:lnTo>
                    <a:pt x="31225" y="89304"/>
                  </a:lnTo>
                  <a:lnTo>
                    <a:pt x="21755" y="91042"/>
                  </a:lnTo>
                  <a:lnTo>
                    <a:pt x="19147" y="84120"/>
                  </a:lnTo>
                  <a:lnTo>
                    <a:pt x="14747" y="83083"/>
                  </a:lnTo>
                  <a:lnTo>
                    <a:pt x="8555" y="89736"/>
                  </a:lnTo>
                  <a:lnTo>
                    <a:pt x="0" y="84647"/>
                  </a:lnTo>
                  <a:lnTo>
                    <a:pt x="5151" y="74161"/>
                  </a:lnTo>
                  <a:lnTo>
                    <a:pt x="7051" y="62969"/>
                  </a:lnTo>
                  <a:lnTo>
                    <a:pt x="10659" y="52448"/>
                  </a:lnTo>
                  <a:lnTo>
                    <a:pt x="3323" y="37916"/>
                  </a:lnTo>
                  <a:lnTo>
                    <a:pt x="2193" y="21088"/>
                  </a:lnTo>
                  <a:lnTo>
                    <a:pt x="13078" y="0"/>
                  </a:lnTo>
                  <a:lnTo>
                    <a:pt x="19681" y="2737"/>
                  </a:lnTo>
                  <a:lnTo>
                    <a:pt x="34011" y="8621"/>
                  </a:lnTo>
                  <a:lnTo>
                    <a:pt x="54322" y="29433"/>
                  </a:lnTo>
                  <a:lnTo>
                    <a:pt x="57353" y="39496"/>
                  </a:lnTo>
                  <a:lnTo>
                    <a:pt x="45243" y="61923"/>
                  </a:lnTo>
                  <a:lnTo>
                    <a:pt x="38904" y="79989"/>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44" name="Polygon form 208"/>
            <p:cNvSpPr/>
            <p:nvPr/>
          </p:nvSpPr>
          <p:spPr>
            <a:xfrm>
              <a:off x="4109518" y="3008038"/>
              <a:ext cx="17853" cy="39349"/>
            </a:xfrm>
            <a:custGeom>
              <a:avLst/>
              <a:gdLst/>
              <a:ahLst/>
              <a:cxnLst/>
              <a:rect l="0" t="0" r="0" b="0"/>
              <a:pathLst>
                <a:path w="17853" h="39349">
                  <a:moveTo>
                    <a:pt x="17853" y="20675"/>
                  </a:moveTo>
                  <a:lnTo>
                    <a:pt x="12866" y="39349"/>
                  </a:lnTo>
                  <a:lnTo>
                    <a:pt x="4697" y="34480"/>
                  </a:lnTo>
                  <a:lnTo>
                    <a:pt x="0" y="18265"/>
                  </a:lnTo>
                  <a:lnTo>
                    <a:pt x="3160" y="9279"/>
                  </a:lnTo>
                  <a:lnTo>
                    <a:pt x="13974" y="0"/>
                  </a:lnTo>
                  <a:lnTo>
                    <a:pt x="17853" y="20675"/>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45" name="Polygon form 209"/>
            <p:cNvSpPr/>
            <p:nvPr/>
          </p:nvSpPr>
          <p:spPr>
            <a:xfrm>
              <a:off x="4133928" y="3989926"/>
              <a:ext cx="111074" cy="152242"/>
            </a:xfrm>
            <a:custGeom>
              <a:avLst/>
              <a:gdLst/>
              <a:ahLst/>
              <a:cxnLst/>
              <a:rect l="0" t="0" r="0" b="0"/>
              <a:pathLst>
                <a:path w="111074" h="152242">
                  <a:moveTo>
                    <a:pt x="45119" y="152242"/>
                  </a:moveTo>
                  <a:lnTo>
                    <a:pt x="24939" y="127863"/>
                  </a:lnTo>
                  <a:lnTo>
                    <a:pt x="11948" y="107939"/>
                  </a:lnTo>
                  <a:lnTo>
                    <a:pt x="0" y="83003"/>
                  </a:lnTo>
                  <a:lnTo>
                    <a:pt x="640" y="74984"/>
                  </a:lnTo>
                  <a:lnTo>
                    <a:pt x="4955" y="67268"/>
                  </a:lnTo>
                  <a:lnTo>
                    <a:pt x="9752" y="49696"/>
                  </a:lnTo>
                  <a:lnTo>
                    <a:pt x="13719" y="31798"/>
                  </a:lnTo>
                  <a:lnTo>
                    <a:pt x="20378" y="30403"/>
                  </a:lnTo>
                  <a:lnTo>
                    <a:pt x="49096" y="30645"/>
                  </a:lnTo>
                  <a:lnTo>
                    <a:pt x="48870" y="1590"/>
                  </a:lnTo>
                  <a:lnTo>
                    <a:pt x="58244" y="0"/>
                  </a:lnTo>
                  <a:lnTo>
                    <a:pt x="70246" y="3229"/>
                  </a:lnTo>
                  <a:lnTo>
                    <a:pt x="81919" y="114"/>
                  </a:lnTo>
                  <a:lnTo>
                    <a:pt x="84380" y="1429"/>
                  </a:lnTo>
                  <a:lnTo>
                    <a:pt x="82973" y="11964"/>
                  </a:lnTo>
                  <a:lnTo>
                    <a:pt x="88517" y="24441"/>
                  </a:lnTo>
                  <a:lnTo>
                    <a:pt x="103200" y="22469"/>
                  </a:lnTo>
                  <a:lnTo>
                    <a:pt x="108135" y="27268"/>
                  </a:lnTo>
                  <a:lnTo>
                    <a:pt x="99614" y="55244"/>
                  </a:lnTo>
                  <a:lnTo>
                    <a:pt x="108948" y="69530"/>
                  </a:lnTo>
                  <a:lnTo>
                    <a:pt x="111074" y="88390"/>
                  </a:lnTo>
                  <a:lnTo>
                    <a:pt x="108543" y="104450"/>
                  </a:lnTo>
                  <a:lnTo>
                    <a:pt x="102452" y="115861"/>
                  </a:lnTo>
                  <a:lnTo>
                    <a:pt x="85035" y="114836"/>
                  </a:lnTo>
                  <a:lnTo>
                    <a:pt x="74523" y="103234"/>
                  </a:lnTo>
                  <a:lnTo>
                    <a:pt x="72922" y="113935"/>
                  </a:lnTo>
                  <a:lnTo>
                    <a:pt x="59598" y="116887"/>
                  </a:lnTo>
                  <a:lnTo>
                    <a:pt x="52813" y="122955"/>
                  </a:lnTo>
                  <a:lnTo>
                    <a:pt x="60194" y="138925"/>
                  </a:lnTo>
                  <a:lnTo>
                    <a:pt x="45119" y="152242"/>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246" name="Polygon form 210"/>
            <p:cNvSpPr/>
            <p:nvPr/>
          </p:nvSpPr>
          <p:spPr>
            <a:xfrm>
              <a:off x="3864903" y="2631528"/>
              <a:ext cx="122471" cy="209170"/>
            </a:xfrm>
            <a:custGeom>
              <a:avLst/>
              <a:gdLst/>
              <a:ahLst/>
              <a:cxnLst/>
              <a:rect l="0" t="0" r="0" b="0"/>
              <a:pathLst>
                <a:path w="122471" h="209170">
                  <a:moveTo>
                    <a:pt x="49671" y="0"/>
                  </a:moveTo>
                  <a:lnTo>
                    <a:pt x="32694" y="26056"/>
                  </a:lnTo>
                  <a:lnTo>
                    <a:pt x="48433" y="22795"/>
                  </a:lnTo>
                  <a:lnTo>
                    <a:pt x="65261" y="22954"/>
                  </a:lnTo>
                  <a:lnTo>
                    <a:pt x="60963" y="42604"/>
                  </a:lnTo>
                  <a:lnTo>
                    <a:pt x="46591" y="64195"/>
                  </a:lnTo>
                  <a:lnTo>
                    <a:pt x="62737" y="65767"/>
                  </a:lnTo>
                  <a:lnTo>
                    <a:pt x="63945" y="68304"/>
                  </a:lnTo>
                  <a:lnTo>
                    <a:pt x="77691" y="96785"/>
                  </a:lnTo>
                  <a:lnTo>
                    <a:pt x="88525" y="100666"/>
                  </a:lnTo>
                  <a:lnTo>
                    <a:pt x="98323" y="128154"/>
                  </a:lnTo>
                  <a:lnTo>
                    <a:pt x="102922" y="137682"/>
                  </a:lnTo>
                  <a:lnTo>
                    <a:pt x="122471" y="142261"/>
                  </a:lnTo>
                  <a:lnTo>
                    <a:pt x="120656" y="157692"/>
                  </a:lnTo>
                  <a:lnTo>
                    <a:pt x="112438" y="164774"/>
                  </a:lnTo>
                  <a:lnTo>
                    <a:pt x="119037" y="177248"/>
                  </a:lnTo>
                  <a:lnTo>
                    <a:pt x="104385" y="189893"/>
                  </a:lnTo>
                  <a:lnTo>
                    <a:pt x="82437" y="189668"/>
                  </a:lnTo>
                  <a:lnTo>
                    <a:pt x="54414" y="196268"/>
                  </a:lnTo>
                  <a:lnTo>
                    <a:pt x="46828" y="191504"/>
                  </a:lnTo>
                  <a:lnTo>
                    <a:pt x="35741" y="202781"/>
                  </a:lnTo>
                  <a:lnTo>
                    <a:pt x="20568" y="199998"/>
                  </a:lnTo>
                  <a:lnTo>
                    <a:pt x="8728" y="209170"/>
                  </a:lnTo>
                  <a:lnTo>
                    <a:pt x="108" y="204318"/>
                  </a:lnTo>
                  <a:lnTo>
                    <a:pt x="24916" y="179066"/>
                  </a:lnTo>
                  <a:lnTo>
                    <a:pt x="39649" y="173896"/>
                  </a:lnTo>
                  <a:lnTo>
                    <a:pt x="39521" y="173876"/>
                  </a:lnTo>
                  <a:lnTo>
                    <a:pt x="14165" y="169778"/>
                  </a:lnTo>
                  <a:lnTo>
                    <a:pt x="9856" y="160160"/>
                  </a:lnTo>
                  <a:lnTo>
                    <a:pt x="27005" y="152742"/>
                  </a:lnTo>
                  <a:lnTo>
                    <a:pt x="18513" y="139718"/>
                  </a:lnTo>
                  <a:lnTo>
                    <a:pt x="22015" y="123927"/>
                  </a:lnTo>
                  <a:lnTo>
                    <a:pt x="45771" y="126178"/>
                  </a:lnTo>
                  <a:lnTo>
                    <a:pt x="45799" y="126180"/>
                  </a:lnTo>
                  <a:lnTo>
                    <a:pt x="48412" y="112180"/>
                  </a:lnTo>
                  <a:lnTo>
                    <a:pt x="38073" y="97294"/>
                  </a:lnTo>
                  <a:lnTo>
                    <a:pt x="37839" y="96954"/>
                  </a:lnTo>
                  <a:lnTo>
                    <a:pt x="18732" y="92647"/>
                  </a:lnTo>
                  <a:lnTo>
                    <a:pt x="15173" y="86104"/>
                  </a:lnTo>
                  <a:lnTo>
                    <a:pt x="21232" y="75345"/>
                  </a:lnTo>
                  <a:lnTo>
                    <a:pt x="16284" y="68679"/>
                  </a:lnTo>
                  <a:lnTo>
                    <a:pt x="7440" y="80051"/>
                  </a:lnTo>
                  <a:lnTo>
                    <a:pt x="7370" y="56795"/>
                  </a:lnTo>
                  <a:lnTo>
                    <a:pt x="0" y="44455"/>
                  </a:lnTo>
                  <a:lnTo>
                    <a:pt x="6600" y="19541"/>
                  </a:lnTo>
                  <a:lnTo>
                    <a:pt x="19187" y="23"/>
                  </a:lnTo>
                  <a:lnTo>
                    <a:pt x="31270" y="1978"/>
                  </a:lnTo>
                  <a:lnTo>
                    <a:pt x="49671" y="0"/>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47" name="Polygon form 211"/>
            <p:cNvSpPr/>
            <p:nvPr/>
          </p:nvSpPr>
          <p:spPr>
            <a:xfrm>
              <a:off x="3839651" y="2714830"/>
              <a:ext cx="30845" cy="31532"/>
            </a:xfrm>
            <a:custGeom>
              <a:avLst/>
              <a:gdLst/>
              <a:ahLst/>
              <a:cxnLst/>
              <a:rect l="0" t="0" r="0" b="0"/>
              <a:pathLst>
                <a:path w="30845" h="31532">
                  <a:moveTo>
                    <a:pt x="30845" y="14996"/>
                  </a:moveTo>
                  <a:lnTo>
                    <a:pt x="21707" y="31532"/>
                  </a:lnTo>
                  <a:lnTo>
                    <a:pt x="9863" y="26499"/>
                  </a:lnTo>
                  <a:lnTo>
                    <a:pt x="0" y="26776"/>
                  </a:lnTo>
                  <a:lnTo>
                    <a:pt x="3880" y="13867"/>
                  </a:lnTo>
                  <a:lnTo>
                    <a:pt x="1236" y="922"/>
                  </a:lnTo>
                  <a:lnTo>
                    <a:pt x="14493" y="0"/>
                  </a:lnTo>
                  <a:lnTo>
                    <a:pt x="30845" y="14996"/>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48" name="Polygon form 212"/>
            <p:cNvSpPr/>
            <p:nvPr/>
          </p:nvSpPr>
          <p:spPr>
            <a:xfrm>
              <a:off x="4651627" y="2986418"/>
              <a:ext cx="126999" cy="58061"/>
            </a:xfrm>
            <a:custGeom>
              <a:avLst/>
              <a:gdLst/>
              <a:ahLst/>
              <a:cxnLst/>
              <a:rect l="0" t="0" r="0" b="0"/>
              <a:pathLst>
                <a:path w="126999" h="58061">
                  <a:moveTo>
                    <a:pt x="36530" y="48248"/>
                  </a:moveTo>
                  <a:lnTo>
                    <a:pt x="37146" y="37813"/>
                  </a:lnTo>
                  <a:lnTo>
                    <a:pt x="29601" y="21382"/>
                  </a:lnTo>
                  <a:lnTo>
                    <a:pt x="17860" y="12713"/>
                  </a:lnTo>
                  <a:lnTo>
                    <a:pt x="7749" y="10178"/>
                  </a:lnTo>
                  <a:lnTo>
                    <a:pt x="0" y="2918"/>
                  </a:lnTo>
                  <a:lnTo>
                    <a:pt x="1550" y="0"/>
                  </a:lnTo>
                  <a:lnTo>
                    <a:pt x="16920" y="3756"/>
                  </a:lnTo>
                  <a:lnTo>
                    <a:pt x="43090" y="6988"/>
                  </a:lnTo>
                  <a:lnTo>
                    <a:pt x="68992" y="17958"/>
                  </a:lnTo>
                  <a:lnTo>
                    <a:pt x="72957" y="22382"/>
                  </a:lnTo>
                  <a:lnTo>
                    <a:pt x="82659" y="18270"/>
                  </a:lnTo>
                  <a:lnTo>
                    <a:pt x="99877" y="22876"/>
                  </a:lnTo>
                  <a:lnTo>
                    <a:pt x="107308" y="32684"/>
                  </a:lnTo>
                  <a:lnTo>
                    <a:pt x="119430" y="37990"/>
                  </a:lnTo>
                  <a:lnTo>
                    <a:pt x="115630" y="41473"/>
                  </a:lnTo>
                  <a:lnTo>
                    <a:pt x="126999" y="54367"/>
                  </a:lnTo>
                  <a:lnTo>
                    <a:pt x="125218" y="57286"/>
                  </a:lnTo>
                  <a:lnTo>
                    <a:pt x="115497" y="56117"/>
                  </a:lnTo>
                  <a:lnTo>
                    <a:pt x="101042" y="49506"/>
                  </a:lnTo>
                  <a:lnTo>
                    <a:pt x="97579" y="53595"/>
                  </a:lnTo>
                  <a:lnTo>
                    <a:pt x="74050" y="58061"/>
                  </a:lnTo>
                  <a:lnTo>
                    <a:pt x="54895" y="46600"/>
                  </a:lnTo>
                  <a:lnTo>
                    <a:pt x="36530" y="48248"/>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249" name="Polygon form 213"/>
            <p:cNvSpPr/>
            <p:nvPr/>
          </p:nvSpPr>
          <p:spPr>
            <a:xfrm>
              <a:off x="3896367" y="3778368"/>
              <a:ext cx="84774" cy="154100"/>
            </a:xfrm>
            <a:custGeom>
              <a:avLst/>
              <a:gdLst/>
              <a:ahLst/>
              <a:cxnLst/>
              <a:rect l="0" t="0" r="0" b="0"/>
              <a:pathLst>
                <a:path w="84774" h="154100">
                  <a:moveTo>
                    <a:pt x="84774" y="124710"/>
                  </a:moveTo>
                  <a:lnTo>
                    <a:pt x="53888" y="138832"/>
                  </a:lnTo>
                  <a:lnTo>
                    <a:pt x="42928" y="147104"/>
                  </a:lnTo>
                  <a:lnTo>
                    <a:pt x="25160" y="154100"/>
                  </a:lnTo>
                  <a:lnTo>
                    <a:pt x="7596" y="147245"/>
                  </a:lnTo>
                  <a:lnTo>
                    <a:pt x="8506" y="137726"/>
                  </a:lnTo>
                  <a:lnTo>
                    <a:pt x="0" y="116941"/>
                  </a:lnTo>
                  <a:lnTo>
                    <a:pt x="5192" y="89700"/>
                  </a:lnTo>
                  <a:lnTo>
                    <a:pt x="13524" y="69439"/>
                  </a:lnTo>
                  <a:lnTo>
                    <a:pt x="8397" y="35111"/>
                  </a:lnTo>
                  <a:lnTo>
                    <a:pt x="5775" y="16946"/>
                  </a:lnTo>
                  <a:lnTo>
                    <a:pt x="6279" y="3258"/>
                  </a:lnTo>
                  <a:lnTo>
                    <a:pt x="40316" y="2133"/>
                  </a:lnTo>
                  <a:lnTo>
                    <a:pt x="48970" y="3893"/>
                  </a:lnTo>
                  <a:lnTo>
                    <a:pt x="55298" y="0"/>
                  </a:lnTo>
                  <a:lnTo>
                    <a:pt x="64358" y="1922"/>
                  </a:lnTo>
                  <a:lnTo>
                    <a:pt x="62916" y="9443"/>
                  </a:lnTo>
                  <a:lnTo>
                    <a:pt x="71102" y="21884"/>
                  </a:lnTo>
                  <a:lnTo>
                    <a:pt x="71075" y="39403"/>
                  </a:lnTo>
                  <a:lnTo>
                    <a:pt x="72954" y="58408"/>
                  </a:lnTo>
                  <a:lnTo>
                    <a:pt x="77888" y="67207"/>
                  </a:lnTo>
                  <a:lnTo>
                    <a:pt x="73551" y="88936"/>
                  </a:lnTo>
                  <a:lnTo>
                    <a:pt x="75119" y="100935"/>
                  </a:lnTo>
                  <a:lnTo>
                    <a:pt x="80374" y="116239"/>
                  </a:lnTo>
                  <a:lnTo>
                    <a:pt x="84774" y="124710"/>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50" name="Polygon form 214"/>
            <p:cNvSpPr/>
            <p:nvPr/>
          </p:nvSpPr>
          <p:spPr>
            <a:xfrm>
              <a:off x="3663840" y="3742117"/>
              <a:ext cx="142512" cy="127576"/>
            </a:xfrm>
            <a:custGeom>
              <a:avLst/>
              <a:gdLst/>
              <a:ahLst/>
              <a:cxnLst/>
              <a:rect l="0" t="0" r="0" b="0"/>
              <a:pathLst>
                <a:path w="142512" h="127576">
                  <a:moveTo>
                    <a:pt x="130430" y="118486"/>
                  </a:moveTo>
                  <a:lnTo>
                    <a:pt x="124872" y="117862"/>
                  </a:lnTo>
                  <a:lnTo>
                    <a:pt x="120794" y="127576"/>
                  </a:lnTo>
                  <a:lnTo>
                    <a:pt x="115232" y="127452"/>
                  </a:lnTo>
                  <a:lnTo>
                    <a:pt x="111441" y="122307"/>
                  </a:lnTo>
                  <a:lnTo>
                    <a:pt x="112812" y="112614"/>
                  </a:lnTo>
                  <a:lnTo>
                    <a:pt x="104712" y="97819"/>
                  </a:lnTo>
                  <a:lnTo>
                    <a:pt x="99555" y="100530"/>
                  </a:lnTo>
                  <a:lnTo>
                    <a:pt x="95354" y="101062"/>
                  </a:lnTo>
                  <a:lnTo>
                    <a:pt x="89929" y="102438"/>
                  </a:lnTo>
                  <a:lnTo>
                    <a:pt x="90229" y="93588"/>
                  </a:lnTo>
                  <a:lnTo>
                    <a:pt x="87137" y="87267"/>
                  </a:lnTo>
                  <a:lnTo>
                    <a:pt x="87842" y="80249"/>
                  </a:lnTo>
                  <a:lnTo>
                    <a:pt x="83692" y="70095"/>
                  </a:lnTo>
                  <a:lnTo>
                    <a:pt x="78327" y="61452"/>
                  </a:lnTo>
                  <a:lnTo>
                    <a:pt x="62638" y="61397"/>
                  </a:lnTo>
                  <a:lnTo>
                    <a:pt x="58010" y="65938"/>
                  </a:lnTo>
                  <a:lnTo>
                    <a:pt x="52595" y="66477"/>
                  </a:lnTo>
                  <a:lnTo>
                    <a:pt x="49179" y="71678"/>
                  </a:lnTo>
                  <a:lnTo>
                    <a:pt x="46835" y="78374"/>
                  </a:lnTo>
                  <a:lnTo>
                    <a:pt x="36208" y="88972"/>
                  </a:lnTo>
                  <a:lnTo>
                    <a:pt x="27776" y="74665"/>
                  </a:lnTo>
                  <a:lnTo>
                    <a:pt x="20274" y="65195"/>
                  </a:lnTo>
                  <a:lnTo>
                    <a:pt x="15296" y="62055"/>
                  </a:lnTo>
                  <a:lnTo>
                    <a:pt x="10471" y="57243"/>
                  </a:lnTo>
                  <a:lnTo>
                    <a:pt x="8412" y="46565"/>
                  </a:lnTo>
                  <a:lnTo>
                    <a:pt x="5630" y="41237"/>
                  </a:lnTo>
                  <a:lnTo>
                    <a:pt x="0" y="37264"/>
                  </a:lnTo>
                  <a:lnTo>
                    <a:pt x="8910" y="25512"/>
                  </a:lnTo>
                  <a:lnTo>
                    <a:pt x="14844" y="25976"/>
                  </a:lnTo>
                  <a:lnTo>
                    <a:pt x="20017" y="21935"/>
                  </a:lnTo>
                  <a:lnTo>
                    <a:pt x="24335" y="21907"/>
                  </a:lnTo>
                  <a:lnTo>
                    <a:pt x="27474" y="18714"/>
                  </a:lnTo>
                  <a:lnTo>
                    <a:pt x="25944" y="10706"/>
                  </a:lnTo>
                  <a:lnTo>
                    <a:pt x="28129" y="8187"/>
                  </a:lnTo>
                  <a:lnTo>
                    <a:pt x="28629" y="0"/>
                  </a:lnTo>
                  <a:lnTo>
                    <a:pt x="38058" y="274"/>
                  </a:lnTo>
                  <a:lnTo>
                    <a:pt x="52013" y="6196"/>
                  </a:lnTo>
                  <a:lnTo>
                    <a:pt x="56332" y="5666"/>
                  </a:lnTo>
                  <a:lnTo>
                    <a:pt x="57841" y="2984"/>
                  </a:lnTo>
                  <a:lnTo>
                    <a:pt x="68472" y="4918"/>
                  </a:lnTo>
                  <a:lnTo>
                    <a:pt x="71315" y="3562"/>
                  </a:lnTo>
                  <a:lnTo>
                    <a:pt x="72317" y="12405"/>
                  </a:lnTo>
                  <a:lnTo>
                    <a:pt x="75420" y="12384"/>
                  </a:lnTo>
                  <a:lnTo>
                    <a:pt x="80570" y="9178"/>
                  </a:lnTo>
                  <a:lnTo>
                    <a:pt x="83800" y="9990"/>
                  </a:lnTo>
                  <a:lnTo>
                    <a:pt x="89150" y="16130"/>
                  </a:lnTo>
                  <a:lnTo>
                    <a:pt x="97500" y="18075"/>
                  </a:lnTo>
                  <a:lnTo>
                    <a:pt x="102929" y="12861"/>
                  </a:lnTo>
                  <a:lnTo>
                    <a:pt x="109288" y="9644"/>
                  </a:lnTo>
                  <a:lnTo>
                    <a:pt x="114027" y="6272"/>
                  </a:lnTo>
                  <a:lnTo>
                    <a:pt x="117933" y="6912"/>
                  </a:lnTo>
                  <a:lnTo>
                    <a:pt x="122219" y="12222"/>
                  </a:lnTo>
                  <a:lnTo>
                    <a:pt x="124479" y="18883"/>
                  </a:lnTo>
                  <a:lnTo>
                    <a:pt x="132398" y="29005"/>
                  </a:lnTo>
                  <a:lnTo>
                    <a:pt x="128323" y="35212"/>
                  </a:lnTo>
                  <a:lnTo>
                    <a:pt x="127483" y="43063"/>
                  </a:lnTo>
                  <a:lnTo>
                    <a:pt x="131679" y="40695"/>
                  </a:lnTo>
                  <a:lnTo>
                    <a:pt x="134102" y="43514"/>
                  </a:lnTo>
                  <a:lnTo>
                    <a:pt x="132998" y="50700"/>
                  </a:lnTo>
                  <a:lnTo>
                    <a:pt x="138927" y="57665"/>
                  </a:lnTo>
                  <a:lnTo>
                    <a:pt x="135000" y="59531"/>
                  </a:lnTo>
                  <a:lnTo>
                    <a:pt x="133356" y="67722"/>
                  </a:lnTo>
                  <a:lnTo>
                    <a:pt x="137801" y="77702"/>
                  </a:lnTo>
                  <a:lnTo>
                    <a:pt x="142512" y="97027"/>
                  </a:lnTo>
                  <a:lnTo>
                    <a:pt x="135193" y="99922"/>
                  </a:lnTo>
                  <a:lnTo>
                    <a:pt x="133291" y="103275"/>
                  </a:lnTo>
                  <a:lnTo>
                    <a:pt x="134778" y="107937"/>
                  </a:lnTo>
                  <a:lnTo>
                    <a:pt x="133550" y="118462"/>
                  </a:lnTo>
                  <a:lnTo>
                    <a:pt x="130430" y="118486"/>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251" name="Polygon form 215"/>
            <p:cNvSpPr/>
            <p:nvPr/>
          </p:nvSpPr>
          <p:spPr>
            <a:xfrm>
              <a:off x="3631379" y="3710871"/>
              <a:ext cx="58675" cy="17974"/>
            </a:xfrm>
            <a:custGeom>
              <a:avLst/>
              <a:gdLst/>
              <a:ahLst/>
              <a:cxnLst/>
              <a:rect l="0" t="0" r="0" b="0"/>
              <a:pathLst>
                <a:path w="58675" h="17974">
                  <a:moveTo>
                    <a:pt x="0" y="17405"/>
                  </a:moveTo>
                  <a:lnTo>
                    <a:pt x="2741" y="6694"/>
                  </a:lnTo>
                  <a:lnTo>
                    <a:pt x="24007" y="6075"/>
                  </a:lnTo>
                  <a:lnTo>
                    <a:pt x="28537" y="369"/>
                  </a:lnTo>
                  <a:lnTo>
                    <a:pt x="34729" y="0"/>
                  </a:lnTo>
                  <a:lnTo>
                    <a:pt x="42304" y="5970"/>
                  </a:lnTo>
                  <a:lnTo>
                    <a:pt x="48356" y="6102"/>
                  </a:lnTo>
                  <a:lnTo>
                    <a:pt x="54870" y="2054"/>
                  </a:lnTo>
                  <a:lnTo>
                    <a:pt x="58675" y="9046"/>
                  </a:lnTo>
                  <a:lnTo>
                    <a:pt x="50124" y="14443"/>
                  </a:lnTo>
                  <a:lnTo>
                    <a:pt x="41650" y="13992"/>
                  </a:lnTo>
                  <a:lnTo>
                    <a:pt x="33381" y="8862"/>
                  </a:lnTo>
                  <a:lnTo>
                    <a:pt x="26030" y="14418"/>
                  </a:lnTo>
                  <a:lnTo>
                    <a:pt x="22527" y="14605"/>
                  </a:lnTo>
                  <a:lnTo>
                    <a:pt x="17763" y="17974"/>
                  </a:lnTo>
                  <a:lnTo>
                    <a:pt x="0" y="17405"/>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252" name="Polygon form 216"/>
            <p:cNvSpPr/>
            <p:nvPr/>
          </p:nvSpPr>
          <p:spPr>
            <a:xfrm>
              <a:off x="3634180" y="3741000"/>
              <a:ext cx="58289" cy="38382"/>
            </a:xfrm>
            <a:custGeom>
              <a:avLst/>
              <a:gdLst/>
              <a:ahLst/>
              <a:cxnLst/>
              <a:rect l="0" t="0" r="0" b="0"/>
              <a:pathLst>
                <a:path w="58289" h="38382">
                  <a:moveTo>
                    <a:pt x="29660" y="38382"/>
                  </a:moveTo>
                  <a:lnTo>
                    <a:pt x="19383" y="28254"/>
                  </a:lnTo>
                  <a:lnTo>
                    <a:pt x="11170" y="26633"/>
                  </a:lnTo>
                  <a:lnTo>
                    <a:pt x="6809" y="19807"/>
                  </a:lnTo>
                  <a:lnTo>
                    <a:pt x="6996" y="16130"/>
                  </a:lnTo>
                  <a:lnTo>
                    <a:pt x="1136" y="10984"/>
                  </a:lnTo>
                  <a:lnTo>
                    <a:pt x="0" y="5810"/>
                  </a:lnTo>
                  <a:lnTo>
                    <a:pt x="10438" y="1906"/>
                  </a:lnTo>
                  <a:lnTo>
                    <a:pt x="16895" y="2704"/>
                  </a:lnTo>
                  <a:lnTo>
                    <a:pt x="22190" y="0"/>
                  </a:lnTo>
                  <a:lnTo>
                    <a:pt x="58289" y="1118"/>
                  </a:lnTo>
                  <a:lnTo>
                    <a:pt x="57789" y="9304"/>
                  </a:lnTo>
                  <a:lnTo>
                    <a:pt x="55604" y="11823"/>
                  </a:lnTo>
                  <a:lnTo>
                    <a:pt x="57134" y="19831"/>
                  </a:lnTo>
                  <a:lnTo>
                    <a:pt x="53996" y="23025"/>
                  </a:lnTo>
                  <a:lnTo>
                    <a:pt x="49677" y="23053"/>
                  </a:lnTo>
                  <a:lnTo>
                    <a:pt x="44504" y="27094"/>
                  </a:lnTo>
                  <a:lnTo>
                    <a:pt x="38570" y="26630"/>
                  </a:lnTo>
                  <a:lnTo>
                    <a:pt x="29660" y="38382"/>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253" name="Polygon form 217"/>
            <p:cNvSpPr/>
            <p:nvPr/>
          </p:nvSpPr>
          <p:spPr>
            <a:xfrm>
              <a:off x="4143947" y="3990978"/>
              <a:ext cx="39077" cy="30747"/>
            </a:xfrm>
            <a:custGeom>
              <a:avLst/>
              <a:gdLst/>
              <a:ahLst/>
              <a:cxnLst/>
              <a:rect l="0" t="0" r="0" b="0"/>
              <a:pathLst>
                <a:path w="39077" h="30747">
                  <a:moveTo>
                    <a:pt x="3701" y="30747"/>
                  </a:moveTo>
                  <a:lnTo>
                    <a:pt x="0" y="27108"/>
                  </a:lnTo>
                  <a:lnTo>
                    <a:pt x="6736" y="0"/>
                  </a:lnTo>
                  <a:lnTo>
                    <a:pt x="38851" y="539"/>
                  </a:lnTo>
                  <a:lnTo>
                    <a:pt x="39077" y="29593"/>
                  </a:lnTo>
                  <a:lnTo>
                    <a:pt x="10359" y="29351"/>
                  </a:lnTo>
                  <a:lnTo>
                    <a:pt x="3701" y="30747"/>
                  </a:lnTo>
                  <a:close/>
                </a:path>
              </a:pathLst>
            </a:custGeom>
            <a:solidFill>
              <a:srgbClr val="9ECAE1">
                <a:alpha val="100000"/>
              </a:srgbClr>
            </a:solidFill>
            <a:ln w="5400">
              <a:solidFill>
                <a:srgbClr val="7F7F7F">
                  <a:alpha val="100000"/>
                </a:srgbClr>
              </a:solidFill>
              <a:prstDash val="solid"/>
              <a:round/>
            </a:ln>
          </p:spPr>
          <p:txBody>
            <a:bodyPr/>
            <a:lstStyle/>
            <a:p/>
          </p:txBody>
        </p:sp>
        <p:sp>
          <p:nvSpPr>
            <p:cNvPr id="254" name="Polygon form 218"/>
            <p:cNvSpPr/>
            <p:nvPr/>
          </p:nvSpPr>
          <p:spPr>
            <a:xfrm>
              <a:off x="4317854" y="3033352"/>
              <a:ext cx="108876" cy="131885"/>
            </a:xfrm>
            <a:custGeom>
              <a:avLst/>
              <a:gdLst/>
              <a:ahLst/>
              <a:cxnLst/>
              <a:rect l="0" t="0" r="0" b="0"/>
              <a:pathLst>
                <a:path w="108876" h="131885">
                  <a:moveTo>
                    <a:pt x="108876" y="6262"/>
                  </a:moveTo>
                  <a:lnTo>
                    <a:pt x="105251" y="21485"/>
                  </a:lnTo>
                  <a:lnTo>
                    <a:pt x="101390" y="24263"/>
                  </a:lnTo>
                  <a:lnTo>
                    <a:pt x="90595" y="23745"/>
                  </a:lnTo>
                  <a:lnTo>
                    <a:pt x="81162" y="21602"/>
                  </a:lnTo>
                  <a:lnTo>
                    <a:pt x="60535" y="28202"/>
                  </a:lnTo>
                  <a:lnTo>
                    <a:pt x="74203" y="41612"/>
                  </a:lnTo>
                  <a:lnTo>
                    <a:pt x="65636" y="45683"/>
                  </a:lnTo>
                  <a:lnTo>
                    <a:pt x="55787" y="45847"/>
                  </a:lnTo>
                  <a:lnTo>
                    <a:pt x="45185" y="33529"/>
                  </a:lnTo>
                  <a:lnTo>
                    <a:pt x="42402" y="38878"/>
                  </a:lnTo>
                  <a:lnTo>
                    <a:pt x="47783" y="53259"/>
                  </a:lnTo>
                  <a:lnTo>
                    <a:pt x="57783" y="64481"/>
                  </a:lnTo>
                  <a:lnTo>
                    <a:pt x="51601" y="69869"/>
                  </a:lnTo>
                  <a:lnTo>
                    <a:pt x="62611" y="80876"/>
                  </a:lnTo>
                  <a:lnTo>
                    <a:pt x="72141" y="87765"/>
                  </a:lnTo>
                  <a:lnTo>
                    <a:pt x="73756" y="101422"/>
                  </a:lnTo>
                  <a:lnTo>
                    <a:pt x="56570" y="95238"/>
                  </a:lnTo>
                  <a:lnTo>
                    <a:pt x="63024" y="107498"/>
                  </a:lnTo>
                  <a:lnTo>
                    <a:pt x="51858" y="110185"/>
                  </a:lnTo>
                  <a:lnTo>
                    <a:pt x="60632" y="131432"/>
                  </a:lnTo>
                  <a:lnTo>
                    <a:pt x="48672" y="131885"/>
                  </a:lnTo>
                  <a:lnTo>
                    <a:pt x="32973" y="121552"/>
                  </a:lnTo>
                  <a:lnTo>
                    <a:pt x="24566" y="102298"/>
                  </a:lnTo>
                  <a:lnTo>
                    <a:pt x="20035" y="86258"/>
                  </a:lnTo>
                  <a:lnTo>
                    <a:pt x="12106" y="75235"/>
                  </a:lnTo>
                  <a:lnTo>
                    <a:pt x="1797" y="61566"/>
                  </a:lnTo>
                  <a:lnTo>
                    <a:pt x="0" y="54700"/>
                  </a:lnTo>
                  <a:lnTo>
                    <a:pt x="7198" y="42882"/>
                  </a:lnTo>
                  <a:lnTo>
                    <a:pt x="7546" y="35017"/>
                  </a:lnTo>
                  <a:lnTo>
                    <a:pt x="12956" y="31441"/>
                  </a:lnTo>
                  <a:lnTo>
                    <a:pt x="12717" y="25089"/>
                  </a:lnTo>
                  <a:lnTo>
                    <a:pt x="24022" y="22800"/>
                  </a:lnTo>
                  <a:lnTo>
                    <a:pt x="30205" y="17428"/>
                  </a:lnTo>
                  <a:lnTo>
                    <a:pt x="39771" y="17765"/>
                  </a:lnTo>
                  <a:lnTo>
                    <a:pt x="42228" y="13513"/>
                  </a:lnTo>
                  <a:lnTo>
                    <a:pt x="45489" y="12663"/>
                  </a:lnTo>
                  <a:lnTo>
                    <a:pt x="58539" y="13175"/>
                  </a:lnTo>
                  <a:lnTo>
                    <a:pt x="71844" y="6323"/>
                  </a:lnTo>
                  <a:lnTo>
                    <a:pt x="85145" y="14580"/>
                  </a:lnTo>
                  <a:lnTo>
                    <a:pt x="100824" y="12044"/>
                  </a:lnTo>
                  <a:lnTo>
                    <a:pt x="99583" y="0"/>
                  </a:lnTo>
                  <a:lnTo>
                    <a:pt x="108876" y="6262"/>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255" name="Polygon form 219"/>
            <p:cNvSpPr/>
            <p:nvPr/>
          </p:nvSpPr>
          <p:spPr>
            <a:xfrm>
              <a:off x="4387497" y="3182006"/>
              <a:ext cx="50318" cy="18743"/>
            </a:xfrm>
            <a:custGeom>
              <a:avLst/>
              <a:gdLst/>
              <a:ahLst/>
              <a:cxnLst/>
              <a:rect l="0" t="0" r="0" b="0"/>
              <a:pathLst>
                <a:path w="50318" h="18743">
                  <a:moveTo>
                    <a:pt x="2431" y="0"/>
                  </a:moveTo>
                  <a:lnTo>
                    <a:pt x="13086" y="8021"/>
                  </a:lnTo>
                  <a:lnTo>
                    <a:pt x="27076" y="6456"/>
                  </a:lnTo>
                  <a:lnTo>
                    <a:pt x="40740" y="7988"/>
                  </a:lnTo>
                  <a:lnTo>
                    <a:pt x="40712" y="12204"/>
                  </a:lnTo>
                  <a:lnTo>
                    <a:pt x="50318" y="9163"/>
                  </a:lnTo>
                  <a:lnTo>
                    <a:pt x="48754" y="16332"/>
                  </a:lnTo>
                  <a:lnTo>
                    <a:pt x="22773" y="18743"/>
                  </a:lnTo>
                  <a:lnTo>
                    <a:pt x="22585" y="14750"/>
                  </a:lnTo>
                  <a:lnTo>
                    <a:pt x="0" y="10320"/>
                  </a:lnTo>
                  <a:lnTo>
                    <a:pt x="2431" y="0"/>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256" name="Polygon form 220"/>
            <p:cNvSpPr/>
            <p:nvPr/>
          </p:nvSpPr>
          <p:spPr>
            <a:xfrm>
              <a:off x="3154095" y="2025224"/>
              <a:ext cx="680457" cy="560405"/>
            </a:xfrm>
            <a:custGeom>
              <a:avLst/>
              <a:gdLst/>
              <a:ahLst/>
              <a:cxnLst/>
              <a:rect l="0" t="0" r="0" b="0"/>
              <a:pathLst>
                <a:path w="680457" h="560405">
                  <a:moveTo>
                    <a:pt x="344098" y="21530"/>
                  </a:moveTo>
                  <a:lnTo>
                    <a:pt x="384219" y="8296"/>
                  </a:lnTo>
                  <a:lnTo>
                    <a:pt x="417578" y="10107"/>
                  </a:lnTo>
                  <a:lnTo>
                    <a:pt x="433945" y="1639"/>
                  </a:lnTo>
                  <a:lnTo>
                    <a:pt x="468781" y="0"/>
                  </a:lnTo>
                  <a:lnTo>
                    <a:pt x="544341" y="4209"/>
                  </a:lnTo>
                  <a:lnTo>
                    <a:pt x="599958" y="23977"/>
                  </a:lnTo>
                  <a:lnTo>
                    <a:pt x="579288" y="32987"/>
                  </a:lnTo>
                  <a:lnTo>
                    <a:pt x="540828" y="33503"/>
                  </a:lnTo>
                  <a:lnTo>
                    <a:pt x="486338" y="34933"/>
                  </a:lnTo>
                  <a:lnTo>
                    <a:pt x="489814" y="39278"/>
                  </a:lnTo>
                  <a:lnTo>
                    <a:pt x="526193" y="37259"/>
                  </a:lnTo>
                  <a:lnTo>
                    <a:pt x="554009" y="45977"/>
                  </a:lnTo>
                  <a:lnTo>
                    <a:pt x="575597" y="38915"/>
                  </a:lnTo>
                  <a:lnTo>
                    <a:pt x="581762" y="47627"/>
                  </a:lnTo>
                  <a:lnTo>
                    <a:pt x="566943" y="61425"/>
                  </a:lnTo>
                  <a:lnTo>
                    <a:pt x="595266" y="52852"/>
                  </a:lnTo>
                  <a:lnTo>
                    <a:pt x="646535" y="44068"/>
                  </a:lnTo>
                  <a:lnTo>
                    <a:pt x="676176" y="48984"/>
                  </a:lnTo>
                  <a:lnTo>
                    <a:pt x="680457" y="59318"/>
                  </a:lnTo>
                  <a:lnTo>
                    <a:pt x="635388" y="76065"/>
                  </a:lnTo>
                  <a:lnTo>
                    <a:pt x="628435" y="81535"/>
                  </a:lnTo>
                  <a:lnTo>
                    <a:pt x="593859" y="85287"/>
                  </a:lnTo>
                  <a:lnTo>
                    <a:pt x="618118" y="86742"/>
                  </a:lnTo>
                  <a:lnTo>
                    <a:pt x="602095" y="104117"/>
                  </a:lnTo>
                  <a:lnTo>
                    <a:pt x="590094" y="119594"/>
                  </a:lnTo>
                  <a:lnTo>
                    <a:pt x="584847" y="146344"/>
                  </a:lnTo>
                  <a:lnTo>
                    <a:pt x="595305" y="162233"/>
                  </a:lnTo>
                  <a:lnTo>
                    <a:pt x="577304" y="162974"/>
                  </a:lnTo>
                  <a:lnTo>
                    <a:pt x="556866" y="170288"/>
                  </a:lnTo>
                  <a:lnTo>
                    <a:pt x="575458" y="183356"/>
                  </a:lnTo>
                  <a:lnTo>
                    <a:pt x="574155" y="203833"/>
                  </a:lnTo>
                  <a:lnTo>
                    <a:pt x="561068" y="205863"/>
                  </a:lnTo>
                  <a:lnTo>
                    <a:pt x="572442" y="226794"/>
                  </a:lnTo>
                  <a:lnTo>
                    <a:pt x="545342" y="228093"/>
                  </a:lnTo>
                  <a:lnTo>
                    <a:pt x="557374" y="238105"/>
                  </a:lnTo>
                  <a:lnTo>
                    <a:pt x="551694" y="246526"/>
                  </a:lnTo>
                  <a:lnTo>
                    <a:pt x="533667" y="249956"/>
                  </a:lnTo>
                  <a:lnTo>
                    <a:pt x="516572" y="249716"/>
                  </a:lnTo>
                  <a:lnTo>
                    <a:pt x="528471" y="266284"/>
                  </a:lnTo>
                  <a:lnTo>
                    <a:pt x="526397" y="276994"/>
                  </a:lnTo>
                  <a:lnTo>
                    <a:pt x="503915" y="266584"/>
                  </a:lnTo>
                  <a:lnTo>
                    <a:pt x="496029" y="272891"/>
                  </a:lnTo>
                  <a:lnTo>
                    <a:pt x="511546" y="279230"/>
                  </a:lnTo>
                  <a:lnTo>
                    <a:pt x="524952" y="294234"/>
                  </a:lnTo>
                  <a:lnTo>
                    <a:pt x="525913" y="313696"/>
                  </a:lnTo>
                  <a:lnTo>
                    <a:pt x="502030" y="317908"/>
                  </a:lnTo>
                  <a:lnTo>
                    <a:pt x="494137" y="308443"/>
                  </a:lnTo>
                  <a:lnTo>
                    <a:pt x="481545" y="294313"/>
                  </a:lnTo>
                  <a:lnTo>
                    <a:pt x="482121" y="310718"/>
                  </a:lnTo>
                  <a:lnTo>
                    <a:pt x="464237" y="323043"/>
                  </a:lnTo>
                  <a:lnTo>
                    <a:pt x="498093" y="324764"/>
                  </a:lnTo>
                  <a:lnTo>
                    <a:pt x="515678" y="326413"/>
                  </a:lnTo>
                  <a:lnTo>
                    <a:pt x="476305" y="346680"/>
                  </a:lnTo>
                  <a:lnTo>
                    <a:pt x="436040" y="364856"/>
                  </a:lnTo>
                  <a:lnTo>
                    <a:pt x="394994" y="372215"/>
                  </a:lnTo>
                  <a:lnTo>
                    <a:pt x="380258" y="371936"/>
                  </a:lnTo>
                  <a:lnTo>
                    <a:pt x="363874" y="380820"/>
                  </a:lnTo>
                  <a:lnTo>
                    <a:pt x="337935" y="405656"/>
                  </a:lnTo>
                  <a:lnTo>
                    <a:pt x="303624" y="421625"/>
                  </a:lnTo>
                  <a:lnTo>
                    <a:pt x="293837" y="422324"/>
                  </a:lnTo>
                  <a:lnTo>
                    <a:pt x="273708" y="427642"/>
                  </a:lnTo>
                  <a:lnTo>
                    <a:pt x="252105" y="432602"/>
                  </a:lnTo>
                  <a:lnTo>
                    <a:pt x="235409" y="447050"/>
                  </a:lnTo>
                  <a:lnTo>
                    <a:pt x="229772" y="463878"/>
                  </a:lnTo>
                  <a:lnTo>
                    <a:pt x="217575" y="479407"/>
                  </a:lnTo>
                  <a:lnTo>
                    <a:pt x="188125" y="497819"/>
                  </a:lnTo>
                  <a:lnTo>
                    <a:pt x="187851" y="516810"/>
                  </a:lnTo>
                  <a:lnTo>
                    <a:pt x="175007" y="536468"/>
                  </a:lnTo>
                  <a:lnTo>
                    <a:pt x="160094" y="559694"/>
                  </a:lnTo>
                  <a:lnTo>
                    <a:pt x="138815" y="560405"/>
                  </a:lnTo>
                  <a:lnTo>
                    <a:pt x="123641" y="539942"/>
                  </a:lnTo>
                  <a:lnTo>
                    <a:pt x="94493" y="538669"/>
                  </a:lnTo>
                  <a:lnTo>
                    <a:pt x="85146" y="524914"/>
                  </a:lnTo>
                  <a:lnTo>
                    <a:pt x="84298" y="501061"/>
                  </a:lnTo>
                  <a:lnTo>
                    <a:pt x="71436" y="470180"/>
                  </a:lnTo>
                  <a:lnTo>
                    <a:pt x="70738" y="454259"/>
                  </a:lnTo>
                  <a:lnTo>
                    <a:pt x="77862" y="432674"/>
                  </a:lnTo>
                  <a:lnTo>
                    <a:pt x="68538" y="409760"/>
                  </a:lnTo>
                  <a:lnTo>
                    <a:pt x="81241" y="392385"/>
                  </a:lnTo>
                  <a:lnTo>
                    <a:pt x="76132" y="383566"/>
                  </a:lnTo>
                  <a:lnTo>
                    <a:pt x="101980" y="356300"/>
                  </a:lnTo>
                  <a:lnTo>
                    <a:pt x="125681" y="348304"/>
                  </a:lnTo>
                  <a:lnTo>
                    <a:pt x="135307" y="338559"/>
                  </a:lnTo>
                  <a:lnTo>
                    <a:pt x="146451" y="320065"/>
                  </a:lnTo>
                  <a:lnTo>
                    <a:pt x="127924" y="327863"/>
                  </a:lnTo>
                  <a:lnTo>
                    <a:pt x="119274" y="331096"/>
                  </a:lnTo>
                  <a:lnTo>
                    <a:pt x="106101" y="333971"/>
                  </a:lnTo>
                  <a:lnTo>
                    <a:pt x="94066" y="325488"/>
                  </a:lnTo>
                  <a:lnTo>
                    <a:pt x="101168" y="309311"/>
                  </a:lnTo>
                  <a:lnTo>
                    <a:pt x="112387" y="296908"/>
                  </a:lnTo>
                  <a:lnTo>
                    <a:pt x="124207" y="297090"/>
                  </a:lnTo>
                  <a:lnTo>
                    <a:pt x="146906" y="304537"/>
                  </a:lnTo>
                  <a:lnTo>
                    <a:pt x="132539" y="288506"/>
                  </a:lnTo>
                  <a:lnTo>
                    <a:pt x="125440" y="279888"/>
                  </a:lnTo>
                  <a:lnTo>
                    <a:pt x="111388" y="282662"/>
                  </a:lnTo>
                  <a:lnTo>
                    <a:pt x="104080" y="276313"/>
                  </a:lnTo>
                  <a:lnTo>
                    <a:pt x="129282" y="254880"/>
                  </a:lnTo>
                  <a:lnTo>
                    <a:pt x="126550" y="245740"/>
                  </a:lnTo>
                  <a:lnTo>
                    <a:pt x="125844" y="228985"/>
                  </a:lnTo>
                  <a:lnTo>
                    <a:pt x="125665" y="203350"/>
                  </a:lnTo>
                  <a:lnTo>
                    <a:pt x="116206" y="193544"/>
                  </a:lnTo>
                  <a:lnTo>
                    <a:pt x="122174" y="183722"/>
                  </a:lnTo>
                  <a:lnTo>
                    <a:pt x="100083" y="168600"/>
                  </a:lnTo>
                  <a:lnTo>
                    <a:pt x="77265" y="165751"/>
                  </a:lnTo>
                  <a:lnTo>
                    <a:pt x="46620" y="165190"/>
                  </a:lnTo>
                  <a:lnTo>
                    <a:pt x="18074" y="165468"/>
                  </a:lnTo>
                  <a:lnTo>
                    <a:pt x="10421" y="157404"/>
                  </a:lnTo>
                  <a:lnTo>
                    <a:pt x="2024" y="141858"/>
                  </a:lnTo>
                  <a:lnTo>
                    <a:pt x="36117" y="136118"/>
                  </a:lnTo>
                  <a:lnTo>
                    <a:pt x="58963" y="136009"/>
                  </a:lnTo>
                  <a:lnTo>
                    <a:pt x="16909" y="127628"/>
                  </a:lnTo>
                  <a:lnTo>
                    <a:pt x="0" y="116974"/>
                  </a:lnTo>
                  <a:lnTo>
                    <a:pt x="8560" y="108163"/>
                  </a:lnTo>
                  <a:lnTo>
                    <a:pt x="57156" y="99168"/>
                  </a:lnTo>
                  <a:lnTo>
                    <a:pt x="103827" y="89920"/>
                  </a:lnTo>
                  <a:lnTo>
                    <a:pt x="113984" y="81716"/>
                  </a:lnTo>
                  <a:lnTo>
                    <a:pt x="92370" y="72223"/>
                  </a:lnTo>
                  <a:lnTo>
                    <a:pt x="108279" y="63480"/>
                  </a:lnTo>
                  <a:lnTo>
                    <a:pt x="155245" y="48903"/>
                  </a:lnTo>
                  <a:lnTo>
                    <a:pt x="171605" y="47004"/>
                  </a:lnTo>
                  <a:lnTo>
                    <a:pt x="174974" y="36503"/>
                  </a:lnTo>
                  <a:lnTo>
                    <a:pt x="202704" y="31291"/>
                  </a:lnTo>
                  <a:lnTo>
                    <a:pt x="235446" y="28695"/>
                  </a:lnTo>
                  <a:lnTo>
                    <a:pt x="265807" y="29462"/>
                  </a:lnTo>
                  <a:lnTo>
                    <a:pt x="272056" y="37051"/>
                  </a:lnTo>
                  <a:lnTo>
                    <a:pt x="306030" y="24987"/>
                  </a:lnTo>
                  <a:lnTo>
                    <a:pt x="324533" y="34411"/>
                  </a:lnTo>
                  <a:lnTo>
                    <a:pt x="337469" y="36649"/>
                  </a:lnTo>
                  <a:lnTo>
                    <a:pt x="354208" y="44864"/>
                  </a:lnTo>
                  <a:lnTo>
                    <a:pt x="337222" y="31545"/>
                  </a:lnTo>
                  <a:lnTo>
                    <a:pt x="344098" y="21530"/>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257" name="Polygon form 221"/>
            <p:cNvSpPr/>
            <p:nvPr/>
          </p:nvSpPr>
          <p:spPr>
            <a:xfrm>
              <a:off x="2165800" y="3592621"/>
              <a:ext cx="81932" cy="104066"/>
            </a:xfrm>
            <a:custGeom>
              <a:avLst/>
              <a:gdLst/>
              <a:ahLst/>
              <a:cxnLst/>
              <a:rect l="0" t="0" r="0" b="0"/>
              <a:pathLst>
                <a:path w="81932" h="104066">
                  <a:moveTo>
                    <a:pt x="38629" y="104066"/>
                  </a:moveTo>
                  <a:lnTo>
                    <a:pt x="29240" y="99412"/>
                  </a:lnTo>
                  <a:lnTo>
                    <a:pt x="17179" y="98678"/>
                  </a:lnTo>
                  <a:lnTo>
                    <a:pt x="8979" y="93428"/>
                  </a:lnTo>
                  <a:lnTo>
                    <a:pt x="0" y="82682"/>
                  </a:lnTo>
                  <a:lnTo>
                    <a:pt x="1539" y="75282"/>
                  </a:lnTo>
                  <a:lnTo>
                    <a:pt x="4659" y="69372"/>
                  </a:lnTo>
                  <a:lnTo>
                    <a:pt x="2612" y="64549"/>
                  </a:lnTo>
                  <a:lnTo>
                    <a:pt x="15092" y="44064"/>
                  </a:lnTo>
                  <a:lnTo>
                    <a:pt x="39916" y="44639"/>
                  </a:lnTo>
                  <a:lnTo>
                    <a:pt x="41757" y="36011"/>
                  </a:lnTo>
                  <a:lnTo>
                    <a:pt x="38871" y="34388"/>
                  </a:lnTo>
                  <a:lnTo>
                    <a:pt x="37606" y="28831"/>
                  </a:lnTo>
                  <a:lnTo>
                    <a:pt x="31421" y="22773"/>
                  </a:lnTo>
                  <a:lnTo>
                    <a:pt x="25648" y="14101"/>
                  </a:lnTo>
                  <a:lnTo>
                    <a:pt x="34362" y="14283"/>
                  </a:lnTo>
                  <a:lnTo>
                    <a:pt x="36799" y="0"/>
                  </a:lnTo>
                  <a:lnTo>
                    <a:pt x="54768" y="474"/>
                  </a:lnTo>
                  <a:lnTo>
                    <a:pt x="72516" y="1259"/>
                  </a:lnTo>
                  <a:lnTo>
                    <a:pt x="69061" y="21329"/>
                  </a:lnTo>
                  <a:lnTo>
                    <a:pt x="63102" y="49883"/>
                  </a:lnTo>
                  <a:lnTo>
                    <a:pt x="68878" y="50020"/>
                  </a:lnTo>
                  <a:lnTo>
                    <a:pt x="74506" y="54760"/>
                  </a:lnTo>
                  <a:lnTo>
                    <a:pt x="76733" y="51028"/>
                  </a:lnTo>
                  <a:lnTo>
                    <a:pt x="81932" y="54401"/>
                  </a:lnTo>
                  <a:lnTo>
                    <a:pt x="71704" y="63846"/>
                  </a:lnTo>
                  <a:lnTo>
                    <a:pt x="61502" y="70716"/>
                  </a:lnTo>
                  <a:lnTo>
                    <a:pt x="59449" y="75555"/>
                  </a:lnTo>
                  <a:lnTo>
                    <a:pt x="60301" y="80567"/>
                  </a:lnTo>
                  <a:lnTo>
                    <a:pt x="55384" y="86912"/>
                  </a:lnTo>
                  <a:lnTo>
                    <a:pt x="50628" y="88369"/>
                  </a:lnTo>
                  <a:lnTo>
                    <a:pt x="51255" y="91380"/>
                  </a:lnTo>
                  <a:lnTo>
                    <a:pt x="47231" y="94103"/>
                  </a:lnTo>
                  <a:lnTo>
                    <a:pt x="39719" y="100356"/>
                  </a:lnTo>
                  <a:lnTo>
                    <a:pt x="38629" y="104066"/>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258" name="Polygon form 222"/>
            <p:cNvSpPr/>
            <p:nvPr/>
          </p:nvSpPr>
          <p:spPr>
            <a:xfrm>
              <a:off x="2750732" y="3839563"/>
              <a:ext cx="93636" cy="175266"/>
            </a:xfrm>
            <a:custGeom>
              <a:avLst/>
              <a:gdLst/>
              <a:ahLst/>
              <a:cxnLst/>
              <a:rect l="0" t="0" r="0" b="0"/>
              <a:pathLst>
                <a:path w="93636" h="175266">
                  <a:moveTo>
                    <a:pt x="35157" y="0"/>
                  </a:moveTo>
                  <a:lnTo>
                    <a:pt x="47603" y="9179"/>
                  </a:lnTo>
                  <a:lnTo>
                    <a:pt x="59020" y="25337"/>
                  </a:lnTo>
                  <a:lnTo>
                    <a:pt x="59030" y="38037"/>
                  </a:lnTo>
                  <a:lnTo>
                    <a:pt x="66420" y="38669"/>
                  </a:lnTo>
                  <a:lnTo>
                    <a:pt x="76497" y="50758"/>
                  </a:lnTo>
                  <a:lnTo>
                    <a:pt x="83959" y="59380"/>
                  </a:lnTo>
                  <a:lnTo>
                    <a:pt x="80090" y="81526"/>
                  </a:lnTo>
                  <a:lnTo>
                    <a:pt x="67938" y="87901"/>
                  </a:lnTo>
                  <a:lnTo>
                    <a:pt x="68841" y="93719"/>
                  </a:lnTo>
                  <a:lnTo>
                    <a:pt x="64876" y="106422"/>
                  </a:lnTo>
                  <a:lnTo>
                    <a:pt x="73221" y="124354"/>
                  </a:lnTo>
                  <a:lnTo>
                    <a:pt x="79536" y="124403"/>
                  </a:lnTo>
                  <a:lnTo>
                    <a:pt x="81877" y="138321"/>
                  </a:lnTo>
                  <a:lnTo>
                    <a:pt x="93636" y="159763"/>
                  </a:lnTo>
                  <a:lnTo>
                    <a:pt x="88824" y="160636"/>
                  </a:lnTo>
                  <a:lnTo>
                    <a:pt x="77931" y="158527"/>
                  </a:lnTo>
                  <a:lnTo>
                    <a:pt x="71444" y="165070"/>
                  </a:lnTo>
                  <a:lnTo>
                    <a:pt x="62472" y="169381"/>
                  </a:lnTo>
                  <a:lnTo>
                    <a:pt x="56224" y="170438"/>
                  </a:lnTo>
                  <a:lnTo>
                    <a:pt x="54003" y="175266"/>
                  </a:lnTo>
                  <a:lnTo>
                    <a:pt x="44324" y="174030"/>
                  </a:lnTo>
                  <a:lnTo>
                    <a:pt x="32291" y="162432"/>
                  </a:lnTo>
                  <a:lnTo>
                    <a:pt x="31002" y="151005"/>
                  </a:lnTo>
                  <a:lnTo>
                    <a:pt x="26144" y="138510"/>
                  </a:lnTo>
                  <a:lnTo>
                    <a:pt x="29695" y="117502"/>
                  </a:lnTo>
                  <a:lnTo>
                    <a:pt x="35367" y="108826"/>
                  </a:lnTo>
                  <a:lnTo>
                    <a:pt x="31140" y="97336"/>
                  </a:lnTo>
                  <a:lnTo>
                    <a:pt x="24471" y="93566"/>
                  </a:lnTo>
                  <a:lnTo>
                    <a:pt x="27356" y="82737"/>
                  </a:lnTo>
                  <a:lnTo>
                    <a:pt x="22951" y="77024"/>
                  </a:lnTo>
                  <a:lnTo>
                    <a:pt x="12671" y="78062"/>
                  </a:lnTo>
                  <a:lnTo>
                    <a:pt x="0" y="59237"/>
                  </a:lnTo>
                  <a:lnTo>
                    <a:pt x="5596" y="52468"/>
                  </a:lnTo>
                  <a:lnTo>
                    <a:pt x="5669" y="41055"/>
                  </a:lnTo>
                  <a:lnTo>
                    <a:pt x="17947" y="37173"/>
                  </a:lnTo>
                  <a:lnTo>
                    <a:pt x="23033" y="32581"/>
                  </a:lnTo>
                  <a:lnTo>
                    <a:pt x="16714" y="23368"/>
                  </a:lnTo>
                  <a:lnTo>
                    <a:pt x="18860" y="14377"/>
                  </a:lnTo>
                  <a:lnTo>
                    <a:pt x="35157" y="0"/>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259" name="Polygon form 223"/>
            <p:cNvSpPr/>
            <p:nvPr/>
          </p:nvSpPr>
          <p:spPr>
            <a:xfrm>
              <a:off x="2221184" y="3641054"/>
              <a:ext cx="122375" cy="75809"/>
            </a:xfrm>
            <a:custGeom>
              <a:avLst/>
              <a:gdLst/>
              <a:ahLst/>
              <a:cxnLst/>
              <a:rect l="0" t="0" r="0" b="0"/>
              <a:pathLst>
                <a:path w="122375" h="75809">
                  <a:moveTo>
                    <a:pt x="34946" y="75809"/>
                  </a:moveTo>
                  <a:lnTo>
                    <a:pt x="32541" y="67819"/>
                  </a:lnTo>
                  <a:lnTo>
                    <a:pt x="26901" y="65495"/>
                  </a:lnTo>
                  <a:lnTo>
                    <a:pt x="29531" y="55379"/>
                  </a:lnTo>
                  <a:lnTo>
                    <a:pt x="27238" y="52580"/>
                  </a:lnTo>
                  <a:lnTo>
                    <a:pt x="23471" y="50687"/>
                  </a:lnTo>
                  <a:lnTo>
                    <a:pt x="14552" y="53519"/>
                  </a:lnTo>
                  <a:lnTo>
                    <a:pt x="14272" y="50091"/>
                  </a:lnTo>
                  <a:lnTo>
                    <a:pt x="8942" y="45896"/>
                  </a:lnTo>
                  <a:lnTo>
                    <a:pt x="5435" y="40743"/>
                  </a:lnTo>
                  <a:lnTo>
                    <a:pt x="0" y="38479"/>
                  </a:lnTo>
                  <a:lnTo>
                    <a:pt x="4917" y="32134"/>
                  </a:lnTo>
                  <a:lnTo>
                    <a:pt x="4065" y="27121"/>
                  </a:lnTo>
                  <a:lnTo>
                    <a:pt x="6118" y="22283"/>
                  </a:lnTo>
                  <a:lnTo>
                    <a:pt x="16320" y="15413"/>
                  </a:lnTo>
                  <a:lnTo>
                    <a:pt x="26548" y="5968"/>
                  </a:lnTo>
                  <a:lnTo>
                    <a:pt x="28414" y="7006"/>
                  </a:lnTo>
                  <a:lnTo>
                    <a:pt x="33312" y="2662"/>
                  </a:lnTo>
                  <a:lnTo>
                    <a:pt x="38902" y="2436"/>
                  </a:lnTo>
                  <a:lnTo>
                    <a:pt x="40395" y="4542"/>
                  </a:lnTo>
                  <a:lnTo>
                    <a:pt x="43581" y="3359"/>
                  </a:lnTo>
                  <a:lnTo>
                    <a:pt x="52240" y="5860"/>
                  </a:lnTo>
                  <a:lnTo>
                    <a:pt x="61283" y="5416"/>
                  </a:lnTo>
                  <a:lnTo>
                    <a:pt x="67912" y="2772"/>
                  </a:lnTo>
                  <a:lnTo>
                    <a:pt x="70592" y="0"/>
                  </a:lnTo>
                  <a:lnTo>
                    <a:pt x="76567" y="1456"/>
                  </a:lnTo>
                  <a:lnTo>
                    <a:pt x="80952" y="3281"/>
                  </a:lnTo>
                  <a:lnTo>
                    <a:pt x="86098" y="2811"/>
                  </a:lnTo>
                  <a:lnTo>
                    <a:pt x="90257" y="714"/>
                  </a:lnTo>
                  <a:lnTo>
                    <a:pt x="98598" y="4421"/>
                  </a:lnTo>
                  <a:lnTo>
                    <a:pt x="101592" y="5049"/>
                  </a:lnTo>
                  <a:lnTo>
                    <a:pt x="106842" y="9898"/>
                  </a:lnTo>
                  <a:lnTo>
                    <a:pt x="111666" y="15674"/>
                  </a:lnTo>
                  <a:lnTo>
                    <a:pt x="118191" y="19691"/>
                  </a:lnTo>
                  <a:lnTo>
                    <a:pt x="122375" y="26731"/>
                  </a:lnTo>
                  <a:lnTo>
                    <a:pt x="115794" y="26071"/>
                  </a:lnTo>
                  <a:lnTo>
                    <a:pt x="112653" y="29443"/>
                  </a:lnTo>
                  <a:lnTo>
                    <a:pt x="105486" y="32589"/>
                  </a:lnTo>
                  <a:lnTo>
                    <a:pt x="100581" y="32499"/>
                  </a:lnTo>
                  <a:lnTo>
                    <a:pt x="95872" y="35612"/>
                  </a:lnTo>
                  <a:lnTo>
                    <a:pt x="92134" y="34388"/>
                  </a:lnTo>
                  <a:lnTo>
                    <a:pt x="89333" y="30461"/>
                  </a:lnTo>
                  <a:lnTo>
                    <a:pt x="87209" y="31150"/>
                  </a:lnTo>
                  <a:lnTo>
                    <a:pt x="83926" y="37125"/>
                  </a:lnTo>
                  <a:lnTo>
                    <a:pt x="82091" y="36866"/>
                  </a:lnTo>
                  <a:lnTo>
                    <a:pt x="81094" y="42055"/>
                  </a:lnTo>
                  <a:lnTo>
                    <a:pt x="73423" y="48862"/>
                  </a:lnTo>
                  <a:lnTo>
                    <a:pt x="69462" y="51791"/>
                  </a:lnTo>
                  <a:lnTo>
                    <a:pt x="67073" y="54882"/>
                  </a:lnTo>
                  <a:lnTo>
                    <a:pt x="61983" y="49653"/>
                  </a:lnTo>
                  <a:lnTo>
                    <a:pt x="56933" y="56309"/>
                  </a:lnTo>
                  <a:lnTo>
                    <a:pt x="52900" y="56043"/>
                  </a:lnTo>
                  <a:lnTo>
                    <a:pt x="48267" y="56545"/>
                  </a:lnTo>
                  <a:lnTo>
                    <a:pt x="47144" y="68993"/>
                  </a:lnTo>
                  <a:lnTo>
                    <a:pt x="44260" y="69159"/>
                  </a:lnTo>
                  <a:lnTo>
                    <a:pt x="41126" y="74890"/>
                  </a:lnTo>
                  <a:lnTo>
                    <a:pt x="34946" y="75809"/>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260" name="Polygon form 224"/>
            <p:cNvSpPr/>
            <p:nvPr/>
          </p:nvSpPr>
          <p:spPr>
            <a:xfrm>
              <a:off x="4194038" y="2922662"/>
              <a:ext cx="98104" cy="96782"/>
            </a:xfrm>
            <a:custGeom>
              <a:avLst/>
              <a:gdLst/>
              <a:ahLst/>
              <a:cxnLst/>
              <a:rect l="0" t="0" r="0" b="0"/>
              <a:pathLst>
                <a:path w="98104" h="96782">
                  <a:moveTo>
                    <a:pt x="86969" y="13901"/>
                  </a:moveTo>
                  <a:lnTo>
                    <a:pt x="92010" y="23202"/>
                  </a:lnTo>
                  <a:lnTo>
                    <a:pt x="98104" y="30015"/>
                  </a:lnTo>
                  <a:lnTo>
                    <a:pt x="92383" y="39185"/>
                  </a:lnTo>
                  <a:lnTo>
                    <a:pt x="84134" y="33936"/>
                  </a:lnTo>
                  <a:lnTo>
                    <a:pt x="72326" y="34414"/>
                  </a:lnTo>
                  <a:lnTo>
                    <a:pt x="57264" y="30575"/>
                  </a:lnTo>
                  <a:lnTo>
                    <a:pt x="49317" y="31199"/>
                  </a:lnTo>
                  <a:lnTo>
                    <a:pt x="46016" y="36249"/>
                  </a:lnTo>
                  <a:lnTo>
                    <a:pt x="39426" y="30770"/>
                  </a:lnTo>
                  <a:lnTo>
                    <a:pt x="36632" y="40828"/>
                  </a:lnTo>
                  <a:lnTo>
                    <a:pt x="45937" y="52027"/>
                  </a:lnTo>
                  <a:lnTo>
                    <a:pt x="50269" y="59469"/>
                  </a:lnTo>
                  <a:lnTo>
                    <a:pt x="58937" y="68402"/>
                  </a:lnTo>
                  <a:lnTo>
                    <a:pt x="65973" y="73674"/>
                  </a:lnTo>
                  <a:lnTo>
                    <a:pt x="73359" y="83689"/>
                  </a:lnTo>
                  <a:lnTo>
                    <a:pt x="89526" y="92654"/>
                  </a:lnTo>
                  <a:lnTo>
                    <a:pt x="87965" y="96782"/>
                  </a:lnTo>
                  <a:lnTo>
                    <a:pt x="70851" y="88033"/>
                  </a:lnTo>
                  <a:lnTo>
                    <a:pt x="60072" y="79451"/>
                  </a:lnTo>
                  <a:lnTo>
                    <a:pt x="43658" y="72442"/>
                  </a:lnTo>
                  <a:lnTo>
                    <a:pt x="27794" y="54821"/>
                  </a:lnTo>
                  <a:lnTo>
                    <a:pt x="31135" y="52983"/>
                  </a:lnTo>
                  <a:lnTo>
                    <a:pt x="22538" y="42908"/>
                  </a:lnTo>
                  <a:lnTo>
                    <a:pt x="21613" y="34763"/>
                  </a:lnTo>
                  <a:lnTo>
                    <a:pt x="10329" y="31062"/>
                  </a:lnTo>
                  <a:lnTo>
                    <a:pt x="5810" y="41530"/>
                  </a:lnTo>
                  <a:lnTo>
                    <a:pt x="192" y="33495"/>
                  </a:lnTo>
                  <a:lnTo>
                    <a:pt x="0" y="25111"/>
                  </a:lnTo>
                  <a:lnTo>
                    <a:pt x="582" y="24715"/>
                  </a:lnTo>
                  <a:lnTo>
                    <a:pt x="12544" y="25428"/>
                  </a:lnTo>
                  <a:lnTo>
                    <a:pt x="15372" y="21324"/>
                  </a:lnTo>
                  <a:lnTo>
                    <a:pt x="21473" y="25207"/>
                  </a:lnTo>
                  <a:lnTo>
                    <a:pt x="28212" y="25607"/>
                  </a:lnTo>
                  <a:lnTo>
                    <a:pt x="27625" y="18862"/>
                  </a:lnTo>
                  <a:lnTo>
                    <a:pt x="33353" y="16329"/>
                  </a:lnTo>
                  <a:lnTo>
                    <a:pt x="34221" y="6561"/>
                  </a:lnTo>
                  <a:lnTo>
                    <a:pt x="47193" y="0"/>
                  </a:lnTo>
                  <a:lnTo>
                    <a:pt x="52837" y="2911"/>
                  </a:lnTo>
                  <a:lnTo>
                    <a:pt x="66457" y="13116"/>
                  </a:lnTo>
                  <a:lnTo>
                    <a:pt x="80948" y="17588"/>
                  </a:lnTo>
                  <a:lnTo>
                    <a:pt x="86969" y="13901"/>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261" name="Polygon form 225"/>
            <p:cNvSpPr/>
            <p:nvPr/>
          </p:nvSpPr>
          <p:spPr>
            <a:xfrm>
              <a:off x="2523066" y="3549119"/>
              <a:ext cx="57760" cy="47214"/>
            </a:xfrm>
            <a:custGeom>
              <a:avLst/>
              <a:gdLst/>
              <a:ahLst/>
              <a:cxnLst/>
              <a:rect l="0" t="0" r="0" b="0"/>
              <a:pathLst>
                <a:path w="57760" h="47214">
                  <a:moveTo>
                    <a:pt x="30189" y="0"/>
                  </a:moveTo>
                  <a:lnTo>
                    <a:pt x="41716" y="1386"/>
                  </a:lnTo>
                  <a:lnTo>
                    <a:pt x="57760" y="5693"/>
                  </a:lnTo>
                  <a:lnTo>
                    <a:pt x="57455" y="19274"/>
                  </a:lnTo>
                  <a:lnTo>
                    <a:pt x="54618" y="28800"/>
                  </a:lnTo>
                  <a:lnTo>
                    <a:pt x="49336" y="32886"/>
                  </a:lnTo>
                  <a:lnTo>
                    <a:pt x="53250" y="40465"/>
                  </a:lnTo>
                  <a:lnTo>
                    <a:pt x="51929" y="47214"/>
                  </a:lnTo>
                  <a:lnTo>
                    <a:pt x="39712" y="42702"/>
                  </a:lnTo>
                  <a:lnTo>
                    <a:pt x="30382" y="44226"/>
                  </a:lnTo>
                  <a:lnTo>
                    <a:pt x="18881" y="42160"/>
                  </a:lnTo>
                  <a:lnTo>
                    <a:pt x="9213" y="46614"/>
                  </a:lnTo>
                  <a:lnTo>
                    <a:pt x="0" y="38609"/>
                  </a:lnTo>
                  <a:lnTo>
                    <a:pt x="2860" y="30612"/>
                  </a:lnTo>
                  <a:lnTo>
                    <a:pt x="20066" y="34485"/>
                  </a:lnTo>
                  <a:lnTo>
                    <a:pt x="34306" y="36817"/>
                  </a:lnTo>
                  <a:lnTo>
                    <a:pt x="42018" y="31433"/>
                  </a:lnTo>
                  <a:lnTo>
                    <a:pt x="34791" y="20448"/>
                  </a:lnTo>
                  <a:lnTo>
                    <a:pt x="36341" y="10944"/>
                  </a:lnTo>
                  <a:lnTo>
                    <a:pt x="24821" y="6769"/>
                  </a:lnTo>
                  <a:lnTo>
                    <a:pt x="30189" y="0"/>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262" name="Polygon form 226"/>
            <p:cNvSpPr/>
            <p:nvPr/>
          </p:nvSpPr>
          <p:spPr>
            <a:xfrm>
              <a:off x="4234376" y="2870556"/>
              <a:ext cx="106978" cy="69695"/>
            </a:xfrm>
            <a:custGeom>
              <a:avLst/>
              <a:gdLst/>
              <a:ahLst/>
              <a:cxnLst/>
              <a:rect l="0" t="0" r="0" b="0"/>
              <a:pathLst>
                <a:path w="106978" h="69695">
                  <a:moveTo>
                    <a:pt x="0" y="43759"/>
                  </a:moveTo>
                  <a:lnTo>
                    <a:pt x="4257" y="28156"/>
                  </a:lnTo>
                  <a:lnTo>
                    <a:pt x="543" y="22962"/>
                  </a:lnTo>
                  <a:lnTo>
                    <a:pt x="9997" y="22805"/>
                  </a:lnTo>
                  <a:lnTo>
                    <a:pt x="10371" y="12926"/>
                  </a:lnTo>
                  <a:lnTo>
                    <a:pt x="19471" y="19004"/>
                  </a:lnTo>
                  <a:lnTo>
                    <a:pt x="25906" y="21560"/>
                  </a:lnTo>
                  <a:lnTo>
                    <a:pt x="39699" y="18423"/>
                  </a:lnTo>
                  <a:lnTo>
                    <a:pt x="40558" y="13558"/>
                  </a:lnTo>
                  <a:lnTo>
                    <a:pt x="47136" y="12755"/>
                  </a:lnTo>
                  <a:lnTo>
                    <a:pt x="54888" y="8896"/>
                  </a:lnTo>
                  <a:lnTo>
                    <a:pt x="56860" y="10414"/>
                  </a:lnTo>
                  <a:lnTo>
                    <a:pt x="64381" y="7289"/>
                  </a:lnTo>
                  <a:lnTo>
                    <a:pt x="67665" y="1552"/>
                  </a:lnTo>
                  <a:lnTo>
                    <a:pt x="72962" y="0"/>
                  </a:lnTo>
                  <a:lnTo>
                    <a:pt x="91681" y="7069"/>
                  </a:lnTo>
                  <a:lnTo>
                    <a:pt x="94948" y="4544"/>
                  </a:lnTo>
                  <a:lnTo>
                    <a:pt x="105020" y="10967"/>
                  </a:lnTo>
                  <a:lnTo>
                    <a:pt x="106978" y="17422"/>
                  </a:lnTo>
                  <a:lnTo>
                    <a:pt x="97344" y="22648"/>
                  </a:lnTo>
                  <a:lnTo>
                    <a:pt x="91277" y="39146"/>
                  </a:lnTo>
                  <a:lnTo>
                    <a:pt x="82869" y="55673"/>
                  </a:lnTo>
                  <a:lnTo>
                    <a:pt x="69743" y="60418"/>
                  </a:lnTo>
                  <a:lnTo>
                    <a:pt x="59032" y="59492"/>
                  </a:lnTo>
                  <a:lnTo>
                    <a:pt x="46631" y="66008"/>
                  </a:lnTo>
                  <a:lnTo>
                    <a:pt x="40610" y="69695"/>
                  </a:lnTo>
                  <a:lnTo>
                    <a:pt x="26118" y="65223"/>
                  </a:lnTo>
                  <a:lnTo>
                    <a:pt x="12499" y="55018"/>
                  </a:lnTo>
                  <a:lnTo>
                    <a:pt x="6855" y="52107"/>
                  </a:lnTo>
                  <a:lnTo>
                    <a:pt x="2867" y="43995"/>
                  </a:lnTo>
                  <a:lnTo>
                    <a:pt x="0" y="43759"/>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263" name="Polygon form 227"/>
            <p:cNvSpPr/>
            <p:nvPr/>
          </p:nvSpPr>
          <p:spPr>
            <a:xfrm>
              <a:off x="6111078" y="3931985"/>
              <a:ext cx="198169" cy="222568"/>
            </a:xfrm>
            <a:custGeom>
              <a:avLst/>
              <a:gdLst/>
              <a:ahLst/>
              <a:cxnLst/>
              <a:rect l="0" t="0" r="0" b="0"/>
              <a:pathLst>
                <a:path w="198169" h="222568">
                  <a:moveTo>
                    <a:pt x="175613" y="65605"/>
                  </a:moveTo>
                  <a:lnTo>
                    <a:pt x="198169" y="90124"/>
                  </a:lnTo>
                  <a:lnTo>
                    <a:pt x="174813" y="93305"/>
                  </a:lnTo>
                  <a:lnTo>
                    <a:pt x="168331" y="111404"/>
                  </a:lnTo>
                  <a:lnTo>
                    <a:pt x="169079" y="135445"/>
                  </a:lnTo>
                  <a:lnTo>
                    <a:pt x="149837" y="153524"/>
                  </a:lnTo>
                  <a:lnTo>
                    <a:pt x="148664" y="179894"/>
                  </a:lnTo>
                  <a:lnTo>
                    <a:pt x="139414" y="220312"/>
                  </a:lnTo>
                  <a:lnTo>
                    <a:pt x="136962" y="210877"/>
                  </a:lnTo>
                  <a:lnTo>
                    <a:pt x="113995" y="222568"/>
                  </a:lnTo>
                  <a:lnTo>
                    <a:pt x="106939" y="206368"/>
                  </a:lnTo>
                  <a:lnTo>
                    <a:pt x="92943" y="204768"/>
                  </a:lnTo>
                  <a:lnTo>
                    <a:pt x="83445" y="196256"/>
                  </a:lnTo>
                  <a:lnTo>
                    <a:pt x="59623" y="205545"/>
                  </a:lnTo>
                  <a:lnTo>
                    <a:pt x="52920" y="192780"/>
                  </a:lnTo>
                  <a:lnTo>
                    <a:pt x="39948" y="194138"/>
                  </a:lnTo>
                  <a:lnTo>
                    <a:pt x="23794" y="191008"/>
                  </a:lnTo>
                  <a:lnTo>
                    <a:pt x="21712" y="155855"/>
                  </a:lnTo>
                  <a:lnTo>
                    <a:pt x="11987" y="148545"/>
                  </a:lnTo>
                  <a:lnTo>
                    <a:pt x="2742" y="126143"/>
                  </a:lnTo>
                  <a:lnTo>
                    <a:pt x="0" y="103259"/>
                  </a:lnTo>
                  <a:lnTo>
                    <a:pt x="2052" y="79020"/>
                  </a:lnTo>
                  <a:lnTo>
                    <a:pt x="13438" y="61588"/>
                  </a:lnTo>
                  <a:lnTo>
                    <a:pt x="17076" y="79077"/>
                  </a:lnTo>
                  <a:lnTo>
                    <a:pt x="30758" y="93852"/>
                  </a:lnTo>
                  <a:lnTo>
                    <a:pt x="43436" y="88493"/>
                  </a:lnTo>
                  <a:lnTo>
                    <a:pt x="56059" y="90359"/>
                  </a:lnTo>
                  <a:lnTo>
                    <a:pt x="67376" y="77038"/>
                  </a:lnTo>
                  <a:lnTo>
                    <a:pt x="76801" y="74701"/>
                  </a:lnTo>
                  <a:lnTo>
                    <a:pt x="95595" y="82026"/>
                  </a:lnTo>
                  <a:lnTo>
                    <a:pt x="111601" y="76356"/>
                  </a:lnTo>
                  <a:lnTo>
                    <a:pt x="120755" y="39581"/>
                  </a:lnTo>
                  <a:lnTo>
                    <a:pt x="128008" y="30340"/>
                  </a:lnTo>
                  <a:lnTo>
                    <a:pt x="133442" y="214"/>
                  </a:lnTo>
                  <a:lnTo>
                    <a:pt x="156099" y="0"/>
                  </a:lnTo>
                  <a:lnTo>
                    <a:pt x="173420" y="4299"/>
                  </a:lnTo>
                  <a:lnTo>
                    <a:pt x="163323" y="28351"/>
                  </a:lnTo>
                  <a:lnTo>
                    <a:pt x="178702" y="53376"/>
                  </a:lnTo>
                  <a:lnTo>
                    <a:pt x="175613" y="65605"/>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64" name="Polygon form 228"/>
            <p:cNvSpPr/>
            <p:nvPr/>
          </p:nvSpPr>
          <p:spPr>
            <a:xfrm>
              <a:off x="5837584" y="3905653"/>
              <a:ext cx="215999" cy="293018"/>
            </a:xfrm>
            <a:custGeom>
              <a:avLst/>
              <a:gdLst/>
              <a:ahLst/>
              <a:cxnLst/>
              <a:rect l="0" t="0" r="0" b="0"/>
              <a:pathLst>
                <a:path w="215999" h="293018">
                  <a:moveTo>
                    <a:pt x="206618" y="292730"/>
                  </a:moveTo>
                  <a:lnTo>
                    <a:pt x="184789" y="293018"/>
                  </a:lnTo>
                  <a:lnTo>
                    <a:pt x="169519" y="271146"/>
                  </a:lnTo>
                  <a:lnTo>
                    <a:pt x="145293" y="249746"/>
                  </a:lnTo>
                  <a:lnTo>
                    <a:pt x="137521" y="233994"/>
                  </a:lnTo>
                  <a:lnTo>
                    <a:pt x="123317" y="212839"/>
                  </a:lnTo>
                  <a:lnTo>
                    <a:pt x="114022" y="193425"/>
                  </a:lnTo>
                  <a:lnTo>
                    <a:pt x="99530" y="157239"/>
                  </a:lnTo>
                  <a:lnTo>
                    <a:pt x="82246" y="135734"/>
                  </a:lnTo>
                  <a:lnTo>
                    <a:pt x="76306" y="113584"/>
                  </a:lnTo>
                  <a:lnTo>
                    <a:pt x="68728" y="93496"/>
                  </a:lnTo>
                  <a:lnTo>
                    <a:pt x="50575" y="77361"/>
                  </a:lnTo>
                  <a:lnTo>
                    <a:pt x="39613" y="55420"/>
                  </a:lnTo>
                  <a:lnTo>
                    <a:pt x="24238" y="41131"/>
                  </a:lnTo>
                  <a:lnTo>
                    <a:pt x="2416" y="13029"/>
                  </a:lnTo>
                  <a:lnTo>
                    <a:pt x="0" y="0"/>
                  </a:lnTo>
                  <a:lnTo>
                    <a:pt x="12736" y="912"/>
                  </a:lnTo>
                  <a:lnTo>
                    <a:pt x="43493" y="5582"/>
                  </a:lnTo>
                  <a:lnTo>
                    <a:pt x="62154" y="30582"/>
                  </a:lnTo>
                  <a:lnTo>
                    <a:pt x="78118" y="47932"/>
                  </a:lnTo>
                  <a:lnTo>
                    <a:pt x="89375" y="58588"/>
                  </a:lnTo>
                  <a:lnTo>
                    <a:pt x="108842" y="86236"/>
                  </a:lnTo>
                  <a:lnTo>
                    <a:pt x="128912" y="86562"/>
                  </a:lnTo>
                  <a:lnTo>
                    <a:pt x="145829" y="104233"/>
                  </a:lnTo>
                  <a:lnTo>
                    <a:pt x="157481" y="125905"/>
                  </a:lnTo>
                  <a:lnTo>
                    <a:pt x="172558" y="137742"/>
                  </a:lnTo>
                  <a:lnTo>
                    <a:pt x="164576" y="158917"/>
                  </a:lnTo>
                  <a:lnTo>
                    <a:pt x="175802" y="167946"/>
                  </a:lnTo>
                  <a:lnTo>
                    <a:pt x="182884" y="168626"/>
                  </a:lnTo>
                  <a:lnTo>
                    <a:pt x="185942" y="186751"/>
                  </a:lnTo>
                  <a:lnTo>
                    <a:pt x="192485" y="201278"/>
                  </a:lnTo>
                  <a:lnTo>
                    <a:pt x="206910" y="203646"/>
                  </a:lnTo>
                  <a:lnTo>
                    <a:pt x="215999" y="220170"/>
                  </a:lnTo>
                  <a:lnTo>
                    <a:pt x="209703" y="252502"/>
                  </a:lnTo>
                  <a:lnTo>
                    <a:pt x="206618" y="292730"/>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65" name="Polygon form 229"/>
            <p:cNvSpPr/>
            <p:nvPr/>
          </p:nvSpPr>
          <p:spPr>
            <a:xfrm>
              <a:off x="6536688" y="4056193"/>
              <a:ext cx="205603" cy="243165"/>
            </a:xfrm>
            <a:custGeom>
              <a:avLst/>
              <a:gdLst/>
              <a:ahLst/>
              <a:cxnLst/>
              <a:rect l="0" t="0" r="0" b="0"/>
              <a:pathLst>
                <a:path w="205603" h="243165">
                  <a:moveTo>
                    <a:pt x="71441" y="21467"/>
                  </a:moveTo>
                  <a:lnTo>
                    <a:pt x="75671" y="65809"/>
                  </a:lnTo>
                  <a:lnTo>
                    <a:pt x="95335" y="82413"/>
                  </a:lnTo>
                  <a:lnTo>
                    <a:pt x="113053" y="53398"/>
                  </a:lnTo>
                  <a:lnTo>
                    <a:pt x="136196" y="36909"/>
                  </a:lnTo>
                  <a:lnTo>
                    <a:pt x="153740" y="36978"/>
                  </a:lnTo>
                  <a:lnTo>
                    <a:pt x="170339" y="46720"/>
                  </a:lnTo>
                  <a:lnTo>
                    <a:pt x="184633" y="56736"/>
                  </a:lnTo>
                  <a:lnTo>
                    <a:pt x="205603" y="62210"/>
                  </a:lnTo>
                  <a:lnTo>
                    <a:pt x="199953" y="152761"/>
                  </a:lnTo>
                  <a:lnTo>
                    <a:pt x="189692" y="243165"/>
                  </a:lnTo>
                  <a:lnTo>
                    <a:pt x="175357" y="219959"/>
                  </a:lnTo>
                  <a:lnTo>
                    <a:pt x="156169" y="213889"/>
                  </a:lnTo>
                  <a:lnTo>
                    <a:pt x="150348" y="221630"/>
                  </a:lnTo>
                  <a:lnTo>
                    <a:pt x="125430" y="221836"/>
                  </a:lnTo>
                  <a:lnTo>
                    <a:pt x="136482" y="199630"/>
                  </a:lnTo>
                  <a:lnTo>
                    <a:pt x="149704" y="192256"/>
                  </a:lnTo>
                  <a:lnTo>
                    <a:pt x="147698" y="162137"/>
                  </a:lnTo>
                  <a:lnTo>
                    <a:pt x="140312" y="138804"/>
                  </a:lnTo>
                  <a:lnTo>
                    <a:pt x="103899" y="114916"/>
                  </a:lnTo>
                  <a:lnTo>
                    <a:pt x="87811" y="112403"/>
                  </a:lnTo>
                  <a:lnTo>
                    <a:pt x="59713" y="86743"/>
                  </a:lnTo>
                  <a:lnTo>
                    <a:pt x="53159" y="99967"/>
                  </a:lnTo>
                  <a:lnTo>
                    <a:pt x="45454" y="102286"/>
                  </a:lnTo>
                  <a:lnTo>
                    <a:pt x="41553" y="92223"/>
                  </a:lnTo>
                  <a:lnTo>
                    <a:pt x="42100" y="80360"/>
                  </a:lnTo>
                  <a:lnTo>
                    <a:pt x="27629" y="66826"/>
                  </a:lnTo>
                  <a:lnTo>
                    <a:pt x="49251" y="57157"/>
                  </a:lnTo>
                  <a:lnTo>
                    <a:pt x="63301" y="57789"/>
                  </a:lnTo>
                  <a:lnTo>
                    <a:pt x="61898" y="50518"/>
                  </a:lnTo>
                  <a:lnTo>
                    <a:pt x="33017" y="50279"/>
                  </a:lnTo>
                  <a:lnTo>
                    <a:pt x="25649" y="34001"/>
                  </a:lnTo>
                  <a:lnTo>
                    <a:pt x="8127" y="28896"/>
                  </a:lnTo>
                  <a:lnTo>
                    <a:pt x="0" y="15410"/>
                  </a:lnTo>
                  <a:lnTo>
                    <a:pt x="26686" y="8875"/>
                  </a:lnTo>
                  <a:lnTo>
                    <a:pt x="36873" y="0"/>
                  </a:lnTo>
                  <a:lnTo>
                    <a:pt x="68470" y="11280"/>
                  </a:lnTo>
                  <a:lnTo>
                    <a:pt x="71441" y="21467"/>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66" name="Polygon form 230"/>
            <p:cNvSpPr/>
            <p:nvPr/>
          </p:nvSpPr>
          <p:spPr>
            <a:xfrm>
              <a:off x="6303530" y="4001906"/>
              <a:ext cx="128745" cy="195282"/>
            </a:xfrm>
            <a:custGeom>
              <a:avLst/>
              <a:gdLst/>
              <a:ahLst/>
              <a:cxnLst/>
              <a:rect l="0" t="0" r="0" b="0"/>
              <a:pathLst>
                <a:path w="128745" h="195282">
                  <a:moveTo>
                    <a:pt x="128745" y="5997"/>
                  </a:moveTo>
                  <a:lnTo>
                    <a:pt x="113219" y="32705"/>
                  </a:lnTo>
                  <a:lnTo>
                    <a:pt x="98406" y="37880"/>
                  </a:lnTo>
                  <a:lnTo>
                    <a:pt x="79384" y="32655"/>
                  </a:lnTo>
                  <a:lnTo>
                    <a:pt x="46496" y="34023"/>
                  </a:lnTo>
                  <a:lnTo>
                    <a:pt x="29265" y="37877"/>
                  </a:lnTo>
                  <a:lnTo>
                    <a:pt x="26421" y="58050"/>
                  </a:lnTo>
                  <a:lnTo>
                    <a:pt x="43791" y="81808"/>
                  </a:lnTo>
                  <a:lnTo>
                    <a:pt x="54635" y="69744"/>
                  </a:lnTo>
                  <a:lnTo>
                    <a:pt x="91539" y="60708"/>
                  </a:lnTo>
                  <a:lnTo>
                    <a:pt x="89778" y="73052"/>
                  </a:lnTo>
                  <a:lnTo>
                    <a:pt x="81230" y="69137"/>
                  </a:lnTo>
                  <a:lnTo>
                    <a:pt x="72405" y="84798"/>
                  </a:lnTo>
                  <a:lnTo>
                    <a:pt x="54800" y="95089"/>
                  </a:lnTo>
                  <a:lnTo>
                    <a:pt x="72318" y="129475"/>
                  </a:lnTo>
                  <a:lnTo>
                    <a:pt x="68307" y="138633"/>
                  </a:lnTo>
                  <a:lnTo>
                    <a:pt x="84340" y="169711"/>
                  </a:lnTo>
                  <a:lnTo>
                    <a:pt x="82994" y="187302"/>
                  </a:lnTo>
                  <a:lnTo>
                    <a:pt x="71913" y="195025"/>
                  </a:lnTo>
                  <a:lnTo>
                    <a:pt x="64875" y="185515"/>
                  </a:lnTo>
                  <a:lnTo>
                    <a:pt x="75806" y="163730"/>
                  </a:lnTo>
                  <a:lnTo>
                    <a:pt x="55837" y="173857"/>
                  </a:lnTo>
                  <a:lnTo>
                    <a:pt x="51395" y="166407"/>
                  </a:lnTo>
                  <a:lnTo>
                    <a:pt x="54545" y="156124"/>
                  </a:lnTo>
                  <a:lnTo>
                    <a:pt x="41132" y="140333"/>
                  </a:lnTo>
                  <a:lnTo>
                    <a:pt x="43653" y="114340"/>
                  </a:lnTo>
                  <a:lnTo>
                    <a:pt x="30204" y="122358"/>
                  </a:lnTo>
                  <a:lnTo>
                    <a:pt x="30453" y="153451"/>
                  </a:lnTo>
                  <a:lnTo>
                    <a:pt x="28868" y="191587"/>
                  </a:lnTo>
                  <a:lnTo>
                    <a:pt x="16107" y="195282"/>
                  </a:lnTo>
                  <a:lnTo>
                    <a:pt x="8207" y="187360"/>
                  </a:lnTo>
                  <a:lnTo>
                    <a:pt x="15407" y="162937"/>
                  </a:lnTo>
                  <a:lnTo>
                    <a:pt x="13674" y="137224"/>
                  </a:lnTo>
                  <a:lnTo>
                    <a:pt x="5391" y="136958"/>
                  </a:lnTo>
                  <a:lnTo>
                    <a:pt x="0" y="118698"/>
                  </a:lnTo>
                  <a:lnTo>
                    <a:pt x="8705" y="101330"/>
                  </a:lnTo>
                  <a:lnTo>
                    <a:pt x="11990" y="80215"/>
                  </a:lnTo>
                  <a:lnTo>
                    <a:pt x="22221" y="40092"/>
                  </a:lnTo>
                  <a:lnTo>
                    <a:pt x="26310" y="29105"/>
                  </a:lnTo>
                  <a:lnTo>
                    <a:pt x="42848" y="9258"/>
                  </a:lnTo>
                  <a:lnTo>
                    <a:pt x="58385" y="17100"/>
                  </a:lnTo>
                  <a:lnTo>
                    <a:pt x="83317" y="20754"/>
                  </a:lnTo>
                  <a:lnTo>
                    <a:pt x="106004" y="19578"/>
                  </a:lnTo>
                  <a:lnTo>
                    <a:pt x="125176" y="0"/>
                  </a:lnTo>
                  <a:lnTo>
                    <a:pt x="128745" y="5997"/>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67" name="Polygon form 231"/>
            <p:cNvSpPr/>
            <p:nvPr/>
          </p:nvSpPr>
          <p:spPr>
            <a:xfrm>
              <a:off x="6033453" y="4199571"/>
              <a:ext cx="199448" cy="77393"/>
            </a:xfrm>
            <a:custGeom>
              <a:avLst/>
              <a:gdLst/>
              <a:ahLst/>
              <a:cxnLst/>
              <a:rect l="0" t="0" r="0" b="0"/>
              <a:pathLst>
                <a:path w="199448" h="77393">
                  <a:moveTo>
                    <a:pt x="64200" y="23642"/>
                  </a:moveTo>
                  <a:lnTo>
                    <a:pt x="101651" y="26794"/>
                  </a:lnTo>
                  <a:lnTo>
                    <a:pt x="106836" y="16058"/>
                  </a:lnTo>
                  <a:lnTo>
                    <a:pt x="142296" y="29209"/>
                  </a:lnTo>
                  <a:lnTo>
                    <a:pt x="147948" y="46360"/>
                  </a:lnTo>
                  <a:lnTo>
                    <a:pt x="176949" y="51666"/>
                  </a:lnTo>
                  <a:lnTo>
                    <a:pt x="199448" y="67782"/>
                  </a:lnTo>
                  <a:lnTo>
                    <a:pt x="176013" y="77393"/>
                  </a:lnTo>
                  <a:lnTo>
                    <a:pt x="155562" y="66374"/>
                  </a:lnTo>
                  <a:lnTo>
                    <a:pt x="137738" y="66761"/>
                  </a:lnTo>
                  <a:lnTo>
                    <a:pt x="117581" y="64446"/>
                  </a:lnTo>
                  <a:lnTo>
                    <a:pt x="99678" y="59417"/>
                  </a:lnTo>
                  <a:lnTo>
                    <a:pt x="77872" y="49041"/>
                  </a:lnTo>
                  <a:lnTo>
                    <a:pt x="63691" y="46220"/>
                  </a:lnTo>
                  <a:lnTo>
                    <a:pt x="55234" y="49353"/>
                  </a:lnTo>
                  <a:lnTo>
                    <a:pt x="20346" y="38067"/>
                  </a:lnTo>
                  <a:lnTo>
                    <a:pt x="17842" y="26829"/>
                  </a:lnTo>
                  <a:lnTo>
                    <a:pt x="0" y="24669"/>
                  </a:lnTo>
                  <a:lnTo>
                    <a:pt x="15279" y="0"/>
                  </a:lnTo>
                  <a:lnTo>
                    <a:pt x="39053" y="1827"/>
                  </a:lnTo>
                  <a:lnTo>
                    <a:pt x="54213" y="12219"/>
                  </a:lnTo>
                  <a:lnTo>
                    <a:pt x="62224" y="14317"/>
                  </a:lnTo>
                  <a:lnTo>
                    <a:pt x="64200" y="23642"/>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68" name="Polygon form 232"/>
            <p:cNvSpPr/>
            <p:nvPr/>
          </p:nvSpPr>
          <p:spPr>
            <a:xfrm>
              <a:off x="6475073" y="3987289"/>
              <a:ext cx="25390" cy="83170"/>
            </a:xfrm>
            <a:custGeom>
              <a:avLst/>
              <a:gdLst/>
              <a:ahLst/>
              <a:cxnLst/>
              <a:rect l="0" t="0" r="0" b="0"/>
              <a:pathLst>
                <a:path w="25390" h="83170">
                  <a:moveTo>
                    <a:pt x="25390" y="28142"/>
                  </a:moveTo>
                  <a:lnTo>
                    <a:pt x="24588" y="51816"/>
                  </a:lnTo>
                  <a:lnTo>
                    <a:pt x="14395" y="49174"/>
                  </a:lnTo>
                  <a:lnTo>
                    <a:pt x="11403" y="65637"/>
                  </a:lnTo>
                  <a:lnTo>
                    <a:pt x="19433" y="79935"/>
                  </a:lnTo>
                  <a:lnTo>
                    <a:pt x="13868" y="83170"/>
                  </a:lnTo>
                  <a:lnTo>
                    <a:pt x="6041" y="66026"/>
                  </a:lnTo>
                  <a:lnTo>
                    <a:pt x="0" y="31481"/>
                  </a:lnTo>
                  <a:lnTo>
                    <a:pt x="3545" y="9874"/>
                  </a:lnTo>
                  <a:lnTo>
                    <a:pt x="9821" y="0"/>
                  </a:lnTo>
                  <a:lnTo>
                    <a:pt x="11629" y="14763"/>
                  </a:lnTo>
                  <a:lnTo>
                    <a:pt x="23333" y="17087"/>
                  </a:lnTo>
                  <a:lnTo>
                    <a:pt x="25390" y="28142"/>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69" name="Polygon form 233"/>
            <p:cNvSpPr/>
            <p:nvPr/>
          </p:nvSpPr>
          <p:spPr>
            <a:xfrm>
              <a:off x="6482956" y="4122113"/>
              <a:ext cx="57232" cy="28952"/>
            </a:xfrm>
            <a:custGeom>
              <a:avLst/>
              <a:gdLst/>
              <a:ahLst/>
              <a:cxnLst/>
              <a:rect l="0" t="0" r="0" b="0"/>
              <a:pathLst>
                <a:path w="57232" h="28952">
                  <a:moveTo>
                    <a:pt x="51097" y="8094"/>
                  </a:moveTo>
                  <a:lnTo>
                    <a:pt x="57232" y="28952"/>
                  </a:lnTo>
                  <a:lnTo>
                    <a:pt x="41172" y="17584"/>
                  </a:lnTo>
                  <a:lnTo>
                    <a:pt x="24812" y="15160"/>
                  </a:lnTo>
                  <a:lnTo>
                    <a:pt x="13595" y="16845"/>
                  </a:lnTo>
                  <a:lnTo>
                    <a:pt x="0" y="15766"/>
                  </a:lnTo>
                  <a:lnTo>
                    <a:pt x="5320" y="936"/>
                  </a:lnTo>
                  <a:lnTo>
                    <a:pt x="29726" y="0"/>
                  </a:lnTo>
                  <a:lnTo>
                    <a:pt x="51097" y="8094"/>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70" name="Polygon form 234"/>
            <p:cNvSpPr/>
            <p:nvPr/>
          </p:nvSpPr>
          <p:spPr>
            <a:xfrm>
              <a:off x="6314321" y="4262805"/>
              <a:ext cx="60517" cy="21718"/>
            </a:xfrm>
            <a:custGeom>
              <a:avLst/>
              <a:gdLst/>
              <a:ahLst/>
              <a:cxnLst/>
              <a:rect l="0" t="0" r="0" b="0"/>
              <a:pathLst>
                <a:path w="60517" h="21718">
                  <a:moveTo>
                    <a:pt x="60517" y="0"/>
                  </a:moveTo>
                  <a:lnTo>
                    <a:pt x="55988" y="14789"/>
                  </a:lnTo>
                  <a:lnTo>
                    <a:pt x="25674" y="21718"/>
                  </a:lnTo>
                  <a:lnTo>
                    <a:pt x="0" y="17872"/>
                  </a:lnTo>
                  <a:lnTo>
                    <a:pt x="1020" y="8151"/>
                  </a:lnTo>
                  <a:lnTo>
                    <a:pt x="17191" y="2936"/>
                  </a:lnTo>
                  <a:lnTo>
                    <a:pt x="28596" y="11177"/>
                  </a:lnTo>
                  <a:lnTo>
                    <a:pt x="41871" y="9422"/>
                  </a:lnTo>
                  <a:lnTo>
                    <a:pt x="60517" y="0"/>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71" name="Polygon form 235"/>
            <p:cNvSpPr/>
            <p:nvPr/>
          </p:nvSpPr>
          <p:spPr>
            <a:xfrm>
              <a:off x="6378695" y="4285070"/>
              <a:ext cx="35505" cy="38621"/>
            </a:xfrm>
            <a:custGeom>
              <a:avLst/>
              <a:gdLst/>
              <a:ahLst/>
              <a:cxnLst/>
              <a:rect l="0" t="0" r="0" b="0"/>
              <a:pathLst>
                <a:path w="35505" h="38621">
                  <a:moveTo>
                    <a:pt x="19432" y="33173"/>
                  </a:moveTo>
                  <a:lnTo>
                    <a:pt x="1900" y="38621"/>
                  </a:lnTo>
                  <a:lnTo>
                    <a:pt x="0" y="35352"/>
                  </a:lnTo>
                  <a:lnTo>
                    <a:pt x="2988" y="26307"/>
                  </a:lnTo>
                  <a:lnTo>
                    <a:pt x="13504" y="10192"/>
                  </a:lnTo>
                  <a:lnTo>
                    <a:pt x="34168" y="0"/>
                  </a:lnTo>
                  <a:lnTo>
                    <a:pt x="35505" y="5336"/>
                  </a:lnTo>
                  <a:lnTo>
                    <a:pt x="34843" y="13478"/>
                  </a:lnTo>
                  <a:lnTo>
                    <a:pt x="19432" y="33173"/>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72" name="Polygon form 236"/>
            <p:cNvSpPr/>
            <p:nvPr/>
          </p:nvSpPr>
          <p:spPr>
            <a:xfrm>
              <a:off x="6251272" y="4260902"/>
              <a:ext cx="47731" cy="24783"/>
            </a:xfrm>
            <a:custGeom>
              <a:avLst/>
              <a:gdLst/>
              <a:ahLst/>
              <a:cxnLst/>
              <a:rect l="0" t="0" r="0" b="0"/>
              <a:pathLst>
                <a:path w="47731" h="24783">
                  <a:moveTo>
                    <a:pt x="25424" y="0"/>
                  </a:moveTo>
                  <a:lnTo>
                    <a:pt x="31754" y="7207"/>
                  </a:lnTo>
                  <a:lnTo>
                    <a:pt x="44100" y="5280"/>
                  </a:lnTo>
                  <a:lnTo>
                    <a:pt x="47731" y="16665"/>
                  </a:lnTo>
                  <a:lnTo>
                    <a:pt x="24479" y="21515"/>
                  </a:lnTo>
                  <a:lnTo>
                    <a:pt x="10506" y="24783"/>
                  </a:lnTo>
                  <a:lnTo>
                    <a:pt x="0" y="24350"/>
                  </a:lnTo>
                  <a:lnTo>
                    <a:pt x="8412" y="9260"/>
                  </a:lnTo>
                  <a:lnTo>
                    <a:pt x="19183" y="9265"/>
                  </a:lnTo>
                  <a:lnTo>
                    <a:pt x="25424" y="0"/>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73" name="Polygon form 237"/>
            <p:cNvSpPr/>
            <p:nvPr/>
          </p:nvSpPr>
          <p:spPr>
            <a:xfrm>
              <a:off x="6293238" y="4295309"/>
              <a:ext cx="33967" cy="24033"/>
            </a:xfrm>
            <a:custGeom>
              <a:avLst/>
              <a:gdLst/>
              <a:ahLst/>
              <a:cxnLst/>
              <a:rect l="0" t="0" r="0" b="0"/>
              <a:pathLst>
                <a:path w="33967" h="24033">
                  <a:moveTo>
                    <a:pt x="31847" y="23731"/>
                  </a:moveTo>
                  <a:lnTo>
                    <a:pt x="23562" y="24033"/>
                  </a:lnTo>
                  <a:lnTo>
                    <a:pt x="0" y="4805"/>
                  </a:lnTo>
                  <a:lnTo>
                    <a:pt x="18886" y="0"/>
                  </a:lnTo>
                  <a:lnTo>
                    <a:pt x="28165" y="8335"/>
                  </a:lnTo>
                  <a:lnTo>
                    <a:pt x="33967" y="16580"/>
                  </a:lnTo>
                  <a:lnTo>
                    <a:pt x="31847" y="23731"/>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74" name="Polygon form 238"/>
            <p:cNvSpPr/>
            <p:nvPr/>
          </p:nvSpPr>
          <p:spPr>
            <a:xfrm>
              <a:off x="6445560" y="4130589"/>
              <a:ext cx="24502" cy="17833"/>
            </a:xfrm>
            <a:custGeom>
              <a:avLst/>
              <a:gdLst/>
              <a:ahLst/>
              <a:cxnLst/>
              <a:rect l="0" t="0" r="0" b="0"/>
              <a:pathLst>
                <a:path w="24502" h="17833">
                  <a:moveTo>
                    <a:pt x="24502" y="8945"/>
                  </a:moveTo>
                  <a:lnTo>
                    <a:pt x="16674" y="17833"/>
                  </a:lnTo>
                  <a:lnTo>
                    <a:pt x="3302" y="12749"/>
                  </a:lnTo>
                  <a:lnTo>
                    <a:pt x="0" y="1127"/>
                  </a:lnTo>
                  <a:lnTo>
                    <a:pt x="20006" y="0"/>
                  </a:lnTo>
                  <a:lnTo>
                    <a:pt x="24502" y="8945"/>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75" name="Polygon form 239"/>
            <p:cNvSpPr/>
            <p:nvPr/>
          </p:nvSpPr>
          <p:spPr>
            <a:xfrm>
              <a:off x="6600127" y="4195321"/>
              <a:ext cx="13115" cy="39582"/>
            </a:xfrm>
            <a:custGeom>
              <a:avLst/>
              <a:gdLst/>
              <a:ahLst/>
              <a:cxnLst/>
              <a:rect l="0" t="0" r="0" b="0"/>
              <a:pathLst>
                <a:path w="13115" h="39582">
                  <a:moveTo>
                    <a:pt x="11913" y="21144"/>
                  </a:moveTo>
                  <a:lnTo>
                    <a:pt x="0" y="39582"/>
                  </a:lnTo>
                  <a:lnTo>
                    <a:pt x="65" y="18958"/>
                  </a:lnTo>
                  <a:lnTo>
                    <a:pt x="4421" y="9185"/>
                  </a:lnTo>
                  <a:lnTo>
                    <a:pt x="9305" y="0"/>
                  </a:lnTo>
                  <a:lnTo>
                    <a:pt x="13115" y="8085"/>
                  </a:lnTo>
                  <a:lnTo>
                    <a:pt x="11913" y="21144"/>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76" name="Polygon form 240"/>
            <p:cNvSpPr/>
            <p:nvPr/>
          </p:nvSpPr>
          <p:spPr>
            <a:xfrm>
              <a:off x="5256485" y="3159139"/>
              <a:ext cx="523904" cy="687106"/>
            </a:xfrm>
            <a:custGeom>
              <a:avLst/>
              <a:gdLst/>
              <a:ahLst/>
              <a:cxnLst/>
              <a:rect l="0" t="0" r="0" b="0"/>
              <a:pathLst>
                <a:path w="523904" h="687106">
                  <a:moveTo>
                    <a:pt x="109883" y="0"/>
                  </a:moveTo>
                  <a:lnTo>
                    <a:pt x="137845" y="28149"/>
                  </a:lnTo>
                  <a:lnTo>
                    <a:pt x="141929" y="48461"/>
                  </a:lnTo>
                  <a:lnTo>
                    <a:pt x="152761" y="60843"/>
                  </a:lnTo>
                  <a:lnTo>
                    <a:pt x="155745" y="73547"/>
                  </a:lnTo>
                  <a:lnTo>
                    <a:pt x="141780" y="70775"/>
                  </a:lnTo>
                  <a:lnTo>
                    <a:pt x="154378" y="97929"/>
                  </a:lnTo>
                  <a:lnTo>
                    <a:pt x="176562" y="112918"/>
                  </a:lnTo>
                  <a:lnTo>
                    <a:pt x="206682" y="129262"/>
                  </a:lnTo>
                  <a:lnTo>
                    <a:pt x="197970" y="141045"/>
                  </a:lnTo>
                  <a:lnTo>
                    <a:pt x="196713" y="164639"/>
                  </a:lnTo>
                  <a:lnTo>
                    <a:pt x="216990" y="173368"/>
                  </a:lnTo>
                  <a:lnTo>
                    <a:pt x="237503" y="184927"/>
                  </a:lnTo>
                  <a:lnTo>
                    <a:pt x="265188" y="197997"/>
                  </a:lnTo>
                  <a:lnTo>
                    <a:pt x="291489" y="200230"/>
                  </a:lnTo>
                  <a:lnTo>
                    <a:pt x="305378" y="212551"/>
                  </a:lnTo>
                  <a:lnTo>
                    <a:pt x="320371" y="214367"/>
                  </a:lnTo>
                  <a:lnTo>
                    <a:pt x="344259" y="219319"/>
                  </a:lnTo>
                  <a:lnTo>
                    <a:pt x="359691" y="218269"/>
                  </a:lnTo>
                  <a:lnTo>
                    <a:pt x="359309" y="208230"/>
                  </a:lnTo>
                  <a:lnTo>
                    <a:pt x="352740" y="192363"/>
                  </a:lnTo>
                  <a:lnTo>
                    <a:pt x="351324" y="181482"/>
                  </a:lnTo>
                  <a:lnTo>
                    <a:pt x="361204" y="175709"/>
                  </a:lnTo>
                  <a:lnTo>
                    <a:pt x="368023" y="195438"/>
                  </a:lnTo>
                  <a:lnTo>
                    <a:pt x="369736" y="200459"/>
                  </a:lnTo>
                  <a:lnTo>
                    <a:pt x="389124" y="209296"/>
                  </a:lnTo>
                  <a:lnTo>
                    <a:pt x="399798" y="204860"/>
                  </a:lnTo>
                  <a:lnTo>
                    <a:pt x="415947" y="205874"/>
                  </a:lnTo>
                  <a:lnTo>
                    <a:pt x="430923" y="204464"/>
                  </a:lnTo>
                  <a:lnTo>
                    <a:pt x="428033" y="188908"/>
                  </a:lnTo>
                  <a:lnTo>
                    <a:pt x="418278" y="181201"/>
                  </a:lnTo>
                  <a:lnTo>
                    <a:pt x="432325" y="177367"/>
                  </a:lnTo>
                  <a:lnTo>
                    <a:pt x="443773" y="157822"/>
                  </a:lnTo>
                  <a:lnTo>
                    <a:pt x="460208" y="140726"/>
                  </a:lnTo>
                  <a:lnTo>
                    <a:pt x="477487" y="146168"/>
                  </a:lnTo>
                  <a:lnTo>
                    <a:pt x="487316" y="134872"/>
                  </a:lnTo>
                  <a:lnTo>
                    <a:pt x="500744" y="150161"/>
                  </a:lnTo>
                  <a:lnTo>
                    <a:pt x="497726" y="161095"/>
                  </a:lnTo>
                  <a:lnTo>
                    <a:pt x="518727" y="163897"/>
                  </a:lnTo>
                  <a:lnTo>
                    <a:pt x="522981" y="173434"/>
                  </a:lnTo>
                  <a:lnTo>
                    <a:pt x="517872" y="178401"/>
                  </a:lnTo>
                  <a:lnTo>
                    <a:pt x="523904" y="193927"/>
                  </a:lnTo>
                  <a:lnTo>
                    <a:pt x="509349" y="189972"/>
                  </a:lnTo>
                  <a:lnTo>
                    <a:pt x="490218" y="208590"/>
                  </a:lnTo>
                  <a:lnTo>
                    <a:pt x="494711" y="223059"/>
                  </a:lnTo>
                  <a:lnTo>
                    <a:pt x="489981" y="244762"/>
                  </a:lnTo>
                  <a:lnTo>
                    <a:pt x="492176" y="257152"/>
                  </a:lnTo>
                  <a:lnTo>
                    <a:pt x="488955" y="278399"/>
                  </a:lnTo>
                  <a:lnTo>
                    <a:pt x="472852" y="273219"/>
                  </a:lnTo>
                  <a:lnTo>
                    <a:pt x="478321" y="299470"/>
                  </a:lnTo>
                  <a:lnTo>
                    <a:pt x="476025" y="308265"/>
                  </a:lnTo>
                  <a:lnTo>
                    <a:pt x="480448" y="318957"/>
                  </a:lnTo>
                  <a:lnTo>
                    <a:pt x="472424" y="325317"/>
                  </a:lnTo>
                  <a:lnTo>
                    <a:pt x="453365" y="285516"/>
                  </a:lnTo>
                  <a:lnTo>
                    <a:pt x="448179" y="285798"/>
                  </a:lnTo>
                  <a:lnTo>
                    <a:pt x="448808" y="302086"/>
                  </a:lnTo>
                  <a:lnTo>
                    <a:pt x="435479" y="289369"/>
                  </a:lnTo>
                  <a:lnTo>
                    <a:pt x="437938" y="274757"/>
                  </a:lnTo>
                  <a:lnTo>
                    <a:pt x="446009" y="272965"/>
                  </a:lnTo>
                  <a:lnTo>
                    <a:pt x="449455" y="251216"/>
                  </a:lnTo>
                  <a:lnTo>
                    <a:pt x="437575" y="247345"/>
                  </a:lnTo>
                  <a:lnTo>
                    <a:pt x="420291" y="248428"/>
                  </a:lnTo>
                  <a:lnTo>
                    <a:pt x="401612" y="245688"/>
                  </a:lnTo>
                  <a:lnTo>
                    <a:pt x="395614" y="228228"/>
                  </a:lnTo>
                  <a:lnTo>
                    <a:pt x="386385" y="227352"/>
                  </a:lnTo>
                  <a:lnTo>
                    <a:pt x="368866" y="217082"/>
                  </a:lnTo>
                  <a:lnTo>
                    <a:pt x="366513" y="234419"/>
                  </a:lnTo>
                  <a:lnTo>
                    <a:pt x="383267" y="247209"/>
                  </a:lnTo>
                  <a:lnTo>
                    <a:pt x="373779" y="257052"/>
                  </a:lnTo>
                  <a:lnTo>
                    <a:pt x="371754" y="266389"/>
                  </a:lnTo>
                  <a:lnTo>
                    <a:pt x="384894" y="272700"/>
                  </a:lnTo>
                  <a:lnTo>
                    <a:pt x="385143" y="288008"/>
                  </a:lnTo>
                  <a:lnTo>
                    <a:pt x="395882" y="306736"/>
                  </a:lnTo>
                  <a:lnTo>
                    <a:pt x="403276" y="327415"/>
                  </a:lnTo>
                  <a:lnTo>
                    <a:pt x="402474" y="336729"/>
                  </a:lnTo>
                  <a:lnTo>
                    <a:pt x="389480" y="336850"/>
                  </a:lnTo>
                  <a:lnTo>
                    <a:pt x="367095" y="342868"/>
                  </a:lnTo>
                  <a:lnTo>
                    <a:pt x="371904" y="361798"/>
                  </a:lnTo>
                  <a:lnTo>
                    <a:pt x="364529" y="377035"/>
                  </a:lnTo>
                  <a:lnTo>
                    <a:pt x="340053" y="394816"/>
                  </a:lnTo>
                  <a:lnTo>
                    <a:pt x="323582" y="425038"/>
                  </a:lnTo>
                  <a:lnTo>
                    <a:pt x="311635" y="441289"/>
                  </a:lnTo>
                  <a:lnTo>
                    <a:pt x="294912" y="458230"/>
                  </a:lnTo>
                  <a:lnTo>
                    <a:pt x="296565" y="469794"/>
                  </a:lnTo>
                  <a:lnTo>
                    <a:pt x="287807" y="476215"/>
                  </a:lnTo>
                  <a:lnTo>
                    <a:pt x="271621" y="485612"/>
                  </a:lnTo>
                  <a:lnTo>
                    <a:pt x="262756" y="487138"/>
                  </a:lnTo>
                  <a:lnTo>
                    <a:pt x="259451" y="506408"/>
                  </a:lnTo>
                  <a:lnTo>
                    <a:pt x="267477" y="538982"/>
                  </a:lnTo>
                  <a:lnTo>
                    <a:pt x="270865" y="559799"/>
                  </a:lnTo>
                  <a:lnTo>
                    <a:pt x="265109" y="583809"/>
                  </a:lnTo>
                  <a:lnTo>
                    <a:pt x="269019" y="626494"/>
                  </a:lnTo>
                  <a:lnTo>
                    <a:pt x="258990" y="627855"/>
                  </a:lnTo>
                  <a:lnTo>
                    <a:pt x="251644" y="647129"/>
                  </a:lnTo>
                  <a:lnTo>
                    <a:pt x="258253" y="655330"/>
                  </a:lnTo>
                  <a:lnTo>
                    <a:pt x="240896" y="662668"/>
                  </a:lnTo>
                  <a:lnTo>
                    <a:pt x="235480" y="679810"/>
                  </a:lnTo>
                  <a:lnTo>
                    <a:pt x="228071" y="687106"/>
                  </a:lnTo>
                  <a:lnTo>
                    <a:pt x="207892" y="663909"/>
                  </a:lnTo>
                  <a:lnTo>
                    <a:pt x="196136" y="628956"/>
                  </a:lnTo>
                  <a:lnTo>
                    <a:pt x="186467" y="603820"/>
                  </a:lnTo>
                  <a:lnTo>
                    <a:pt x="178541" y="592092"/>
                  </a:lnTo>
                  <a:lnTo>
                    <a:pt x="165859" y="568241"/>
                  </a:lnTo>
                  <a:lnTo>
                    <a:pt x="157763" y="537081"/>
                  </a:lnTo>
                  <a:lnTo>
                    <a:pt x="152661" y="521546"/>
                  </a:lnTo>
                  <a:lnTo>
                    <a:pt x="130950" y="487619"/>
                  </a:lnTo>
                  <a:lnTo>
                    <a:pt x="116642" y="439492"/>
                  </a:lnTo>
                  <a:lnTo>
                    <a:pt x="106349" y="407761"/>
                  </a:lnTo>
                  <a:lnTo>
                    <a:pt x="101835" y="377616"/>
                  </a:lnTo>
                  <a:lnTo>
                    <a:pt x="94394" y="354417"/>
                  </a:lnTo>
                  <a:lnTo>
                    <a:pt x="68973" y="370003"/>
                  </a:lnTo>
                  <a:lnTo>
                    <a:pt x="55034" y="367360"/>
                  </a:lnTo>
                  <a:lnTo>
                    <a:pt x="25352" y="337921"/>
                  </a:lnTo>
                  <a:lnTo>
                    <a:pt x="33040" y="328723"/>
                  </a:lnTo>
                  <a:lnTo>
                    <a:pt x="25808" y="319143"/>
                  </a:lnTo>
                  <a:lnTo>
                    <a:pt x="0" y="298713"/>
                  </a:lnTo>
                  <a:lnTo>
                    <a:pt x="9720" y="281851"/>
                  </a:lnTo>
                  <a:lnTo>
                    <a:pt x="51306" y="280733"/>
                  </a:lnTo>
                  <a:lnTo>
                    <a:pt x="43586" y="259554"/>
                  </a:lnTo>
                  <a:lnTo>
                    <a:pt x="30617" y="247305"/>
                  </a:lnTo>
                  <a:lnTo>
                    <a:pt x="24758" y="228309"/>
                  </a:lnTo>
                  <a:lnTo>
                    <a:pt x="10295" y="217573"/>
                  </a:lnTo>
                  <a:lnTo>
                    <a:pt x="25529" y="190975"/>
                  </a:lnTo>
                  <a:lnTo>
                    <a:pt x="47545" y="192140"/>
                  </a:lnTo>
                  <a:lnTo>
                    <a:pt x="61247" y="165498"/>
                  </a:lnTo>
                  <a:lnTo>
                    <a:pt x="67006" y="139938"/>
                  </a:lnTo>
                  <a:lnTo>
                    <a:pt x="78814" y="114407"/>
                  </a:lnTo>
                  <a:lnTo>
                    <a:pt x="74081" y="96762"/>
                  </a:lnTo>
                  <a:lnTo>
                    <a:pt x="85923" y="81814"/>
                  </a:lnTo>
                  <a:lnTo>
                    <a:pt x="68013" y="70186"/>
                  </a:lnTo>
                  <a:lnTo>
                    <a:pt x="57245" y="53707"/>
                  </a:lnTo>
                  <a:lnTo>
                    <a:pt x="44940" y="32316"/>
                  </a:lnTo>
                  <a:lnTo>
                    <a:pt x="50796" y="21290"/>
                  </a:lnTo>
                  <a:lnTo>
                    <a:pt x="79780" y="26144"/>
                  </a:lnTo>
                  <a:lnTo>
                    <a:pt x="98758" y="21585"/>
                  </a:lnTo>
                  <a:lnTo>
                    <a:pt x="109883" y="0"/>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77" name="Polygon form 241"/>
            <p:cNvSpPr/>
            <p:nvPr/>
          </p:nvSpPr>
          <p:spPr>
            <a:xfrm>
              <a:off x="3798083" y="2715752"/>
              <a:ext cx="65266" cy="83434"/>
            </a:xfrm>
            <a:custGeom>
              <a:avLst/>
              <a:gdLst/>
              <a:ahLst/>
              <a:cxnLst/>
              <a:rect l="0" t="0" r="0" b="0"/>
              <a:pathLst>
                <a:path w="65266" h="83434">
                  <a:moveTo>
                    <a:pt x="63275" y="30609"/>
                  </a:moveTo>
                  <a:lnTo>
                    <a:pt x="65266" y="47857"/>
                  </a:lnTo>
                  <a:lnTo>
                    <a:pt x="52242" y="69343"/>
                  </a:lnTo>
                  <a:lnTo>
                    <a:pt x="22818" y="83434"/>
                  </a:lnTo>
                  <a:lnTo>
                    <a:pt x="0" y="79631"/>
                  </a:lnTo>
                  <a:lnTo>
                    <a:pt x="14558" y="54531"/>
                  </a:lnTo>
                  <a:lnTo>
                    <a:pt x="7609" y="29942"/>
                  </a:lnTo>
                  <a:lnTo>
                    <a:pt x="30295" y="11196"/>
                  </a:lnTo>
                  <a:lnTo>
                    <a:pt x="42804" y="0"/>
                  </a:lnTo>
                  <a:lnTo>
                    <a:pt x="45448" y="12944"/>
                  </a:lnTo>
                  <a:lnTo>
                    <a:pt x="41568" y="25854"/>
                  </a:lnTo>
                  <a:lnTo>
                    <a:pt x="51431" y="25576"/>
                  </a:lnTo>
                  <a:lnTo>
                    <a:pt x="63275" y="30609"/>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278" name="Polygon form 242"/>
            <p:cNvSpPr/>
            <p:nvPr/>
          </p:nvSpPr>
          <p:spPr>
            <a:xfrm>
              <a:off x="4742747" y="3077393"/>
              <a:ext cx="408859" cy="349529"/>
            </a:xfrm>
            <a:custGeom>
              <a:avLst/>
              <a:gdLst/>
              <a:ahLst/>
              <a:cxnLst/>
              <a:rect l="0" t="0" r="0" b="0"/>
              <a:pathLst>
                <a:path w="408859" h="349529">
                  <a:moveTo>
                    <a:pt x="185400" y="56433"/>
                  </a:moveTo>
                  <a:lnTo>
                    <a:pt x="200034" y="51210"/>
                  </a:lnTo>
                  <a:lnTo>
                    <a:pt x="209530" y="36839"/>
                  </a:lnTo>
                  <a:lnTo>
                    <a:pt x="221574" y="37150"/>
                  </a:lnTo>
                  <a:lnTo>
                    <a:pt x="228301" y="32337"/>
                  </a:lnTo>
                  <a:lnTo>
                    <a:pt x="241452" y="34156"/>
                  </a:lnTo>
                  <a:lnTo>
                    <a:pt x="264060" y="45865"/>
                  </a:lnTo>
                  <a:lnTo>
                    <a:pt x="278916" y="48041"/>
                  </a:lnTo>
                  <a:lnTo>
                    <a:pt x="304533" y="68995"/>
                  </a:lnTo>
                  <a:lnTo>
                    <a:pt x="318076" y="69399"/>
                  </a:lnTo>
                  <a:lnTo>
                    <a:pt x="324598" y="89961"/>
                  </a:lnTo>
                  <a:lnTo>
                    <a:pt x="324325" y="120753"/>
                  </a:lnTo>
                  <a:lnTo>
                    <a:pt x="323326" y="138760"/>
                  </a:lnTo>
                  <a:lnTo>
                    <a:pt x="332034" y="142120"/>
                  </a:lnTo>
                  <a:lnTo>
                    <a:pt x="327176" y="155805"/>
                  </a:lnTo>
                  <a:lnTo>
                    <a:pt x="337330" y="175203"/>
                  </a:lnTo>
                  <a:lnTo>
                    <a:pt x="342015" y="190741"/>
                  </a:lnTo>
                  <a:lnTo>
                    <a:pt x="356782" y="194447"/>
                  </a:lnTo>
                  <a:lnTo>
                    <a:pt x="361541" y="210213"/>
                  </a:lnTo>
                  <a:lnTo>
                    <a:pt x="349220" y="232994"/>
                  </a:lnTo>
                  <a:lnTo>
                    <a:pt x="360888" y="245650"/>
                  </a:lnTo>
                  <a:lnTo>
                    <a:pt x="371193" y="260282"/>
                  </a:lnTo>
                  <a:lnTo>
                    <a:pt x="391030" y="270585"/>
                  </a:lnTo>
                  <a:lnTo>
                    <a:pt x="395574" y="292252"/>
                  </a:lnTo>
                  <a:lnTo>
                    <a:pt x="405251" y="295986"/>
                  </a:lnTo>
                  <a:lnTo>
                    <a:pt x="408859" y="307287"/>
                  </a:lnTo>
                  <a:lnTo>
                    <a:pt x="384033" y="320744"/>
                  </a:lnTo>
                  <a:lnTo>
                    <a:pt x="381732" y="349529"/>
                  </a:lnTo>
                  <a:lnTo>
                    <a:pt x="345048" y="342985"/>
                  </a:lnTo>
                  <a:lnTo>
                    <a:pt x="323598" y="337840"/>
                  </a:lnTo>
                  <a:lnTo>
                    <a:pt x="301836" y="335162"/>
                  </a:lnTo>
                  <a:lnTo>
                    <a:pt x="289022" y="305261"/>
                  </a:lnTo>
                  <a:lnTo>
                    <a:pt x="279344" y="301137"/>
                  </a:lnTo>
                  <a:lnTo>
                    <a:pt x="265645" y="305871"/>
                  </a:lnTo>
                  <a:lnTo>
                    <a:pt x="248564" y="318184"/>
                  </a:lnTo>
                  <a:lnTo>
                    <a:pt x="224375" y="310590"/>
                  </a:lnTo>
                  <a:lnTo>
                    <a:pt x="202585" y="292216"/>
                  </a:lnTo>
                  <a:lnTo>
                    <a:pt x="183509" y="285664"/>
                  </a:lnTo>
                  <a:lnTo>
                    <a:pt x="167477" y="262757"/>
                  </a:lnTo>
                  <a:lnTo>
                    <a:pt x="148617" y="230509"/>
                  </a:lnTo>
                  <a:lnTo>
                    <a:pt x="139276" y="234703"/>
                  </a:lnTo>
                  <a:lnTo>
                    <a:pt x="126224" y="226891"/>
                  </a:lnTo>
                  <a:lnTo>
                    <a:pt x="120794" y="236578"/>
                  </a:lnTo>
                  <a:lnTo>
                    <a:pt x="108552" y="223988"/>
                  </a:lnTo>
                  <a:lnTo>
                    <a:pt x="106328" y="210999"/>
                  </a:lnTo>
                  <a:lnTo>
                    <a:pt x="100432" y="211143"/>
                  </a:lnTo>
                  <a:lnTo>
                    <a:pt x="100631" y="193409"/>
                  </a:lnTo>
                  <a:lnTo>
                    <a:pt x="88155" y="175108"/>
                  </a:lnTo>
                  <a:lnTo>
                    <a:pt x="63527" y="162291"/>
                  </a:lnTo>
                  <a:lnTo>
                    <a:pt x="47080" y="139448"/>
                  </a:lnTo>
                  <a:lnTo>
                    <a:pt x="48097" y="120349"/>
                  </a:lnTo>
                  <a:lnTo>
                    <a:pt x="55765" y="111720"/>
                  </a:lnTo>
                  <a:lnTo>
                    <a:pt x="51899" y="97536"/>
                  </a:lnTo>
                  <a:lnTo>
                    <a:pt x="38782" y="90533"/>
                  </a:lnTo>
                  <a:lnTo>
                    <a:pt x="21965" y="61815"/>
                  </a:lnTo>
                  <a:lnTo>
                    <a:pt x="8660" y="42590"/>
                  </a:lnTo>
                  <a:lnTo>
                    <a:pt x="10760" y="34971"/>
                  </a:lnTo>
                  <a:lnTo>
                    <a:pt x="0" y="7249"/>
                  </a:lnTo>
                  <a:lnTo>
                    <a:pt x="10757" y="0"/>
                  </a:lnTo>
                  <a:lnTo>
                    <a:pt x="15336" y="9091"/>
                  </a:lnTo>
                  <a:lnTo>
                    <a:pt x="26440" y="20067"/>
                  </a:lnTo>
                  <a:lnTo>
                    <a:pt x="39226" y="22965"/>
                  </a:lnTo>
                  <a:lnTo>
                    <a:pt x="45506" y="22072"/>
                  </a:lnTo>
                  <a:lnTo>
                    <a:pt x="62751" y="3534"/>
                  </a:lnTo>
                  <a:lnTo>
                    <a:pt x="68993" y="1543"/>
                  </a:lnTo>
                  <a:lnTo>
                    <a:pt x="75692" y="8529"/>
                  </a:lnTo>
                  <a:lnTo>
                    <a:pt x="72066" y="20745"/>
                  </a:lnTo>
                  <a:lnTo>
                    <a:pt x="85720" y="33169"/>
                  </a:lnTo>
                  <a:lnTo>
                    <a:pt x="89895" y="31827"/>
                  </a:lnTo>
                  <a:lnTo>
                    <a:pt x="99165" y="49618"/>
                  </a:lnTo>
                  <a:lnTo>
                    <a:pt x="117114" y="54200"/>
                  </a:lnTo>
                  <a:lnTo>
                    <a:pt x="132024" y="66064"/>
                  </a:lnTo>
                  <a:lnTo>
                    <a:pt x="158349" y="69510"/>
                  </a:lnTo>
                  <a:lnTo>
                    <a:pt x="184928" y="62195"/>
                  </a:lnTo>
                  <a:lnTo>
                    <a:pt x="185400" y="56433"/>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79" name="Polygon form 243"/>
            <p:cNvSpPr/>
            <p:nvPr/>
          </p:nvSpPr>
          <p:spPr>
            <a:xfrm>
              <a:off x="4671127" y="3134887"/>
              <a:ext cx="192413" cy="200103"/>
            </a:xfrm>
            <a:custGeom>
              <a:avLst/>
              <a:gdLst/>
              <a:ahLst/>
              <a:cxnLst/>
              <a:rect l="0" t="0" r="0" b="0"/>
              <a:pathLst>
                <a:path w="192413" h="200103">
                  <a:moveTo>
                    <a:pt x="110402" y="33039"/>
                  </a:moveTo>
                  <a:lnTo>
                    <a:pt x="123518" y="40042"/>
                  </a:lnTo>
                  <a:lnTo>
                    <a:pt x="127385" y="54226"/>
                  </a:lnTo>
                  <a:lnTo>
                    <a:pt x="119716" y="62856"/>
                  </a:lnTo>
                  <a:lnTo>
                    <a:pt x="118700" y="81955"/>
                  </a:lnTo>
                  <a:lnTo>
                    <a:pt x="135147" y="104798"/>
                  </a:lnTo>
                  <a:lnTo>
                    <a:pt x="159774" y="117614"/>
                  </a:lnTo>
                  <a:lnTo>
                    <a:pt x="172251" y="135915"/>
                  </a:lnTo>
                  <a:lnTo>
                    <a:pt x="172052" y="153650"/>
                  </a:lnTo>
                  <a:lnTo>
                    <a:pt x="177947" y="153505"/>
                  </a:lnTo>
                  <a:lnTo>
                    <a:pt x="180171" y="166494"/>
                  </a:lnTo>
                  <a:lnTo>
                    <a:pt x="192413" y="179084"/>
                  </a:lnTo>
                  <a:lnTo>
                    <a:pt x="181224" y="178139"/>
                  </a:lnTo>
                  <a:lnTo>
                    <a:pt x="168456" y="176390"/>
                  </a:lnTo>
                  <a:lnTo>
                    <a:pt x="158273" y="200103"/>
                  </a:lnTo>
                  <a:lnTo>
                    <a:pt x="123383" y="198882"/>
                  </a:lnTo>
                  <a:lnTo>
                    <a:pt x="64311" y="150993"/>
                  </a:lnTo>
                  <a:lnTo>
                    <a:pt x="34487" y="134527"/>
                  </a:lnTo>
                  <a:lnTo>
                    <a:pt x="11429" y="128381"/>
                  </a:lnTo>
                  <a:lnTo>
                    <a:pt x="0" y="98947"/>
                  </a:lnTo>
                  <a:lnTo>
                    <a:pt x="36702" y="72818"/>
                  </a:lnTo>
                  <a:lnTo>
                    <a:pt x="38991" y="43287"/>
                  </a:lnTo>
                  <a:lnTo>
                    <a:pt x="34442" y="25579"/>
                  </a:lnTo>
                  <a:lnTo>
                    <a:pt x="43302" y="19346"/>
                  </a:lnTo>
                  <a:lnTo>
                    <a:pt x="49946" y="3964"/>
                  </a:lnTo>
                  <a:lnTo>
                    <a:pt x="56984" y="0"/>
                  </a:lnTo>
                  <a:lnTo>
                    <a:pt x="78347" y="2615"/>
                  </a:lnTo>
                  <a:lnTo>
                    <a:pt x="85736" y="8648"/>
                  </a:lnTo>
                  <a:lnTo>
                    <a:pt x="93585" y="4321"/>
                  </a:lnTo>
                  <a:lnTo>
                    <a:pt x="110402" y="33039"/>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80" name="Polygon form 244"/>
            <p:cNvSpPr/>
            <p:nvPr/>
          </p:nvSpPr>
          <p:spPr>
            <a:xfrm>
              <a:off x="3621609" y="2439717"/>
              <a:ext cx="147716" cy="72543"/>
            </a:xfrm>
            <a:custGeom>
              <a:avLst/>
              <a:gdLst/>
              <a:ahLst/>
              <a:cxnLst/>
              <a:rect l="0" t="0" r="0" b="0"/>
              <a:pathLst>
                <a:path w="147716" h="72543">
                  <a:moveTo>
                    <a:pt x="138897" y="1998"/>
                  </a:moveTo>
                  <a:lnTo>
                    <a:pt x="133837" y="17560"/>
                  </a:lnTo>
                  <a:lnTo>
                    <a:pt x="147716" y="34189"/>
                  </a:lnTo>
                  <a:lnTo>
                    <a:pt x="127317" y="52361"/>
                  </a:lnTo>
                  <a:lnTo>
                    <a:pt x="84188" y="68331"/>
                  </a:lnTo>
                  <a:lnTo>
                    <a:pt x="71248" y="72543"/>
                  </a:lnTo>
                  <a:lnTo>
                    <a:pt x="52961" y="68694"/>
                  </a:lnTo>
                  <a:lnTo>
                    <a:pt x="14495" y="60366"/>
                  </a:lnTo>
                  <a:lnTo>
                    <a:pt x="30304" y="49975"/>
                  </a:lnTo>
                  <a:lnTo>
                    <a:pt x="1809" y="37615"/>
                  </a:lnTo>
                  <a:lnTo>
                    <a:pt x="27474" y="33420"/>
                  </a:lnTo>
                  <a:lnTo>
                    <a:pt x="28136" y="26335"/>
                  </a:lnTo>
                  <a:lnTo>
                    <a:pt x="0" y="20170"/>
                  </a:lnTo>
                  <a:lnTo>
                    <a:pt x="12410" y="4672"/>
                  </a:lnTo>
                  <a:lnTo>
                    <a:pt x="33913" y="1504"/>
                  </a:lnTo>
                  <a:lnTo>
                    <a:pt x="52571" y="18225"/>
                  </a:lnTo>
                  <a:lnTo>
                    <a:pt x="75700" y="5451"/>
                  </a:lnTo>
                  <a:lnTo>
                    <a:pt x="92039" y="12529"/>
                  </a:lnTo>
                  <a:lnTo>
                    <a:pt x="116311" y="0"/>
                  </a:lnTo>
                  <a:lnTo>
                    <a:pt x="138897" y="1998"/>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81" name="Polygon form 245"/>
            <p:cNvSpPr/>
            <p:nvPr/>
          </p:nvSpPr>
          <p:spPr>
            <a:xfrm>
              <a:off x="4594497" y="3237338"/>
              <a:ext cx="24139" cy="91920"/>
            </a:xfrm>
            <a:custGeom>
              <a:avLst/>
              <a:gdLst/>
              <a:ahLst/>
              <a:cxnLst/>
              <a:rect l="0" t="0" r="0" b="0"/>
              <a:pathLst>
                <a:path w="24139" h="91920">
                  <a:moveTo>
                    <a:pt x="22484" y="13822"/>
                  </a:moveTo>
                  <a:lnTo>
                    <a:pt x="20230" y="21527"/>
                  </a:lnTo>
                  <a:lnTo>
                    <a:pt x="13172" y="18285"/>
                  </a:lnTo>
                  <a:lnTo>
                    <a:pt x="11265" y="34508"/>
                  </a:lnTo>
                  <a:lnTo>
                    <a:pt x="16219" y="37152"/>
                  </a:lnTo>
                  <a:lnTo>
                    <a:pt x="11905" y="40571"/>
                  </a:lnTo>
                  <a:lnTo>
                    <a:pt x="11857" y="46974"/>
                  </a:lnTo>
                  <a:lnTo>
                    <a:pt x="20151" y="43534"/>
                  </a:lnTo>
                  <a:lnTo>
                    <a:pt x="21694" y="52967"/>
                  </a:lnTo>
                  <a:lnTo>
                    <a:pt x="16831" y="91920"/>
                  </a:lnTo>
                  <a:lnTo>
                    <a:pt x="0" y="50432"/>
                  </a:lnTo>
                  <a:lnTo>
                    <a:pt x="4456" y="42349"/>
                  </a:lnTo>
                  <a:lnTo>
                    <a:pt x="3037" y="40995"/>
                  </a:lnTo>
                  <a:lnTo>
                    <a:pt x="6581" y="29573"/>
                  </a:lnTo>
                  <a:lnTo>
                    <a:pt x="8103" y="11205"/>
                  </a:lnTo>
                  <a:lnTo>
                    <a:pt x="9968" y="5017"/>
                  </a:lnTo>
                  <a:lnTo>
                    <a:pt x="10443" y="4757"/>
                  </a:lnTo>
                  <a:lnTo>
                    <a:pt x="16580" y="4691"/>
                  </a:lnTo>
                  <a:lnTo>
                    <a:pt x="17731" y="409"/>
                  </a:lnTo>
                  <a:lnTo>
                    <a:pt x="22602" y="0"/>
                  </a:lnTo>
                  <a:lnTo>
                    <a:pt x="24139" y="9926"/>
                  </a:lnTo>
                  <a:lnTo>
                    <a:pt x="22113" y="13663"/>
                  </a:lnTo>
                  <a:lnTo>
                    <a:pt x="22484" y="13822"/>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282" name="Polygon form 246"/>
            <p:cNvSpPr/>
            <p:nvPr/>
          </p:nvSpPr>
          <p:spPr>
            <a:xfrm>
              <a:off x="4076008" y="2908631"/>
              <a:ext cx="211181" cy="221702"/>
            </a:xfrm>
            <a:custGeom>
              <a:avLst/>
              <a:gdLst/>
              <a:ahLst/>
              <a:cxnLst/>
              <a:rect l="0" t="0" r="0" b="0"/>
              <a:pathLst>
                <a:path w="211181" h="221702">
                  <a:moveTo>
                    <a:pt x="93805" y="8363"/>
                  </a:moveTo>
                  <a:lnTo>
                    <a:pt x="118453" y="14380"/>
                  </a:lnTo>
                  <a:lnTo>
                    <a:pt x="117454" y="26284"/>
                  </a:lnTo>
                  <a:lnTo>
                    <a:pt x="122259" y="36522"/>
                  </a:lnTo>
                  <a:lnTo>
                    <a:pt x="108438" y="33129"/>
                  </a:lnTo>
                  <a:lnTo>
                    <a:pt x="95108" y="41813"/>
                  </a:lnTo>
                  <a:lnTo>
                    <a:pt x="96795" y="53785"/>
                  </a:lnTo>
                  <a:lnTo>
                    <a:pt x="95112" y="60678"/>
                  </a:lnTo>
                  <a:lnTo>
                    <a:pt x="101505" y="72920"/>
                  </a:lnTo>
                  <a:lnTo>
                    <a:pt x="118474" y="84939"/>
                  </a:lnTo>
                  <a:lnTo>
                    <a:pt x="128508" y="104818"/>
                  </a:lnTo>
                  <a:lnTo>
                    <a:pt x="149239" y="124094"/>
                  </a:lnTo>
                  <a:lnTo>
                    <a:pt x="162934" y="123812"/>
                  </a:lnTo>
                  <a:lnTo>
                    <a:pt x="167591" y="129106"/>
                  </a:lnTo>
                  <a:lnTo>
                    <a:pt x="163026" y="133965"/>
                  </a:lnTo>
                  <a:lnTo>
                    <a:pt x="179393" y="142535"/>
                  </a:lnTo>
                  <a:lnTo>
                    <a:pt x="192867" y="149703"/>
                  </a:lnTo>
                  <a:lnTo>
                    <a:pt x="208987" y="162134"/>
                  </a:lnTo>
                  <a:lnTo>
                    <a:pt x="211181" y="166625"/>
                  </a:lnTo>
                  <a:lnTo>
                    <a:pt x="208566" y="175310"/>
                  </a:lnTo>
                  <a:lnTo>
                    <a:pt x="197861" y="164140"/>
                  </a:lnTo>
                  <a:lnTo>
                    <a:pt x="182216" y="160325"/>
                  </a:lnTo>
                  <a:lnTo>
                    <a:pt x="175908" y="176019"/>
                  </a:lnTo>
                  <a:lnTo>
                    <a:pt x="189377" y="184844"/>
                  </a:lnTo>
                  <a:lnTo>
                    <a:pt x="188183" y="197467"/>
                  </a:lnTo>
                  <a:lnTo>
                    <a:pt x="180841" y="198972"/>
                  </a:lnTo>
                  <a:lnTo>
                    <a:pt x="172709" y="219774"/>
                  </a:lnTo>
                  <a:lnTo>
                    <a:pt x="165363" y="221702"/>
                  </a:lnTo>
                  <a:lnTo>
                    <a:pt x="164956" y="214319"/>
                  </a:lnTo>
                  <a:lnTo>
                    <a:pt x="167748" y="201334"/>
                  </a:lnTo>
                  <a:lnTo>
                    <a:pt x="171274" y="196140"/>
                  </a:lnTo>
                  <a:lnTo>
                    <a:pt x="163383" y="182212"/>
                  </a:lnTo>
                  <a:lnTo>
                    <a:pt x="157154" y="170086"/>
                  </a:lnTo>
                  <a:lnTo>
                    <a:pt x="149611" y="167144"/>
                  </a:lnTo>
                  <a:lnTo>
                    <a:pt x="143717" y="156771"/>
                  </a:lnTo>
                  <a:lnTo>
                    <a:pt x="132108" y="152481"/>
                  </a:lnTo>
                  <a:lnTo>
                    <a:pt x="123892" y="142842"/>
                  </a:lnTo>
                  <a:lnTo>
                    <a:pt x="110796" y="141384"/>
                  </a:lnTo>
                  <a:lnTo>
                    <a:pt x="96467" y="130593"/>
                  </a:lnTo>
                  <a:lnTo>
                    <a:pt x="79627" y="115000"/>
                  </a:lnTo>
                  <a:lnTo>
                    <a:pt x="67077" y="101179"/>
                  </a:lnTo>
                  <a:lnTo>
                    <a:pt x="60490" y="77360"/>
                  </a:lnTo>
                  <a:lnTo>
                    <a:pt x="51764" y="74609"/>
                  </a:lnTo>
                  <a:lnTo>
                    <a:pt x="37375" y="66729"/>
                  </a:lnTo>
                  <a:lnTo>
                    <a:pt x="29580" y="70034"/>
                  </a:lnTo>
                  <a:lnTo>
                    <a:pt x="20046" y="81284"/>
                  </a:lnTo>
                  <a:lnTo>
                    <a:pt x="12922" y="83088"/>
                  </a:lnTo>
                  <a:lnTo>
                    <a:pt x="14519" y="72606"/>
                  </a:lnTo>
                  <a:lnTo>
                    <a:pt x="5063" y="69589"/>
                  </a:lnTo>
                  <a:lnTo>
                    <a:pt x="0" y="50940"/>
                  </a:lnTo>
                  <a:lnTo>
                    <a:pt x="5683" y="43565"/>
                  </a:lnTo>
                  <a:lnTo>
                    <a:pt x="337" y="34528"/>
                  </a:lnTo>
                  <a:lnTo>
                    <a:pt x="803" y="27708"/>
                  </a:lnTo>
                  <a:lnTo>
                    <a:pt x="8321" y="32841"/>
                  </a:lnTo>
                  <a:lnTo>
                    <a:pt x="16499" y="31653"/>
                  </a:lnTo>
                  <a:lnTo>
                    <a:pt x="25709" y="23418"/>
                  </a:lnTo>
                  <a:lnTo>
                    <a:pt x="28822" y="27226"/>
                  </a:lnTo>
                  <a:lnTo>
                    <a:pt x="36897" y="26411"/>
                  </a:lnTo>
                  <a:lnTo>
                    <a:pt x="40124" y="16658"/>
                  </a:lnTo>
                  <a:lnTo>
                    <a:pt x="52836" y="19601"/>
                  </a:lnTo>
                  <a:lnTo>
                    <a:pt x="60100" y="15479"/>
                  </a:lnTo>
                  <a:lnTo>
                    <a:pt x="60908" y="5577"/>
                  </a:lnTo>
                  <a:lnTo>
                    <a:pt x="71352" y="8933"/>
                  </a:lnTo>
                  <a:lnTo>
                    <a:pt x="73052" y="4328"/>
                  </a:lnTo>
                  <a:lnTo>
                    <a:pt x="89490" y="0"/>
                  </a:lnTo>
                  <a:lnTo>
                    <a:pt x="93805" y="8363"/>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83" name="Polygon form 247"/>
            <p:cNvSpPr/>
            <p:nvPr/>
          </p:nvSpPr>
          <p:spPr>
            <a:xfrm>
              <a:off x="4183445" y="3122577"/>
              <a:ext cx="54496" cy="38969"/>
            </a:xfrm>
            <a:custGeom>
              <a:avLst/>
              <a:gdLst/>
              <a:ahLst/>
              <a:cxnLst/>
              <a:rect l="0" t="0" r="0" b="0"/>
              <a:pathLst>
                <a:path w="54496" h="38969">
                  <a:moveTo>
                    <a:pt x="54496" y="0"/>
                  </a:moveTo>
                  <a:lnTo>
                    <a:pt x="49233" y="19062"/>
                  </a:lnTo>
                  <a:lnTo>
                    <a:pt x="52381" y="26520"/>
                  </a:lnTo>
                  <a:lnTo>
                    <a:pt x="49348" y="38969"/>
                  </a:lnTo>
                  <a:lnTo>
                    <a:pt x="35034" y="29987"/>
                  </a:lnTo>
                  <a:lnTo>
                    <a:pt x="25734" y="27454"/>
                  </a:lnTo>
                  <a:lnTo>
                    <a:pt x="0" y="15365"/>
                  </a:lnTo>
                  <a:lnTo>
                    <a:pt x="1875" y="2954"/>
                  </a:lnTo>
                  <a:lnTo>
                    <a:pt x="22944" y="5003"/>
                  </a:lnTo>
                  <a:lnTo>
                    <a:pt x="41049" y="2225"/>
                  </a:lnTo>
                  <a:lnTo>
                    <a:pt x="54496" y="0"/>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84" name="Polygon form 248"/>
            <p:cNvSpPr/>
            <p:nvPr/>
          </p:nvSpPr>
          <p:spPr>
            <a:xfrm>
              <a:off x="4103977" y="3051492"/>
              <a:ext cx="29527" cy="55621"/>
            </a:xfrm>
            <a:custGeom>
              <a:avLst/>
              <a:gdLst/>
              <a:ahLst/>
              <a:cxnLst/>
              <a:rect l="0" t="0" r="0" b="0"/>
              <a:pathLst>
                <a:path w="29527" h="55621">
                  <a:moveTo>
                    <a:pt x="18231" y="0"/>
                  </a:moveTo>
                  <a:lnTo>
                    <a:pt x="29527" y="17072"/>
                  </a:lnTo>
                  <a:lnTo>
                    <a:pt x="28383" y="49005"/>
                  </a:lnTo>
                  <a:lnTo>
                    <a:pt x="20232" y="47527"/>
                  </a:lnTo>
                  <a:lnTo>
                    <a:pt x="13276" y="55621"/>
                  </a:lnTo>
                  <a:lnTo>
                    <a:pt x="6299" y="49255"/>
                  </a:lnTo>
                  <a:lnTo>
                    <a:pt x="4532" y="20146"/>
                  </a:lnTo>
                  <a:lnTo>
                    <a:pt x="0" y="6371"/>
                  </a:lnTo>
                  <a:lnTo>
                    <a:pt x="9732" y="7529"/>
                  </a:lnTo>
                  <a:lnTo>
                    <a:pt x="18231" y="0"/>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85" name="Polygon form 249"/>
            <p:cNvSpPr/>
            <p:nvPr/>
          </p:nvSpPr>
          <p:spPr>
            <a:xfrm>
              <a:off x="6038852" y="4343272"/>
              <a:ext cx="782394" cy="774000"/>
            </a:xfrm>
            <a:custGeom>
              <a:avLst/>
              <a:gdLst/>
              <a:ahLst/>
              <a:cxnLst/>
              <a:rect l="0" t="0" r="0" b="0"/>
              <a:pathLst>
                <a:path w="782394" h="774000">
                  <a:moveTo>
                    <a:pt x="713248" y="86688"/>
                  </a:moveTo>
                  <a:lnTo>
                    <a:pt x="715230" y="108762"/>
                  </a:lnTo>
                  <a:lnTo>
                    <a:pt x="730011" y="98887"/>
                  </a:lnTo>
                  <a:lnTo>
                    <a:pt x="733639" y="110947"/>
                  </a:lnTo>
                  <a:lnTo>
                    <a:pt x="740242" y="122251"/>
                  </a:lnTo>
                  <a:lnTo>
                    <a:pt x="735213" y="134461"/>
                  </a:lnTo>
                  <a:lnTo>
                    <a:pt x="733121" y="158472"/>
                  </a:lnTo>
                  <a:lnTo>
                    <a:pt x="732263" y="172477"/>
                  </a:lnTo>
                  <a:lnTo>
                    <a:pt x="736126" y="176132"/>
                  </a:lnTo>
                  <a:lnTo>
                    <a:pt x="734517" y="200126"/>
                  </a:lnTo>
                  <a:lnTo>
                    <a:pt x="728414" y="214370"/>
                  </a:lnTo>
                  <a:lnTo>
                    <a:pt x="728756" y="233519"/>
                  </a:lnTo>
                  <a:lnTo>
                    <a:pt x="744546" y="249316"/>
                  </a:lnTo>
                  <a:lnTo>
                    <a:pt x="753461" y="263381"/>
                  </a:lnTo>
                  <a:lnTo>
                    <a:pt x="761918" y="276325"/>
                  </a:lnTo>
                  <a:lnTo>
                    <a:pt x="757136" y="282861"/>
                  </a:lnTo>
                  <a:lnTo>
                    <a:pt x="761626" y="301006"/>
                  </a:lnTo>
                  <a:lnTo>
                    <a:pt x="757695" y="331491"/>
                  </a:lnTo>
                  <a:lnTo>
                    <a:pt x="767399" y="325993"/>
                  </a:lnTo>
                  <a:lnTo>
                    <a:pt x="770288" y="338579"/>
                  </a:lnTo>
                  <a:lnTo>
                    <a:pt x="776454" y="334685"/>
                  </a:lnTo>
                  <a:lnTo>
                    <a:pt x="767990" y="364259"/>
                  </a:lnTo>
                  <a:lnTo>
                    <a:pt x="773976" y="382327"/>
                  </a:lnTo>
                  <a:lnTo>
                    <a:pt x="777976" y="393609"/>
                  </a:lnTo>
                  <a:lnTo>
                    <a:pt x="782394" y="417240"/>
                  </a:lnTo>
                  <a:lnTo>
                    <a:pt x="777391" y="439868"/>
                  </a:lnTo>
                  <a:lnTo>
                    <a:pt x="770507" y="455600"/>
                  </a:lnTo>
                  <a:lnTo>
                    <a:pt x="761120" y="472476"/>
                  </a:lnTo>
                  <a:lnTo>
                    <a:pt x="758090" y="496622"/>
                  </a:lnTo>
                  <a:lnTo>
                    <a:pt x="744696" y="520708"/>
                  </a:lnTo>
                  <a:lnTo>
                    <a:pt x="735034" y="533011"/>
                  </a:lnTo>
                  <a:lnTo>
                    <a:pt x="717305" y="556753"/>
                  </a:lnTo>
                  <a:lnTo>
                    <a:pt x="709108" y="572339"/>
                  </a:lnTo>
                  <a:lnTo>
                    <a:pt x="694786" y="591337"/>
                  </a:lnTo>
                  <a:lnTo>
                    <a:pt x="673065" y="614973"/>
                  </a:lnTo>
                  <a:lnTo>
                    <a:pt x="652650" y="626689"/>
                  </a:lnTo>
                  <a:lnTo>
                    <a:pt x="634055" y="646691"/>
                  </a:lnTo>
                  <a:lnTo>
                    <a:pt x="620393" y="659209"/>
                  </a:lnTo>
                  <a:lnTo>
                    <a:pt x="601178" y="681564"/>
                  </a:lnTo>
                  <a:lnTo>
                    <a:pt x="586377" y="693988"/>
                  </a:lnTo>
                  <a:lnTo>
                    <a:pt x="569465" y="713248"/>
                  </a:lnTo>
                  <a:lnTo>
                    <a:pt x="555435" y="731129"/>
                  </a:lnTo>
                  <a:lnTo>
                    <a:pt x="550747" y="739548"/>
                  </a:lnTo>
                  <a:lnTo>
                    <a:pt x="535228" y="747465"/>
                  </a:lnTo>
                  <a:lnTo>
                    <a:pt x="516239" y="746092"/>
                  </a:lnTo>
                  <a:lnTo>
                    <a:pt x="493946" y="754913"/>
                  </a:lnTo>
                  <a:lnTo>
                    <a:pt x="479641" y="764071"/>
                  </a:lnTo>
                  <a:lnTo>
                    <a:pt x="462228" y="774000"/>
                  </a:lnTo>
                  <a:lnTo>
                    <a:pt x="456457" y="760819"/>
                  </a:lnTo>
                  <a:lnTo>
                    <a:pt x="449463" y="754997"/>
                  </a:lnTo>
                  <a:lnTo>
                    <a:pt x="460916" y="741726"/>
                  </a:lnTo>
                  <a:lnTo>
                    <a:pt x="448701" y="745568"/>
                  </a:lnTo>
                  <a:lnTo>
                    <a:pt x="421967" y="762657"/>
                  </a:lnTo>
                  <a:lnTo>
                    <a:pt x="412392" y="753912"/>
                  </a:lnTo>
                  <a:lnTo>
                    <a:pt x="405713" y="748697"/>
                  </a:lnTo>
                  <a:lnTo>
                    <a:pt x="397472" y="745733"/>
                  </a:lnTo>
                  <a:lnTo>
                    <a:pt x="386217" y="736372"/>
                  </a:lnTo>
                  <a:lnTo>
                    <a:pt x="385420" y="719137"/>
                  </a:lnTo>
                  <a:lnTo>
                    <a:pt x="394309" y="699020"/>
                  </a:lnTo>
                  <a:lnTo>
                    <a:pt x="398224" y="685410"/>
                  </a:lnTo>
                  <a:lnTo>
                    <a:pt x="396094" y="673921"/>
                  </a:lnTo>
                  <a:lnTo>
                    <a:pt x="381565" y="669047"/>
                  </a:lnTo>
                  <a:lnTo>
                    <a:pt x="394377" y="656952"/>
                  </a:lnTo>
                  <a:lnTo>
                    <a:pt x="401089" y="637073"/>
                  </a:lnTo>
                  <a:lnTo>
                    <a:pt x="382646" y="654341"/>
                  </a:lnTo>
                  <a:lnTo>
                    <a:pt x="364753" y="657581"/>
                  </a:lnTo>
                  <a:lnTo>
                    <a:pt x="381747" y="644032"/>
                  </a:lnTo>
                  <a:lnTo>
                    <a:pt x="392632" y="629177"/>
                  </a:lnTo>
                  <a:lnTo>
                    <a:pt x="406237" y="616985"/>
                  </a:lnTo>
                  <a:lnTo>
                    <a:pt x="415169" y="597371"/>
                  </a:lnTo>
                  <a:lnTo>
                    <a:pt x="389213" y="618405"/>
                  </a:lnTo>
                  <a:lnTo>
                    <a:pt x="373618" y="626306"/>
                  </a:lnTo>
                  <a:lnTo>
                    <a:pt x="355730" y="646452"/>
                  </a:lnTo>
                  <a:lnTo>
                    <a:pt x="348150" y="634373"/>
                  </a:lnTo>
                  <a:lnTo>
                    <a:pt x="356093" y="620548"/>
                  </a:lnTo>
                  <a:lnTo>
                    <a:pt x="355138" y="600521"/>
                  </a:lnTo>
                  <a:lnTo>
                    <a:pt x="350944" y="589840"/>
                  </a:lnTo>
                  <a:lnTo>
                    <a:pt x="357281" y="584090"/>
                  </a:lnTo>
                  <a:lnTo>
                    <a:pt x="342626" y="566146"/>
                  </a:lnTo>
                  <a:lnTo>
                    <a:pt x="330617" y="564298"/>
                  </a:lnTo>
                  <a:lnTo>
                    <a:pt x="319728" y="550053"/>
                  </a:lnTo>
                  <a:lnTo>
                    <a:pt x="286872" y="549830"/>
                  </a:lnTo>
                  <a:lnTo>
                    <a:pt x="259603" y="557256"/>
                  </a:lnTo>
                  <a:lnTo>
                    <a:pt x="235438" y="564272"/>
                  </a:lnTo>
                  <a:lnTo>
                    <a:pt x="219373" y="561151"/>
                  </a:lnTo>
                  <a:lnTo>
                    <a:pt x="194488" y="572928"/>
                  </a:lnTo>
                  <a:lnTo>
                    <a:pt x="176426" y="577654"/>
                  </a:lnTo>
                  <a:lnTo>
                    <a:pt x="166687" y="590945"/>
                  </a:lnTo>
                  <a:lnTo>
                    <a:pt x="155234" y="600908"/>
                  </a:lnTo>
                  <a:lnTo>
                    <a:pt x="140069" y="600301"/>
                  </a:lnTo>
                  <a:lnTo>
                    <a:pt x="127981" y="601689"/>
                  </a:lnTo>
                  <a:lnTo>
                    <a:pt x="114675" y="595727"/>
                  </a:lnTo>
                  <a:lnTo>
                    <a:pt x="100747" y="597521"/>
                  </a:lnTo>
                  <a:lnTo>
                    <a:pt x="88144" y="597738"/>
                  </a:lnTo>
                  <a:lnTo>
                    <a:pt x="71362" y="610606"/>
                  </a:lnTo>
                  <a:lnTo>
                    <a:pt x="66797" y="609037"/>
                  </a:lnTo>
                  <a:lnTo>
                    <a:pt x="54644" y="615587"/>
                  </a:lnTo>
                  <a:lnTo>
                    <a:pt x="42435" y="623061"/>
                  </a:lnTo>
                  <a:lnTo>
                    <a:pt x="30166" y="621042"/>
                  </a:lnTo>
                  <a:lnTo>
                    <a:pt x="18454" y="620110"/>
                  </a:lnTo>
                  <a:lnTo>
                    <a:pt x="7292" y="602339"/>
                  </a:lnTo>
                  <a:lnTo>
                    <a:pt x="0" y="596767"/>
                  </a:lnTo>
                  <a:lnTo>
                    <a:pt x="6823" y="582131"/>
                  </a:lnTo>
                  <a:lnTo>
                    <a:pt x="17120" y="579294"/>
                  </a:lnTo>
                  <a:lnTo>
                    <a:pt x="22653" y="573680"/>
                  </a:lnTo>
                  <a:lnTo>
                    <a:pt x="25989" y="564421"/>
                  </a:lnTo>
                  <a:lnTo>
                    <a:pt x="35712" y="546726"/>
                  </a:lnTo>
                  <a:lnTo>
                    <a:pt x="40011" y="531348"/>
                  </a:lnTo>
                  <a:lnTo>
                    <a:pt x="40949" y="504674"/>
                  </a:lnTo>
                  <a:lnTo>
                    <a:pt x="43709" y="489768"/>
                  </a:lnTo>
                  <a:lnTo>
                    <a:pt x="50080" y="475131"/>
                  </a:lnTo>
                  <a:lnTo>
                    <a:pt x="49084" y="457865"/>
                  </a:lnTo>
                  <a:lnTo>
                    <a:pt x="51385" y="450249"/>
                  </a:lnTo>
                  <a:lnTo>
                    <a:pt x="46983" y="439455"/>
                  </a:lnTo>
                  <a:lnTo>
                    <a:pt x="51781" y="419072"/>
                  </a:lnTo>
                  <a:lnTo>
                    <a:pt x="48183" y="397976"/>
                  </a:lnTo>
                  <a:lnTo>
                    <a:pt x="49255" y="386792"/>
                  </a:lnTo>
                  <a:lnTo>
                    <a:pt x="53686" y="398452"/>
                  </a:lnTo>
                  <a:lnTo>
                    <a:pt x="55284" y="374077"/>
                  </a:lnTo>
                  <a:lnTo>
                    <a:pt x="62052" y="382109"/>
                  </a:lnTo>
                  <a:lnTo>
                    <a:pt x="64233" y="392455"/>
                  </a:lnTo>
                  <a:lnTo>
                    <a:pt x="68275" y="379166"/>
                  </a:lnTo>
                  <a:lnTo>
                    <a:pt x="65588" y="358238"/>
                  </a:lnTo>
                  <a:lnTo>
                    <a:pt x="66337" y="349972"/>
                  </a:lnTo>
                  <a:lnTo>
                    <a:pt x="64388" y="341977"/>
                  </a:lnTo>
                  <a:lnTo>
                    <a:pt x="70916" y="327073"/>
                  </a:lnTo>
                  <a:lnTo>
                    <a:pt x="76637" y="320881"/>
                  </a:lnTo>
                  <a:lnTo>
                    <a:pt x="82971" y="308012"/>
                  </a:lnTo>
                  <a:lnTo>
                    <a:pt x="85273" y="292709"/>
                  </a:lnTo>
                  <a:lnTo>
                    <a:pt x="98220" y="274357"/>
                  </a:lnTo>
                  <a:lnTo>
                    <a:pt x="94161" y="294261"/>
                  </a:lnTo>
                  <a:lnTo>
                    <a:pt x="107093" y="276733"/>
                  </a:lnTo>
                  <a:lnTo>
                    <a:pt x="124803" y="268759"/>
                  </a:lnTo>
                  <a:lnTo>
                    <a:pt x="137011" y="258062"/>
                  </a:lnTo>
                  <a:lnTo>
                    <a:pt x="154026" y="249154"/>
                  </a:lnTo>
                  <a:lnTo>
                    <a:pt x="163179" y="247520"/>
                  </a:lnTo>
                  <a:lnTo>
                    <a:pt x="167533" y="251002"/>
                  </a:lnTo>
                  <a:lnTo>
                    <a:pt x="185053" y="241944"/>
                  </a:lnTo>
                  <a:lnTo>
                    <a:pt x="197319" y="239583"/>
                  </a:lnTo>
                  <a:lnTo>
                    <a:pt x="201708" y="233961"/>
                  </a:lnTo>
                  <a:lnTo>
                    <a:pt x="207357" y="231800"/>
                  </a:lnTo>
                  <a:lnTo>
                    <a:pt x="217685" y="232922"/>
                  </a:lnTo>
                  <a:lnTo>
                    <a:pt x="239656" y="226162"/>
                  </a:lnTo>
                  <a:lnTo>
                    <a:pt x="253018" y="214934"/>
                  </a:lnTo>
                  <a:lnTo>
                    <a:pt x="261449" y="201035"/>
                  </a:lnTo>
                  <a:lnTo>
                    <a:pt x="275950" y="188111"/>
                  </a:lnTo>
                  <a:lnTo>
                    <a:pt x="279358" y="177577"/>
                  </a:lnTo>
                  <a:lnTo>
                    <a:pt x="283240" y="163188"/>
                  </a:lnTo>
                  <a:lnTo>
                    <a:pt x="301759" y="141198"/>
                  </a:lnTo>
                  <a:lnTo>
                    <a:pt x="304628" y="164479"/>
                  </a:lnTo>
                  <a:lnTo>
                    <a:pt x="314014" y="159530"/>
                  </a:lnTo>
                  <a:lnTo>
                    <a:pt x="310050" y="146675"/>
                  </a:lnTo>
                  <a:lnTo>
                    <a:pt x="318936" y="134017"/>
                  </a:lnTo>
                  <a:lnTo>
                    <a:pt x="326145" y="140135"/>
                  </a:lnTo>
                  <a:lnTo>
                    <a:pt x="332881" y="119958"/>
                  </a:lnTo>
                  <a:lnTo>
                    <a:pt x="346154" y="107249"/>
                  </a:lnTo>
                  <a:lnTo>
                    <a:pt x="352953" y="96887"/>
                  </a:lnTo>
                  <a:lnTo>
                    <a:pt x="363575" y="92702"/>
                  </a:lnTo>
                  <a:lnTo>
                    <a:pt x="365356" y="85240"/>
                  </a:lnTo>
                  <a:lnTo>
                    <a:pt x="373233" y="88680"/>
                  </a:lnTo>
                  <a:lnTo>
                    <a:pt x="374896" y="81963"/>
                  </a:lnTo>
                  <a:lnTo>
                    <a:pt x="384147" y="78440"/>
                  </a:lnTo>
                  <a:lnTo>
                    <a:pt x="394194" y="75168"/>
                  </a:lnTo>
                  <a:lnTo>
                    <a:pt x="406062" y="88022"/>
                  </a:lnTo>
                  <a:lnTo>
                    <a:pt x="413517" y="104350"/>
                  </a:lnTo>
                  <a:lnTo>
                    <a:pt x="425547" y="105020"/>
                  </a:lnTo>
                  <a:lnTo>
                    <a:pt x="437270" y="108043"/>
                  </a:lnTo>
                  <a:lnTo>
                    <a:pt x="436279" y="93093"/>
                  </a:lnTo>
                  <a:lnTo>
                    <a:pt x="449857" y="71834"/>
                  </a:lnTo>
                  <a:lnTo>
                    <a:pt x="459946" y="65106"/>
                  </a:lnTo>
                  <a:lnTo>
                    <a:pt x="458202" y="58248"/>
                  </a:lnTo>
                  <a:lnTo>
                    <a:pt x="469461" y="43115"/>
                  </a:lnTo>
                  <a:lnTo>
                    <a:pt x="482920" y="33975"/>
                  </a:lnTo>
                  <a:lnTo>
                    <a:pt x="492287" y="37536"/>
                  </a:lnTo>
                  <a:lnTo>
                    <a:pt x="509513" y="32990"/>
                  </a:lnTo>
                  <a:lnTo>
                    <a:pt x="511563" y="19099"/>
                  </a:lnTo>
                  <a:lnTo>
                    <a:pt x="498794" y="9698"/>
                  </a:lnTo>
                  <a:lnTo>
                    <a:pt x="509805" y="6083"/>
                  </a:lnTo>
                  <a:lnTo>
                    <a:pt x="521594" y="13236"/>
                  </a:lnTo>
                  <a:lnTo>
                    <a:pt x="530031" y="24738"/>
                  </a:lnTo>
                  <a:lnTo>
                    <a:pt x="545171" y="32272"/>
                  </a:lnTo>
                  <a:lnTo>
                    <a:pt x="551210" y="29708"/>
                  </a:lnTo>
                  <a:lnTo>
                    <a:pt x="561735" y="38525"/>
                  </a:lnTo>
                  <a:lnTo>
                    <a:pt x="574498" y="31110"/>
                  </a:lnTo>
                  <a:lnTo>
                    <a:pt x="581365" y="33753"/>
                  </a:lnTo>
                  <a:lnTo>
                    <a:pt x="586860" y="28658"/>
                  </a:lnTo>
                  <a:lnTo>
                    <a:pt x="593292" y="42529"/>
                  </a:lnTo>
                  <a:lnTo>
                    <a:pt x="585324" y="56983"/>
                  </a:lnTo>
                  <a:lnTo>
                    <a:pt x="575786" y="67740"/>
                  </a:lnTo>
                  <a:lnTo>
                    <a:pt x="568955" y="68385"/>
                  </a:lnTo>
                  <a:lnTo>
                    <a:pt x="568971" y="79389"/>
                  </a:lnTo>
                  <a:lnTo>
                    <a:pt x="560429" y="92786"/>
                  </a:lnTo>
                  <a:lnTo>
                    <a:pt x="550669" y="105884"/>
                  </a:lnTo>
                  <a:lnTo>
                    <a:pt x="550332" y="113631"/>
                  </a:lnTo>
                  <a:lnTo>
                    <a:pt x="562150" y="129375"/>
                  </a:lnTo>
                  <a:lnTo>
                    <a:pt x="574847" y="138810"/>
                  </a:lnTo>
                  <a:lnTo>
                    <a:pt x="582416" y="148684"/>
                  </a:lnTo>
                  <a:lnTo>
                    <a:pt x="592136" y="165557"/>
                  </a:lnTo>
                  <a:lnTo>
                    <a:pt x="597529" y="165808"/>
                  </a:lnTo>
                  <a:lnTo>
                    <a:pt x="605684" y="173328"/>
                  </a:lnTo>
                  <a:lnTo>
                    <a:pt x="606322" y="181929"/>
                  </a:lnTo>
                  <a:lnTo>
                    <a:pt x="621954" y="192202"/>
                  </a:lnTo>
                  <a:lnTo>
                    <a:pt x="637107" y="183532"/>
                  </a:lnTo>
                  <a:lnTo>
                    <a:pt x="644817" y="168996"/>
                  </a:lnTo>
                  <a:lnTo>
                    <a:pt x="651892" y="157024"/>
                  </a:lnTo>
                  <a:lnTo>
                    <a:pt x="658112" y="142064"/>
                  </a:lnTo>
                  <a:lnTo>
                    <a:pt x="669303" y="120438"/>
                  </a:lnTo>
                  <a:lnTo>
                    <a:pt x="669758" y="106978"/>
                  </a:lnTo>
                  <a:lnTo>
                    <a:pt x="672978" y="99016"/>
                  </a:lnTo>
                  <a:lnTo>
                    <a:pt x="674239" y="83121"/>
                  </a:lnTo>
                  <a:lnTo>
                    <a:pt x="681151" y="62419"/>
                  </a:lnTo>
                  <a:lnTo>
                    <a:pt x="686004" y="56956"/>
                  </a:lnTo>
                  <a:lnTo>
                    <a:pt x="684824" y="47598"/>
                  </a:lnTo>
                  <a:lnTo>
                    <a:pt x="692327" y="33110"/>
                  </a:lnTo>
                  <a:lnTo>
                    <a:pt x="698810" y="18028"/>
                  </a:lnTo>
                  <a:lnTo>
                    <a:pt x="700701" y="10137"/>
                  </a:lnTo>
                  <a:lnTo>
                    <a:pt x="709722" y="0"/>
                  </a:lnTo>
                  <a:lnTo>
                    <a:pt x="712854" y="13774"/>
                  </a:lnTo>
                  <a:lnTo>
                    <a:pt x="711021" y="31237"/>
                  </a:lnTo>
                  <a:lnTo>
                    <a:pt x="715223" y="34780"/>
                  </a:lnTo>
                  <a:lnTo>
                    <a:pt x="713793" y="46470"/>
                  </a:lnTo>
                  <a:lnTo>
                    <a:pt x="717987" y="60877"/>
                  </a:lnTo>
                  <a:lnTo>
                    <a:pt x="716129" y="76646"/>
                  </a:lnTo>
                  <a:lnTo>
                    <a:pt x="713248" y="86688"/>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86" name="Polygon form 250"/>
            <p:cNvSpPr/>
            <p:nvPr/>
          </p:nvSpPr>
          <p:spPr>
            <a:xfrm>
              <a:off x="6412657" y="5157212"/>
              <a:ext cx="86558" cy="79518"/>
            </a:xfrm>
            <a:custGeom>
              <a:avLst/>
              <a:gdLst/>
              <a:ahLst/>
              <a:cxnLst/>
              <a:rect l="0" t="0" r="0" b="0"/>
              <a:pathLst>
                <a:path w="86558" h="79518">
                  <a:moveTo>
                    <a:pt x="41983" y="3630"/>
                  </a:moveTo>
                  <a:lnTo>
                    <a:pt x="51033" y="14533"/>
                  </a:lnTo>
                  <a:lnTo>
                    <a:pt x="62253" y="12144"/>
                  </a:lnTo>
                  <a:lnTo>
                    <a:pt x="78273" y="8835"/>
                  </a:lnTo>
                  <a:lnTo>
                    <a:pt x="86558" y="11846"/>
                  </a:lnTo>
                  <a:lnTo>
                    <a:pt x="65023" y="42553"/>
                  </a:lnTo>
                  <a:lnTo>
                    <a:pt x="52972" y="50649"/>
                  </a:lnTo>
                  <a:lnTo>
                    <a:pt x="35589" y="70992"/>
                  </a:lnTo>
                  <a:lnTo>
                    <a:pt x="35550" y="63247"/>
                  </a:lnTo>
                  <a:lnTo>
                    <a:pt x="11060" y="79518"/>
                  </a:lnTo>
                  <a:lnTo>
                    <a:pt x="8918" y="77706"/>
                  </a:lnTo>
                  <a:lnTo>
                    <a:pt x="0" y="75601"/>
                  </a:lnTo>
                  <a:lnTo>
                    <a:pt x="6956" y="52477"/>
                  </a:lnTo>
                  <a:lnTo>
                    <a:pt x="17323" y="35304"/>
                  </a:lnTo>
                  <a:lnTo>
                    <a:pt x="24340" y="11750"/>
                  </a:lnTo>
                  <a:lnTo>
                    <a:pt x="33116" y="0"/>
                  </a:lnTo>
                  <a:lnTo>
                    <a:pt x="41983" y="3630"/>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87" name="Polygon form 251"/>
            <p:cNvSpPr/>
            <p:nvPr/>
          </p:nvSpPr>
          <p:spPr>
            <a:xfrm>
              <a:off x="2447956" y="3581650"/>
              <a:ext cx="39932" cy="20859"/>
            </a:xfrm>
            <a:custGeom>
              <a:avLst/>
              <a:gdLst/>
              <a:ahLst/>
              <a:cxnLst/>
              <a:rect l="0" t="0" r="0" b="0"/>
              <a:pathLst>
                <a:path w="39932" h="20859">
                  <a:moveTo>
                    <a:pt x="15779" y="951"/>
                  </a:moveTo>
                  <a:lnTo>
                    <a:pt x="28390" y="3508"/>
                  </a:lnTo>
                  <a:lnTo>
                    <a:pt x="37730" y="9754"/>
                  </a:lnTo>
                  <a:lnTo>
                    <a:pt x="39932" y="16670"/>
                  </a:lnTo>
                  <a:lnTo>
                    <a:pt x="26320" y="16818"/>
                  </a:lnTo>
                  <a:lnTo>
                    <a:pt x="19861" y="20859"/>
                  </a:lnTo>
                  <a:lnTo>
                    <a:pt x="9657" y="16590"/>
                  </a:lnTo>
                  <a:lnTo>
                    <a:pt x="0" y="7206"/>
                  </a:lnTo>
                  <a:lnTo>
                    <a:pt x="3175" y="1543"/>
                  </a:lnTo>
                  <a:lnTo>
                    <a:pt x="11526" y="0"/>
                  </a:lnTo>
                  <a:lnTo>
                    <a:pt x="15779" y="951"/>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288" name="Polygon form 252"/>
            <p:cNvSpPr/>
            <p:nvPr/>
          </p:nvSpPr>
          <p:spPr>
            <a:xfrm>
              <a:off x="4611327" y="3233834"/>
              <a:ext cx="71230" cy="102453"/>
            </a:xfrm>
            <a:custGeom>
              <a:avLst/>
              <a:gdLst/>
              <a:ahLst/>
              <a:cxnLst/>
              <a:rect l="0" t="0" r="0" b="0"/>
              <a:pathLst>
                <a:path w="71230" h="102453">
                  <a:moveTo>
                    <a:pt x="3399" y="25031"/>
                  </a:moveTo>
                  <a:lnTo>
                    <a:pt x="5654" y="17325"/>
                  </a:lnTo>
                  <a:lnTo>
                    <a:pt x="27328" y="26569"/>
                  </a:lnTo>
                  <a:lnTo>
                    <a:pt x="59800" y="0"/>
                  </a:lnTo>
                  <a:lnTo>
                    <a:pt x="71230" y="29433"/>
                  </a:lnTo>
                  <a:lnTo>
                    <a:pt x="68213" y="33165"/>
                  </a:lnTo>
                  <a:lnTo>
                    <a:pt x="32875" y="46045"/>
                  </a:lnTo>
                  <a:lnTo>
                    <a:pt x="54305" y="69996"/>
                  </a:lnTo>
                  <a:lnTo>
                    <a:pt x="48677" y="74232"/>
                  </a:lnTo>
                  <a:lnTo>
                    <a:pt x="46602" y="82420"/>
                  </a:lnTo>
                  <a:lnTo>
                    <a:pt x="32821" y="86029"/>
                  </a:lnTo>
                  <a:lnTo>
                    <a:pt x="29376" y="94847"/>
                  </a:lnTo>
                  <a:lnTo>
                    <a:pt x="22166" y="102453"/>
                  </a:lnTo>
                  <a:lnTo>
                    <a:pt x="1005" y="98927"/>
                  </a:lnTo>
                  <a:lnTo>
                    <a:pt x="0" y="95424"/>
                  </a:lnTo>
                  <a:lnTo>
                    <a:pt x="4863" y="56471"/>
                  </a:lnTo>
                  <a:lnTo>
                    <a:pt x="3320" y="47037"/>
                  </a:lnTo>
                  <a:lnTo>
                    <a:pt x="5194" y="39870"/>
                  </a:lnTo>
                  <a:lnTo>
                    <a:pt x="3399" y="25031"/>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89" name="Polygon form 253"/>
            <p:cNvSpPr/>
            <p:nvPr/>
          </p:nvSpPr>
          <p:spPr>
            <a:xfrm>
              <a:off x="6302181" y="2924491"/>
              <a:ext cx="161636" cy="287589"/>
            </a:xfrm>
            <a:custGeom>
              <a:avLst/>
              <a:gdLst/>
              <a:ahLst/>
              <a:cxnLst/>
              <a:rect l="0" t="0" r="0" b="0"/>
              <a:pathLst>
                <a:path w="161636" h="287589">
                  <a:moveTo>
                    <a:pt x="142702" y="110254"/>
                  </a:moveTo>
                  <a:lnTo>
                    <a:pt x="149008" y="131780"/>
                  </a:lnTo>
                  <a:lnTo>
                    <a:pt x="159729" y="144560"/>
                  </a:lnTo>
                  <a:lnTo>
                    <a:pt x="161636" y="163977"/>
                  </a:lnTo>
                  <a:lnTo>
                    <a:pt x="146813" y="178607"/>
                  </a:lnTo>
                  <a:lnTo>
                    <a:pt x="117563" y="183297"/>
                  </a:lnTo>
                  <a:lnTo>
                    <a:pt x="109023" y="215632"/>
                  </a:lnTo>
                  <a:lnTo>
                    <a:pt x="92084" y="206688"/>
                  </a:lnTo>
                  <a:lnTo>
                    <a:pt x="80944" y="187217"/>
                  </a:lnTo>
                  <a:lnTo>
                    <a:pt x="54023" y="195883"/>
                  </a:lnTo>
                  <a:lnTo>
                    <a:pt x="39922" y="210099"/>
                  </a:lnTo>
                  <a:lnTo>
                    <a:pt x="19835" y="212476"/>
                  </a:lnTo>
                  <a:lnTo>
                    <a:pt x="47198" y="230055"/>
                  </a:lnTo>
                  <a:lnTo>
                    <a:pt x="57074" y="275579"/>
                  </a:lnTo>
                  <a:lnTo>
                    <a:pt x="50751" y="287589"/>
                  </a:lnTo>
                  <a:lnTo>
                    <a:pt x="37449" y="278128"/>
                  </a:lnTo>
                  <a:lnTo>
                    <a:pt x="30630" y="254180"/>
                  </a:lnTo>
                  <a:lnTo>
                    <a:pt x="15836" y="247556"/>
                  </a:lnTo>
                  <a:lnTo>
                    <a:pt x="0" y="230307"/>
                  </a:lnTo>
                  <a:lnTo>
                    <a:pt x="12530" y="220811"/>
                  </a:lnTo>
                  <a:lnTo>
                    <a:pt x="13345" y="203617"/>
                  </a:lnTo>
                  <a:lnTo>
                    <a:pt x="23745" y="188543"/>
                  </a:lnTo>
                  <a:lnTo>
                    <a:pt x="26858" y="169563"/>
                  </a:lnTo>
                  <a:lnTo>
                    <a:pt x="56647" y="158442"/>
                  </a:lnTo>
                  <a:lnTo>
                    <a:pt x="77866" y="161921"/>
                  </a:lnTo>
                  <a:lnTo>
                    <a:pt x="68915" y="113861"/>
                  </a:lnTo>
                  <a:lnTo>
                    <a:pt x="87478" y="125057"/>
                  </a:lnTo>
                  <a:lnTo>
                    <a:pt x="96389" y="96406"/>
                  </a:lnTo>
                  <a:lnTo>
                    <a:pt x="99586" y="85272"/>
                  </a:lnTo>
                  <a:lnTo>
                    <a:pt x="89721" y="52456"/>
                  </a:lnTo>
                  <a:lnTo>
                    <a:pt x="67741" y="23837"/>
                  </a:lnTo>
                  <a:lnTo>
                    <a:pt x="63534" y="6806"/>
                  </a:lnTo>
                  <a:lnTo>
                    <a:pt x="77346" y="0"/>
                  </a:lnTo>
                  <a:lnTo>
                    <a:pt x="110584" y="34571"/>
                  </a:lnTo>
                  <a:lnTo>
                    <a:pt x="124044" y="55571"/>
                  </a:lnTo>
                  <a:lnTo>
                    <a:pt x="125670" y="83452"/>
                  </a:lnTo>
                  <a:lnTo>
                    <a:pt x="142702" y="110254"/>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90" name="Polygon form 254"/>
            <p:cNvSpPr/>
            <p:nvPr/>
          </p:nvSpPr>
          <p:spPr>
            <a:xfrm>
              <a:off x="6310443" y="2817332"/>
              <a:ext cx="99967" cy="105066"/>
            </a:xfrm>
            <a:custGeom>
              <a:avLst/>
              <a:gdLst/>
              <a:ahLst/>
              <a:cxnLst/>
              <a:rect l="0" t="0" r="0" b="0"/>
              <a:pathLst>
                <a:path w="99967" h="105066">
                  <a:moveTo>
                    <a:pt x="56892" y="30729"/>
                  </a:moveTo>
                  <a:lnTo>
                    <a:pt x="71936" y="34660"/>
                  </a:lnTo>
                  <a:lnTo>
                    <a:pt x="74516" y="22422"/>
                  </a:lnTo>
                  <a:lnTo>
                    <a:pt x="99967" y="50464"/>
                  </a:lnTo>
                  <a:lnTo>
                    <a:pt x="82045" y="60546"/>
                  </a:lnTo>
                  <a:lnTo>
                    <a:pt x="86828" y="87710"/>
                  </a:lnTo>
                  <a:lnTo>
                    <a:pt x="49321" y="73448"/>
                  </a:lnTo>
                  <a:lnTo>
                    <a:pt x="60567" y="102483"/>
                  </a:lnTo>
                  <a:lnTo>
                    <a:pt x="43022" y="105066"/>
                  </a:lnTo>
                  <a:lnTo>
                    <a:pt x="23015" y="79963"/>
                  </a:lnTo>
                  <a:lnTo>
                    <a:pt x="16736" y="59412"/>
                  </a:lnTo>
                  <a:lnTo>
                    <a:pt x="32485" y="55852"/>
                  </a:lnTo>
                  <a:lnTo>
                    <a:pt x="10686" y="20239"/>
                  </a:lnTo>
                  <a:lnTo>
                    <a:pt x="0" y="0"/>
                  </a:lnTo>
                  <a:lnTo>
                    <a:pt x="38480" y="23817"/>
                  </a:lnTo>
                  <a:lnTo>
                    <a:pt x="56892" y="30729"/>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91" name="Polygon form 255"/>
            <p:cNvSpPr/>
            <p:nvPr/>
          </p:nvSpPr>
          <p:spPr>
            <a:xfrm>
              <a:off x="6351719" y="3119727"/>
              <a:ext cx="36991" cy="44856"/>
            </a:xfrm>
            <a:custGeom>
              <a:avLst/>
              <a:gdLst/>
              <a:ahLst/>
              <a:cxnLst/>
              <a:rect l="0" t="0" r="0" b="0"/>
              <a:pathLst>
                <a:path w="36991" h="44856">
                  <a:moveTo>
                    <a:pt x="30048" y="4409"/>
                  </a:moveTo>
                  <a:lnTo>
                    <a:pt x="36991" y="13162"/>
                  </a:lnTo>
                  <a:lnTo>
                    <a:pt x="35420" y="29931"/>
                  </a:lnTo>
                  <a:lnTo>
                    <a:pt x="23963" y="22205"/>
                  </a:lnTo>
                  <a:lnTo>
                    <a:pt x="18154" y="29118"/>
                  </a:lnTo>
                  <a:lnTo>
                    <a:pt x="21231" y="44856"/>
                  </a:lnTo>
                  <a:lnTo>
                    <a:pt x="6107" y="38440"/>
                  </a:lnTo>
                  <a:lnTo>
                    <a:pt x="0" y="26034"/>
                  </a:lnTo>
                  <a:lnTo>
                    <a:pt x="1602" y="9564"/>
                  </a:lnTo>
                  <a:lnTo>
                    <a:pt x="13030" y="11651"/>
                  </a:lnTo>
                  <a:lnTo>
                    <a:pt x="14375" y="0"/>
                  </a:lnTo>
                  <a:lnTo>
                    <a:pt x="30048" y="4409"/>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92" name="Polygon form 256"/>
            <p:cNvSpPr/>
            <p:nvPr/>
          </p:nvSpPr>
          <p:spPr>
            <a:xfrm>
              <a:off x="4733670" y="2680507"/>
              <a:ext cx="660643" cy="359045"/>
            </a:xfrm>
            <a:custGeom>
              <a:avLst/>
              <a:gdLst/>
              <a:ahLst/>
              <a:cxnLst/>
              <a:rect l="0" t="0" r="0" b="0"/>
              <a:pathLst>
                <a:path w="660643" h="359045">
                  <a:moveTo>
                    <a:pt x="458957" y="317573"/>
                  </a:moveTo>
                  <a:lnTo>
                    <a:pt x="450623" y="322574"/>
                  </a:lnTo>
                  <a:lnTo>
                    <a:pt x="433438" y="340717"/>
                  </a:lnTo>
                  <a:lnTo>
                    <a:pt x="431361" y="358599"/>
                  </a:lnTo>
                  <a:lnTo>
                    <a:pt x="424938" y="359045"/>
                  </a:lnTo>
                  <a:lnTo>
                    <a:pt x="416596" y="347650"/>
                  </a:lnTo>
                  <a:lnTo>
                    <a:pt x="394324" y="347832"/>
                  </a:lnTo>
                  <a:lnTo>
                    <a:pt x="384638" y="327937"/>
                  </a:lnTo>
                  <a:lnTo>
                    <a:pt x="376190" y="328138"/>
                  </a:lnTo>
                  <a:lnTo>
                    <a:pt x="369794" y="303555"/>
                  </a:lnTo>
                  <a:lnTo>
                    <a:pt x="343695" y="286629"/>
                  </a:lnTo>
                  <a:lnTo>
                    <a:pt x="315070" y="289820"/>
                  </a:lnTo>
                  <a:lnTo>
                    <a:pt x="296146" y="294229"/>
                  </a:lnTo>
                  <a:lnTo>
                    <a:pt x="273236" y="272939"/>
                  </a:lnTo>
                  <a:lnTo>
                    <a:pt x="256568" y="264307"/>
                  </a:lnTo>
                  <a:lnTo>
                    <a:pt x="225130" y="247965"/>
                  </a:lnTo>
                  <a:lnTo>
                    <a:pt x="221349" y="245982"/>
                  </a:lnTo>
                  <a:lnTo>
                    <a:pt x="182047" y="262097"/>
                  </a:lnTo>
                  <a:lnTo>
                    <a:pt x="206837" y="351858"/>
                  </a:lnTo>
                  <a:lnTo>
                    <a:pt x="198217" y="353367"/>
                  </a:lnTo>
                  <a:lnTo>
                    <a:pt x="181221" y="334697"/>
                  </a:lnTo>
                  <a:lnTo>
                    <a:pt x="167795" y="328292"/>
                  </a:lnTo>
                  <a:lnTo>
                    <a:pt x="149424" y="334045"/>
                  </a:lnTo>
                  <a:lnTo>
                    <a:pt x="143745" y="342406"/>
                  </a:lnTo>
                  <a:lnTo>
                    <a:pt x="141329" y="336504"/>
                  </a:lnTo>
                  <a:lnTo>
                    <a:pt x="143090" y="326217"/>
                  </a:lnTo>
                  <a:lnTo>
                    <a:pt x="137692" y="317853"/>
                  </a:lnTo>
                  <a:lnTo>
                    <a:pt x="115681" y="310254"/>
                  </a:lnTo>
                  <a:lnTo>
                    <a:pt x="102535" y="288688"/>
                  </a:lnTo>
                  <a:lnTo>
                    <a:pt x="91571" y="282863"/>
                  </a:lnTo>
                  <a:lnTo>
                    <a:pt x="89025" y="274968"/>
                  </a:lnTo>
                  <a:lnTo>
                    <a:pt x="106179" y="276702"/>
                  </a:lnTo>
                  <a:lnTo>
                    <a:pt x="102261" y="258916"/>
                  </a:lnTo>
                  <a:lnTo>
                    <a:pt x="115624" y="254456"/>
                  </a:lnTo>
                  <a:lnTo>
                    <a:pt x="131375" y="257545"/>
                  </a:lnTo>
                  <a:lnTo>
                    <a:pt x="127944" y="233731"/>
                  </a:lnTo>
                  <a:lnTo>
                    <a:pt x="120776" y="218827"/>
                  </a:lnTo>
                  <a:lnTo>
                    <a:pt x="104361" y="220627"/>
                  </a:lnTo>
                  <a:lnTo>
                    <a:pt x="88528" y="215226"/>
                  </a:lnTo>
                  <a:lnTo>
                    <a:pt x="71990" y="226591"/>
                  </a:lnTo>
                  <a:lnTo>
                    <a:pt x="57641" y="232225"/>
                  </a:lnTo>
                  <a:lnTo>
                    <a:pt x="48105" y="228595"/>
                  </a:lnTo>
                  <a:lnTo>
                    <a:pt x="46607" y="216055"/>
                  </a:lnTo>
                  <a:lnTo>
                    <a:pt x="31780" y="200223"/>
                  </a:lnTo>
                  <a:lnTo>
                    <a:pt x="19602" y="201321"/>
                  </a:lnTo>
                  <a:lnTo>
                    <a:pt x="1318" y="185360"/>
                  </a:lnTo>
                  <a:lnTo>
                    <a:pt x="6100" y="166677"/>
                  </a:lnTo>
                  <a:lnTo>
                    <a:pt x="0" y="161902"/>
                  </a:lnTo>
                  <a:lnTo>
                    <a:pt x="5907" y="134846"/>
                  </a:lnTo>
                  <a:lnTo>
                    <a:pt x="26542" y="148287"/>
                  </a:lnTo>
                  <a:lnTo>
                    <a:pt x="23633" y="130530"/>
                  </a:lnTo>
                  <a:lnTo>
                    <a:pt x="49282" y="102951"/>
                  </a:lnTo>
                  <a:lnTo>
                    <a:pt x="74166" y="101335"/>
                  </a:lnTo>
                  <a:lnTo>
                    <a:pt x="114918" y="116652"/>
                  </a:lnTo>
                  <a:lnTo>
                    <a:pt x="137195" y="125650"/>
                  </a:lnTo>
                  <a:lnTo>
                    <a:pt x="150959" y="114695"/>
                  </a:lnTo>
                  <a:lnTo>
                    <a:pt x="176307" y="113083"/>
                  </a:lnTo>
                  <a:lnTo>
                    <a:pt x="201252" y="124713"/>
                  </a:lnTo>
                  <a:lnTo>
                    <a:pt x="203427" y="117304"/>
                  </a:lnTo>
                  <a:lnTo>
                    <a:pt x="226408" y="117297"/>
                  </a:lnTo>
                  <a:lnTo>
                    <a:pt x="226277" y="105625"/>
                  </a:lnTo>
                  <a:lnTo>
                    <a:pt x="194343" y="90184"/>
                  </a:lnTo>
                  <a:lnTo>
                    <a:pt x="205279" y="77667"/>
                  </a:lnTo>
                  <a:lnTo>
                    <a:pt x="199864" y="71214"/>
                  </a:lnTo>
                  <a:lnTo>
                    <a:pt x="212647" y="64189"/>
                  </a:lnTo>
                  <a:lnTo>
                    <a:pt x="194985" y="48172"/>
                  </a:lnTo>
                  <a:lnTo>
                    <a:pt x="198973" y="39570"/>
                  </a:lnTo>
                  <a:lnTo>
                    <a:pt x="253784" y="28191"/>
                  </a:lnTo>
                  <a:lnTo>
                    <a:pt x="258841" y="21820"/>
                  </a:lnTo>
                  <a:lnTo>
                    <a:pt x="293548" y="10795"/>
                  </a:lnTo>
                  <a:lnTo>
                    <a:pt x="302842" y="0"/>
                  </a:lnTo>
                  <a:lnTo>
                    <a:pt x="332700" y="3613"/>
                  </a:lnTo>
                  <a:lnTo>
                    <a:pt x="349016" y="28372"/>
                  </a:lnTo>
                  <a:lnTo>
                    <a:pt x="362430" y="21540"/>
                  </a:lnTo>
                  <a:lnTo>
                    <a:pt x="386079" y="28599"/>
                  </a:lnTo>
                  <a:lnTo>
                    <a:pt x="390935" y="41881"/>
                  </a:lnTo>
                  <a:lnTo>
                    <a:pt x="405179" y="39600"/>
                  </a:lnTo>
                  <a:lnTo>
                    <a:pt x="432804" y="14363"/>
                  </a:lnTo>
                  <a:lnTo>
                    <a:pt x="430925" y="22300"/>
                  </a:lnTo>
                  <a:lnTo>
                    <a:pt x="459761" y="39738"/>
                  </a:lnTo>
                  <a:lnTo>
                    <a:pt x="524467" y="99113"/>
                  </a:lnTo>
                  <a:lnTo>
                    <a:pt x="526791" y="85840"/>
                  </a:lnTo>
                  <a:lnTo>
                    <a:pt x="555335" y="98418"/>
                  </a:lnTo>
                  <a:lnTo>
                    <a:pt x="574960" y="90648"/>
                  </a:lnTo>
                  <a:lnTo>
                    <a:pt x="585851" y="94433"/>
                  </a:lnTo>
                  <a:lnTo>
                    <a:pt x="600460" y="107982"/>
                  </a:lnTo>
                  <a:lnTo>
                    <a:pt x="613905" y="111952"/>
                  </a:lnTo>
                  <a:lnTo>
                    <a:pt x="625810" y="121836"/>
                  </a:lnTo>
                  <a:lnTo>
                    <a:pt x="644689" y="117150"/>
                  </a:lnTo>
                  <a:lnTo>
                    <a:pt x="660643" y="131486"/>
                  </a:lnTo>
                  <a:lnTo>
                    <a:pt x="656457" y="148600"/>
                  </a:lnTo>
                  <a:lnTo>
                    <a:pt x="644180" y="151795"/>
                  </a:lnTo>
                  <a:lnTo>
                    <a:pt x="655052" y="176380"/>
                  </a:lnTo>
                  <a:lnTo>
                    <a:pt x="651120" y="188049"/>
                  </a:lnTo>
                  <a:lnTo>
                    <a:pt x="615033" y="182089"/>
                  </a:lnTo>
                  <a:lnTo>
                    <a:pt x="622464" y="226699"/>
                  </a:lnTo>
                  <a:lnTo>
                    <a:pt x="616285" y="232679"/>
                  </a:lnTo>
                  <a:lnTo>
                    <a:pt x="587334" y="244446"/>
                  </a:lnTo>
                  <a:lnTo>
                    <a:pt x="619572" y="286231"/>
                  </a:lnTo>
                  <a:lnTo>
                    <a:pt x="610444" y="293294"/>
                  </a:lnTo>
                  <a:lnTo>
                    <a:pt x="617199" y="307241"/>
                  </a:lnTo>
                  <a:lnTo>
                    <a:pt x="605322" y="304218"/>
                  </a:lnTo>
                  <a:lnTo>
                    <a:pt x="593423" y="295855"/>
                  </a:lnTo>
                  <a:lnTo>
                    <a:pt x="567237" y="294671"/>
                  </a:lnTo>
                  <a:lnTo>
                    <a:pt x="538799" y="295514"/>
                  </a:lnTo>
                  <a:lnTo>
                    <a:pt x="533603" y="298544"/>
                  </a:lnTo>
                  <a:lnTo>
                    <a:pt x="505642" y="289497"/>
                  </a:lnTo>
                  <a:lnTo>
                    <a:pt x="497812" y="295070"/>
                  </a:lnTo>
                  <a:lnTo>
                    <a:pt x="500268" y="309682"/>
                  </a:lnTo>
                  <a:lnTo>
                    <a:pt x="469230" y="302641"/>
                  </a:lnTo>
                  <a:lnTo>
                    <a:pt x="459168" y="306651"/>
                  </a:lnTo>
                  <a:lnTo>
                    <a:pt x="458957" y="317573"/>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293" name="Polygon form 257"/>
            <p:cNvSpPr/>
            <p:nvPr/>
          </p:nvSpPr>
          <p:spPr>
            <a:xfrm>
              <a:off x="4629355" y="3912220"/>
              <a:ext cx="156368" cy="247824"/>
            </a:xfrm>
            <a:custGeom>
              <a:avLst/>
              <a:gdLst/>
              <a:ahLst/>
              <a:cxnLst/>
              <a:rect l="0" t="0" r="0" b="0"/>
              <a:pathLst>
                <a:path w="156368" h="247824">
                  <a:moveTo>
                    <a:pt x="140113" y="154817"/>
                  </a:moveTo>
                  <a:lnTo>
                    <a:pt x="151693" y="174947"/>
                  </a:lnTo>
                  <a:lnTo>
                    <a:pt x="137794" y="184668"/>
                  </a:lnTo>
                  <a:lnTo>
                    <a:pt x="132824" y="194834"/>
                  </a:lnTo>
                  <a:lnTo>
                    <a:pt x="125409" y="196609"/>
                  </a:lnTo>
                  <a:lnTo>
                    <a:pt x="122404" y="213778"/>
                  </a:lnTo>
                  <a:lnTo>
                    <a:pt x="115930" y="223597"/>
                  </a:lnTo>
                  <a:lnTo>
                    <a:pt x="111817" y="239801"/>
                  </a:lnTo>
                  <a:lnTo>
                    <a:pt x="103732" y="247824"/>
                  </a:lnTo>
                  <a:lnTo>
                    <a:pt x="75830" y="223407"/>
                  </a:lnTo>
                  <a:lnTo>
                    <a:pt x="74668" y="209282"/>
                  </a:lnTo>
                  <a:lnTo>
                    <a:pt x="3488" y="159645"/>
                  </a:lnTo>
                  <a:lnTo>
                    <a:pt x="163" y="156974"/>
                  </a:lnTo>
                  <a:lnTo>
                    <a:pt x="0" y="131219"/>
                  </a:lnTo>
                  <a:lnTo>
                    <a:pt x="5644" y="121370"/>
                  </a:lnTo>
                  <a:lnTo>
                    <a:pt x="15310" y="105276"/>
                  </a:lnTo>
                  <a:lnTo>
                    <a:pt x="22395" y="87548"/>
                  </a:lnTo>
                  <a:lnTo>
                    <a:pt x="13469" y="59653"/>
                  </a:lnTo>
                  <a:lnTo>
                    <a:pt x="11020" y="47458"/>
                  </a:lnTo>
                  <a:lnTo>
                    <a:pt x="1439" y="30603"/>
                  </a:lnTo>
                  <a:lnTo>
                    <a:pt x="13336" y="16057"/>
                  </a:lnTo>
                  <a:lnTo>
                    <a:pt x="26397" y="0"/>
                  </a:lnTo>
                  <a:lnTo>
                    <a:pt x="36713" y="4049"/>
                  </a:lnTo>
                  <a:lnTo>
                    <a:pt x="36965" y="17700"/>
                  </a:lnTo>
                  <a:lnTo>
                    <a:pt x="43836" y="25687"/>
                  </a:lnTo>
                  <a:lnTo>
                    <a:pt x="57558" y="25651"/>
                  </a:lnTo>
                  <a:lnTo>
                    <a:pt x="82839" y="46264"/>
                  </a:lnTo>
                  <a:lnTo>
                    <a:pt x="89077" y="46496"/>
                  </a:lnTo>
                  <a:lnTo>
                    <a:pt x="93686" y="45814"/>
                  </a:lnTo>
                  <a:lnTo>
                    <a:pt x="98092" y="48614"/>
                  </a:lnTo>
                  <a:lnTo>
                    <a:pt x="111273" y="50502"/>
                  </a:lnTo>
                  <a:lnTo>
                    <a:pt x="116953" y="40334"/>
                  </a:lnTo>
                  <a:lnTo>
                    <a:pt x="134798" y="30092"/>
                  </a:lnTo>
                  <a:lnTo>
                    <a:pt x="142892" y="38311"/>
                  </a:lnTo>
                  <a:lnTo>
                    <a:pt x="156368" y="38280"/>
                  </a:lnTo>
                  <a:lnTo>
                    <a:pt x="139519" y="65987"/>
                  </a:lnTo>
                  <a:lnTo>
                    <a:pt x="140113" y="154817"/>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94" name="Polygon form 258"/>
            <p:cNvSpPr/>
            <p:nvPr/>
          </p:nvSpPr>
          <p:spPr>
            <a:xfrm>
              <a:off x="5185449" y="2970003"/>
              <a:ext cx="165421" cy="100710"/>
            </a:xfrm>
            <a:custGeom>
              <a:avLst/>
              <a:gdLst/>
              <a:ahLst/>
              <a:cxnLst/>
              <a:rect l="0" t="0" r="0" b="0"/>
              <a:pathLst>
                <a:path w="165421" h="100710">
                  <a:moveTo>
                    <a:pt x="7179" y="28076"/>
                  </a:moveTo>
                  <a:lnTo>
                    <a:pt x="7389" y="17155"/>
                  </a:lnTo>
                  <a:lnTo>
                    <a:pt x="17452" y="13145"/>
                  </a:lnTo>
                  <a:lnTo>
                    <a:pt x="48490" y="20186"/>
                  </a:lnTo>
                  <a:lnTo>
                    <a:pt x="46033" y="5574"/>
                  </a:lnTo>
                  <a:lnTo>
                    <a:pt x="53864" y="0"/>
                  </a:lnTo>
                  <a:lnTo>
                    <a:pt x="81824" y="9047"/>
                  </a:lnTo>
                  <a:lnTo>
                    <a:pt x="87020" y="6018"/>
                  </a:lnTo>
                  <a:lnTo>
                    <a:pt x="115459" y="5174"/>
                  </a:lnTo>
                  <a:lnTo>
                    <a:pt x="141645" y="6358"/>
                  </a:lnTo>
                  <a:lnTo>
                    <a:pt x="153544" y="14721"/>
                  </a:lnTo>
                  <a:lnTo>
                    <a:pt x="165421" y="17744"/>
                  </a:lnTo>
                  <a:lnTo>
                    <a:pt x="165140" y="23442"/>
                  </a:lnTo>
                  <a:lnTo>
                    <a:pt x="143131" y="38247"/>
                  </a:lnTo>
                  <a:lnTo>
                    <a:pt x="140549" y="48343"/>
                  </a:lnTo>
                  <a:lnTo>
                    <a:pt x="119494" y="52424"/>
                  </a:lnTo>
                  <a:lnTo>
                    <a:pt x="118435" y="68473"/>
                  </a:lnTo>
                  <a:lnTo>
                    <a:pt x="98972" y="66097"/>
                  </a:lnTo>
                  <a:lnTo>
                    <a:pt x="88624" y="71504"/>
                  </a:lnTo>
                  <a:lnTo>
                    <a:pt x="75882" y="83931"/>
                  </a:lnTo>
                  <a:lnTo>
                    <a:pt x="80158" y="89570"/>
                  </a:lnTo>
                  <a:lnTo>
                    <a:pt x="77011" y="95435"/>
                  </a:lnTo>
                  <a:lnTo>
                    <a:pt x="45136" y="100710"/>
                  </a:lnTo>
                  <a:lnTo>
                    <a:pt x="21053" y="93716"/>
                  </a:lnTo>
                  <a:lnTo>
                    <a:pt x="2679" y="96469"/>
                  </a:lnTo>
                  <a:lnTo>
                    <a:pt x="0" y="82246"/>
                  </a:lnTo>
                  <a:lnTo>
                    <a:pt x="20248" y="85496"/>
                  </a:lnTo>
                  <a:lnTo>
                    <a:pt x="24241" y="77626"/>
                  </a:lnTo>
                  <a:lnTo>
                    <a:pt x="38245" y="79430"/>
                  </a:lnTo>
                  <a:lnTo>
                    <a:pt x="54700" y="60683"/>
                  </a:lnTo>
                  <a:lnTo>
                    <a:pt x="29930" y="48738"/>
                  </a:lnTo>
                  <a:lnTo>
                    <a:pt x="19641" y="55441"/>
                  </a:lnTo>
                  <a:lnTo>
                    <a:pt x="3893" y="46810"/>
                  </a:lnTo>
                  <a:lnTo>
                    <a:pt x="13082" y="30243"/>
                  </a:lnTo>
                  <a:lnTo>
                    <a:pt x="7179" y="28076"/>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295" name="Polygon form 259"/>
            <p:cNvSpPr/>
            <p:nvPr/>
          </p:nvSpPr>
          <p:spPr>
            <a:xfrm>
              <a:off x="5955489" y="3667079"/>
              <a:ext cx="104012" cy="106924"/>
            </a:xfrm>
            <a:custGeom>
              <a:avLst/>
              <a:gdLst/>
              <a:ahLst/>
              <a:cxnLst/>
              <a:rect l="0" t="0" r="0" b="0"/>
              <a:pathLst>
                <a:path w="104012" h="106924">
                  <a:moveTo>
                    <a:pt x="31808" y="103483"/>
                  </a:moveTo>
                  <a:lnTo>
                    <a:pt x="22248" y="90172"/>
                  </a:lnTo>
                  <a:lnTo>
                    <a:pt x="8967" y="63704"/>
                  </a:lnTo>
                  <a:lnTo>
                    <a:pt x="0" y="32646"/>
                  </a:lnTo>
                  <a:lnTo>
                    <a:pt x="9183" y="10859"/>
                  </a:lnTo>
                  <a:lnTo>
                    <a:pt x="33470" y="5225"/>
                  </a:lnTo>
                  <a:lnTo>
                    <a:pt x="52239" y="8423"/>
                  </a:lnTo>
                  <a:lnTo>
                    <a:pt x="69863" y="18131"/>
                  </a:lnTo>
                  <a:lnTo>
                    <a:pt x="75737" y="0"/>
                  </a:lnTo>
                  <a:lnTo>
                    <a:pt x="94490" y="9051"/>
                  </a:lnTo>
                  <a:lnTo>
                    <a:pt x="101760" y="26251"/>
                  </a:lnTo>
                  <a:lnTo>
                    <a:pt x="104012" y="57469"/>
                  </a:lnTo>
                  <a:lnTo>
                    <a:pt x="73977" y="78259"/>
                  </a:lnTo>
                  <a:lnTo>
                    <a:pt x="84557" y="93793"/>
                  </a:lnTo>
                  <a:lnTo>
                    <a:pt x="64283" y="96125"/>
                  </a:lnTo>
                  <a:lnTo>
                    <a:pt x="48614" y="106924"/>
                  </a:lnTo>
                  <a:lnTo>
                    <a:pt x="31808" y="103483"/>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296" name="Polygon form 260"/>
            <p:cNvSpPr/>
            <p:nvPr/>
          </p:nvSpPr>
          <p:spPr>
            <a:xfrm>
              <a:off x="6186339" y="3019191"/>
              <a:ext cx="86860" cy="111702"/>
            </a:xfrm>
            <a:custGeom>
              <a:avLst/>
              <a:gdLst/>
              <a:ahLst/>
              <a:cxnLst/>
              <a:rect l="0" t="0" r="0" b="0"/>
              <a:pathLst>
                <a:path w="86860" h="111702">
                  <a:moveTo>
                    <a:pt x="24479" y="0"/>
                  </a:moveTo>
                  <a:lnTo>
                    <a:pt x="56209" y="28854"/>
                  </a:lnTo>
                  <a:lnTo>
                    <a:pt x="69671" y="45140"/>
                  </a:lnTo>
                  <a:lnTo>
                    <a:pt x="85879" y="74882"/>
                  </a:lnTo>
                  <a:lnTo>
                    <a:pt x="86860" y="89715"/>
                  </a:lnTo>
                  <a:lnTo>
                    <a:pt x="73776" y="96122"/>
                  </a:lnTo>
                  <a:lnTo>
                    <a:pt x="65361" y="108104"/>
                  </a:lnTo>
                  <a:lnTo>
                    <a:pt x="50804" y="111702"/>
                  </a:lnTo>
                  <a:lnTo>
                    <a:pt x="41813" y="97795"/>
                  </a:lnTo>
                  <a:lnTo>
                    <a:pt x="35118" y="78150"/>
                  </a:lnTo>
                  <a:lnTo>
                    <a:pt x="13463" y="52044"/>
                  </a:lnTo>
                  <a:lnTo>
                    <a:pt x="23826" y="46532"/>
                  </a:lnTo>
                  <a:lnTo>
                    <a:pt x="219" y="25663"/>
                  </a:lnTo>
                  <a:lnTo>
                    <a:pt x="0" y="23238"/>
                  </a:lnTo>
                  <a:lnTo>
                    <a:pt x="8063" y="23431"/>
                  </a:lnTo>
                  <a:lnTo>
                    <a:pt x="8196" y="11230"/>
                  </a:lnTo>
                  <a:lnTo>
                    <a:pt x="19403" y="8829"/>
                  </a:lnTo>
                  <a:lnTo>
                    <a:pt x="25608" y="6436"/>
                  </a:lnTo>
                  <a:lnTo>
                    <a:pt x="24479" y="0"/>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297" name="Polygon form 261"/>
            <p:cNvSpPr/>
            <p:nvPr/>
          </p:nvSpPr>
          <p:spPr>
            <a:xfrm>
              <a:off x="4309995" y="2999800"/>
              <a:ext cx="29436" cy="34444"/>
            </a:xfrm>
            <a:custGeom>
              <a:avLst/>
              <a:gdLst/>
              <a:ahLst/>
              <a:cxnLst/>
              <a:rect l="0" t="0" r="0" b="0"/>
              <a:pathLst>
                <a:path w="29436" h="34444">
                  <a:moveTo>
                    <a:pt x="13287" y="29488"/>
                  </a:moveTo>
                  <a:lnTo>
                    <a:pt x="12975" y="34444"/>
                  </a:lnTo>
                  <a:lnTo>
                    <a:pt x="10733" y="34272"/>
                  </a:lnTo>
                  <a:lnTo>
                    <a:pt x="8728" y="25531"/>
                  </a:lnTo>
                  <a:lnTo>
                    <a:pt x="4322" y="23112"/>
                  </a:lnTo>
                  <a:lnTo>
                    <a:pt x="0" y="16676"/>
                  </a:lnTo>
                  <a:lnTo>
                    <a:pt x="2739" y="11221"/>
                  </a:lnTo>
                  <a:lnTo>
                    <a:pt x="6729" y="9430"/>
                  </a:lnTo>
                  <a:lnTo>
                    <a:pt x="8348" y="1378"/>
                  </a:lnTo>
                  <a:lnTo>
                    <a:pt x="11325" y="0"/>
                  </a:lnTo>
                  <a:lnTo>
                    <a:pt x="14126" y="3376"/>
                  </a:lnTo>
                  <a:lnTo>
                    <a:pt x="17519" y="4836"/>
                  </a:lnTo>
                  <a:lnTo>
                    <a:pt x="20175" y="8649"/>
                  </a:lnTo>
                  <a:lnTo>
                    <a:pt x="23147" y="9746"/>
                  </a:lnTo>
                  <a:lnTo>
                    <a:pt x="26979" y="14178"/>
                  </a:lnTo>
                  <a:lnTo>
                    <a:pt x="29436" y="14011"/>
                  </a:lnTo>
                  <a:lnTo>
                    <a:pt x="28081" y="19920"/>
                  </a:lnTo>
                  <a:lnTo>
                    <a:pt x="26286" y="22823"/>
                  </a:lnTo>
                  <a:lnTo>
                    <a:pt x="27048" y="24627"/>
                  </a:lnTo>
                  <a:lnTo>
                    <a:pt x="23233" y="25608"/>
                  </a:lnTo>
                  <a:lnTo>
                    <a:pt x="13287" y="29488"/>
                  </a:lnTo>
                  <a:close/>
                </a:path>
              </a:pathLst>
            </a:custGeom>
            <a:solidFill>
              <a:srgbClr val="F7FBFF">
                <a:alpha val="100000"/>
              </a:srgbClr>
            </a:solidFill>
            <a:ln w="5400">
              <a:solidFill>
                <a:srgbClr val="7F7F7F">
                  <a:alpha val="100000"/>
                </a:srgbClr>
              </a:solidFill>
              <a:prstDash val="solid"/>
              <a:round/>
            </a:ln>
          </p:spPr>
          <p:txBody>
            <a:bodyPr/>
            <a:lstStyle/>
            <a:p/>
          </p:txBody>
        </p:sp>
        <p:sp>
          <p:nvSpPr>
            <p:cNvPr id="298" name="Polygon form 262"/>
            <p:cNvSpPr/>
            <p:nvPr/>
          </p:nvSpPr>
          <p:spPr>
            <a:xfrm>
              <a:off x="4829400" y="3311277"/>
              <a:ext cx="36366" cy="37233"/>
            </a:xfrm>
            <a:custGeom>
              <a:avLst/>
              <a:gdLst/>
              <a:ahLst/>
              <a:cxnLst/>
              <a:rect l="0" t="0" r="0" b="0"/>
              <a:pathLst>
                <a:path w="36366" h="37233">
                  <a:moveTo>
                    <a:pt x="22951" y="1749"/>
                  </a:moveTo>
                  <a:lnTo>
                    <a:pt x="28461" y="12430"/>
                  </a:lnTo>
                  <a:lnTo>
                    <a:pt x="27640" y="18035"/>
                  </a:lnTo>
                  <a:lnTo>
                    <a:pt x="36366" y="36313"/>
                  </a:lnTo>
                  <a:lnTo>
                    <a:pt x="23263" y="37233"/>
                  </a:lnTo>
                  <a:lnTo>
                    <a:pt x="16934" y="25708"/>
                  </a:lnTo>
                  <a:lnTo>
                    <a:pt x="0" y="23712"/>
                  </a:lnTo>
                  <a:lnTo>
                    <a:pt x="10184" y="0"/>
                  </a:lnTo>
                  <a:lnTo>
                    <a:pt x="22951" y="1749"/>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299" name="Polygon form 263"/>
            <p:cNvSpPr/>
            <p:nvPr/>
          </p:nvSpPr>
          <p:spPr>
            <a:xfrm>
              <a:off x="4120383" y="2861709"/>
              <a:ext cx="124365" cy="63036"/>
            </a:xfrm>
            <a:custGeom>
              <a:avLst/>
              <a:gdLst/>
              <a:ahLst/>
              <a:cxnLst/>
              <a:rect l="0" t="0" r="0" b="0"/>
              <a:pathLst>
                <a:path w="124365" h="63036">
                  <a:moveTo>
                    <a:pt x="124365" y="21772"/>
                  </a:moveTo>
                  <a:lnTo>
                    <a:pt x="123990" y="31651"/>
                  </a:lnTo>
                  <a:lnTo>
                    <a:pt x="114536" y="31808"/>
                  </a:lnTo>
                  <a:lnTo>
                    <a:pt x="118251" y="37002"/>
                  </a:lnTo>
                  <a:lnTo>
                    <a:pt x="113994" y="52606"/>
                  </a:lnTo>
                  <a:lnTo>
                    <a:pt x="111111" y="56715"/>
                  </a:lnTo>
                  <a:lnTo>
                    <a:pt x="96353" y="57473"/>
                  </a:lnTo>
                  <a:lnTo>
                    <a:pt x="88224" y="63036"/>
                  </a:lnTo>
                  <a:lnTo>
                    <a:pt x="74078" y="61301"/>
                  </a:lnTo>
                  <a:lnTo>
                    <a:pt x="49431" y="55284"/>
                  </a:lnTo>
                  <a:lnTo>
                    <a:pt x="45115" y="46922"/>
                  </a:lnTo>
                  <a:lnTo>
                    <a:pt x="28678" y="51249"/>
                  </a:lnTo>
                  <a:lnTo>
                    <a:pt x="26977" y="55854"/>
                  </a:lnTo>
                  <a:lnTo>
                    <a:pt x="16533" y="52498"/>
                  </a:lnTo>
                  <a:lnTo>
                    <a:pt x="7870" y="51902"/>
                  </a:lnTo>
                  <a:lnTo>
                    <a:pt x="0" y="47560"/>
                  </a:lnTo>
                  <a:lnTo>
                    <a:pt x="2283" y="41636"/>
                  </a:lnTo>
                  <a:lnTo>
                    <a:pt x="1412" y="37358"/>
                  </a:lnTo>
                  <a:lnTo>
                    <a:pt x="6423" y="35994"/>
                  </a:lnTo>
                  <a:lnTo>
                    <a:pt x="15306" y="42635"/>
                  </a:lnTo>
                  <a:lnTo>
                    <a:pt x="17351" y="36250"/>
                  </a:lnTo>
                  <a:lnTo>
                    <a:pt x="32252" y="37166"/>
                  </a:lnTo>
                  <a:lnTo>
                    <a:pt x="44004" y="32741"/>
                  </a:lnTo>
                  <a:lnTo>
                    <a:pt x="52110" y="33413"/>
                  </a:lnTo>
                  <a:lnTo>
                    <a:pt x="57692" y="38307"/>
                  </a:lnTo>
                  <a:lnTo>
                    <a:pt x="58977" y="34192"/>
                  </a:lnTo>
                  <a:lnTo>
                    <a:pt x="55505" y="18490"/>
                  </a:lnTo>
                  <a:lnTo>
                    <a:pt x="61294" y="15371"/>
                  </a:lnTo>
                  <a:lnTo>
                    <a:pt x="66358" y="4189"/>
                  </a:lnTo>
                  <a:lnTo>
                    <a:pt x="79337" y="11834"/>
                  </a:lnTo>
                  <a:lnTo>
                    <a:pt x="87918" y="1865"/>
                  </a:lnTo>
                  <a:lnTo>
                    <a:pt x="93621" y="0"/>
                  </a:lnTo>
                  <a:lnTo>
                    <a:pt x="107174" y="7223"/>
                  </a:lnTo>
                  <a:lnTo>
                    <a:pt x="114886" y="5880"/>
                  </a:lnTo>
                  <a:lnTo>
                    <a:pt x="122987" y="10347"/>
                  </a:lnTo>
                  <a:lnTo>
                    <a:pt x="121930" y="13428"/>
                  </a:lnTo>
                  <a:lnTo>
                    <a:pt x="124365" y="21772"/>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00" name="Polygon form 264"/>
            <p:cNvSpPr/>
            <p:nvPr/>
          </p:nvSpPr>
          <p:spPr>
            <a:xfrm>
              <a:off x="5879445" y="3466556"/>
              <a:ext cx="170535" cy="218654"/>
            </a:xfrm>
            <a:custGeom>
              <a:avLst/>
              <a:gdLst/>
              <a:ahLst/>
              <a:cxnLst/>
              <a:rect l="0" t="0" r="0" b="0"/>
              <a:pathLst>
                <a:path w="170535" h="218654">
                  <a:moveTo>
                    <a:pt x="128284" y="208946"/>
                  </a:moveTo>
                  <a:lnTo>
                    <a:pt x="132681" y="197093"/>
                  </a:lnTo>
                  <a:lnTo>
                    <a:pt x="129787" y="175155"/>
                  </a:lnTo>
                  <a:lnTo>
                    <a:pt x="110089" y="153113"/>
                  </a:lnTo>
                  <a:lnTo>
                    <a:pt x="104030" y="127662"/>
                  </a:lnTo>
                  <a:lnTo>
                    <a:pt x="85242" y="107223"/>
                  </a:lnTo>
                  <a:lnTo>
                    <a:pt x="70384" y="105968"/>
                  </a:lnTo>
                  <a:lnTo>
                    <a:pt x="68320" y="115062"/>
                  </a:lnTo>
                  <a:lnTo>
                    <a:pt x="57226" y="116193"/>
                  </a:lnTo>
                  <a:lnTo>
                    <a:pt x="50583" y="111856"/>
                  </a:lnTo>
                  <a:lnTo>
                    <a:pt x="33316" y="127871"/>
                  </a:lnTo>
                  <a:lnTo>
                    <a:pt x="28382" y="104865"/>
                  </a:lnTo>
                  <a:lnTo>
                    <a:pt x="27527" y="77653"/>
                  </a:lnTo>
                  <a:lnTo>
                    <a:pt x="14371" y="76950"/>
                  </a:lnTo>
                  <a:lnTo>
                    <a:pt x="9977" y="61589"/>
                  </a:lnTo>
                  <a:lnTo>
                    <a:pt x="0" y="53994"/>
                  </a:lnTo>
                  <a:lnTo>
                    <a:pt x="1961" y="44410"/>
                  </a:lnTo>
                  <a:lnTo>
                    <a:pt x="14303" y="27117"/>
                  </a:lnTo>
                  <a:lnTo>
                    <a:pt x="17412" y="33068"/>
                  </a:lnTo>
                  <a:lnTo>
                    <a:pt x="27695" y="33364"/>
                  </a:lnTo>
                  <a:lnTo>
                    <a:pt x="17831" y="4169"/>
                  </a:lnTo>
                  <a:lnTo>
                    <a:pt x="26700" y="0"/>
                  </a:lnTo>
                  <a:lnTo>
                    <a:pt x="42704" y="19783"/>
                  </a:lnTo>
                  <a:lnTo>
                    <a:pt x="56729" y="42767"/>
                  </a:lnTo>
                  <a:lnTo>
                    <a:pt x="80171" y="42025"/>
                  </a:lnTo>
                  <a:lnTo>
                    <a:pt x="92703" y="64190"/>
                  </a:lnTo>
                  <a:lnTo>
                    <a:pt x="82017" y="71412"/>
                  </a:lnTo>
                  <a:lnTo>
                    <a:pt x="78559" y="80878"/>
                  </a:lnTo>
                  <a:lnTo>
                    <a:pt x="104761" y="95445"/>
                  </a:lnTo>
                  <a:lnTo>
                    <a:pt x="126967" y="125396"/>
                  </a:lnTo>
                  <a:lnTo>
                    <a:pt x="143532" y="147781"/>
                  </a:lnTo>
                  <a:lnTo>
                    <a:pt x="161491" y="165331"/>
                  </a:lnTo>
                  <a:lnTo>
                    <a:pt x="169649" y="183507"/>
                  </a:lnTo>
                  <a:lnTo>
                    <a:pt x="170535" y="209574"/>
                  </a:lnTo>
                  <a:lnTo>
                    <a:pt x="151781" y="200523"/>
                  </a:lnTo>
                  <a:lnTo>
                    <a:pt x="145908" y="218654"/>
                  </a:lnTo>
                  <a:lnTo>
                    <a:pt x="128284" y="208946"/>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301" name="Polygon form 265"/>
            <p:cNvSpPr/>
            <p:nvPr/>
          </p:nvSpPr>
          <p:spPr>
            <a:xfrm>
              <a:off x="4604939" y="3204099"/>
              <a:ext cx="23663" cy="37995"/>
            </a:xfrm>
            <a:custGeom>
              <a:avLst/>
              <a:gdLst/>
              <a:ahLst/>
              <a:cxnLst/>
              <a:rect l="0" t="0" r="0" b="0"/>
              <a:pathLst>
                <a:path w="23663" h="37995">
                  <a:moveTo>
                    <a:pt x="12159" y="33239"/>
                  </a:moveTo>
                  <a:lnTo>
                    <a:pt x="7288" y="33648"/>
                  </a:lnTo>
                  <a:lnTo>
                    <a:pt x="6137" y="37930"/>
                  </a:lnTo>
                  <a:lnTo>
                    <a:pt x="0" y="37995"/>
                  </a:lnTo>
                  <a:lnTo>
                    <a:pt x="4014" y="18116"/>
                  </a:lnTo>
                  <a:lnTo>
                    <a:pt x="10832" y="852"/>
                  </a:lnTo>
                  <a:lnTo>
                    <a:pt x="11061" y="0"/>
                  </a:lnTo>
                  <a:lnTo>
                    <a:pt x="19405" y="1079"/>
                  </a:lnTo>
                  <a:lnTo>
                    <a:pt x="23663" y="10536"/>
                  </a:lnTo>
                  <a:lnTo>
                    <a:pt x="14930" y="19871"/>
                  </a:lnTo>
                  <a:lnTo>
                    <a:pt x="12159" y="33239"/>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02" name="Polygon form 266"/>
            <p:cNvSpPr/>
            <p:nvPr/>
          </p:nvSpPr>
          <p:spPr>
            <a:xfrm>
              <a:off x="3735092" y="3839937"/>
              <a:ext cx="76586" cy="101049"/>
            </a:xfrm>
            <a:custGeom>
              <a:avLst/>
              <a:gdLst/>
              <a:ahLst/>
              <a:cxnLst/>
              <a:rect l="0" t="0" r="0" b="0"/>
              <a:pathLst>
                <a:path w="76586" h="101049">
                  <a:moveTo>
                    <a:pt x="73101" y="100839"/>
                  </a:moveTo>
                  <a:lnTo>
                    <a:pt x="67935" y="101049"/>
                  </a:lnTo>
                  <a:lnTo>
                    <a:pt x="47661" y="89532"/>
                  </a:lnTo>
                  <a:lnTo>
                    <a:pt x="29846" y="71146"/>
                  </a:lnTo>
                  <a:lnTo>
                    <a:pt x="13145" y="57922"/>
                  </a:lnTo>
                  <a:lnTo>
                    <a:pt x="0" y="42330"/>
                  </a:lnTo>
                  <a:lnTo>
                    <a:pt x="4765" y="34611"/>
                  </a:lnTo>
                  <a:lnTo>
                    <a:pt x="5868" y="27590"/>
                  </a:lnTo>
                  <a:lnTo>
                    <a:pt x="14852" y="14498"/>
                  </a:lnTo>
                  <a:lnTo>
                    <a:pt x="24102" y="3243"/>
                  </a:lnTo>
                  <a:lnTo>
                    <a:pt x="28303" y="2710"/>
                  </a:lnTo>
                  <a:lnTo>
                    <a:pt x="33460" y="0"/>
                  </a:lnTo>
                  <a:lnTo>
                    <a:pt x="41560" y="14795"/>
                  </a:lnTo>
                  <a:lnTo>
                    <a:pt x="40189" y="24488"/>
                  </a:lnTo>
                  <a:lnTo>
                    <a:pt x="43980" y="29633"/>
                  </a:lnTo>
                  <a:lnTo>
                    <a:pt x="49542" y="29756"/>
                  </a:lnTo>
                  <a:lnTo>
                    <a:pt x="53620" y="20043"/>
                  </a:lnTo>
                  <a:lnTo>
                    <a:pt x="59178" y="20667"/>
                  </a:lnTo>
                  <a:lnTo>
                    <a:pt x="58225" y="27685"/>
                  </a:lnTo>
                  <a:lnTo>
                    <a:pt x="60121" y="39354"/>
                  </a:lnTo>
                  <a:lnTo>
                    <a:pt x="55779" y="50072"/>
                  </a:lnTo>
                  <a:lnTo>
                    <a:pt x="61483" y="56703"/>
                  </a:lnTo>
                  <a:lnTo>
                    <a:pt x="67731" y="58321"/>
                  </a:lnTo>
                  <a:lnTo>
                    <a:pt x="76027" y="68435"/>
                  </a:lnTo>
                  <a:lnTo>
                    <a:pt x="76586" y="77944"/>
                  </a:lnTo>
                  <a:lnTo>
                    <a:pt x="74689" y="80964"/>
                  </a:lnTo>
                  <a:lnTo>
                    <a:pt x="73101" y="100839"/>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303" name="Polygon form 267"/>
            <p:cNvSpPr/>
            <p:nvPr/>
          </p:nvSpPr>
          <p:spPr>
            <a:xfrm>
              <a:off x="4136346" y="3246095"/>
              <a:ext cx="305012" cy="325991"/>
            </a:xfrm>
            <a:custGeom>
              <a:avLst/>
              <a:gdLst/>
              <a:ahLst/>
              <a:cxnLst/>
              <a:rect l="0" t="0" r="0" b="0"/>
              <a:pathLst>
                <a:path w="305012" h="325991">
                  <a:moveTo>
                    <a:pt x="107463" y="247721"/>
                  </a:moveTo>
                  <a:lnTo>
                    <a:pt x="94257" y="256766"/>
                  </a:lnTo>
                  <a:lnTo>
                    <a:pt x="83082" y="243555"/>
                  </a:lnTo>
                  <a:lnTo>
                    <a:pt x="52596" y="233282"/>
                  </a:lnTo>
                  <a:lnTo>
                    <a:pt x="43801" y="218199"/>
                  </a:lnTo>
                  <a:lnTo>
                    <a:pt x="28484" y="207045"/>
                  </a:lnTo>
                  <a:lnTo>
                    <a:pt x="19722" y="211503"/>
                  </a:lnTo>
                  <a:lnTo>
                    <a:pt x="12621" y="198069"/>
                  </a:lnTo>
                  <a:lnTo>
                    <a:pt x="11639" y="187729"/>
                  </a:lnTo>
                  <a:lnTo>
                    <a:pt x="0" y="170179"/>
                  </a:lnTo>
                  <a:lnTo>
                    <a:pt x="7229" y="160065"/>
                  </a:lnTo>
                  <a:lnTo>
                    <a:pt x="5173" y="144896"/>
                  </a:lnTo>
                  <a:lnTo>
                    <a:pt x="7195" y="131676"/>
                  </a:lnTo>
                  <a:lnTo>
                    <a:pt x="5526" y="120678"/>
                  </a:lnTo>
                  <a:lnTo>
                    <a:pt x="8246" y="100974"/>
                  </a:lnTo>
                  <a:lnTo>
                    <a:pt x="6892" y="89763"/>
                  </a:lnTo>
                  <a:lnTo>
                    <a:pt x="220" y="68481"/>
                  </a:lnTo>
                  <a:lnTo>
                    <a:pt x="9111" y="62846"/>
                  </a:lnTo>
                  <a:lnTo>
                    <a:pt x="10385" y="52641"/>
                  </a:lnTo>
                  <a:lnTo>
                    <a:pt x="8086" y="42652"/>
                  </a:lnTo>
                  <a:lnTo>
                    <a:pt x="20463" y="33289"/>
                  </a:lnTo>
                  <a:lnTo>
                    <a:pt x="25865" y="25526"/>
                  </a:lnTo>
                  <a:lnTo>
                    <a:pt x="34587" y="18547"/>
                  </a:lnTo>
                  <a:lnTo>
                    <a:pt x="34888" y="0"/>
                  </a:lnTo>
                  <a:lnTo>
                    <a:pt x="56821" y="8179"/>
                  </a:lnTo>
                  <a:lnTo>
                    <a:pt x="64448" y="6053"/>
                  </a:lnTo>
                  <a:lnTo>
                    <a:pt x="79998" y="9978"/>
                  </a:lnTo>
                  <a:lnTo>
                    <a:pt x="104973" y="20594"/>
                  </a:lnTo>
                  <a:lnTo>
                    <a:pt x="114742" y="41995"/>
                  </a:lnTo>
                  <a:lnTo>
                    <a:pt x="131608" y="46555"/>
                  </a:lnTo>
                  <a:lnTo>
                    <a:pt x="158302" y="56454"/>
                  </a:lnTo>
                  <a:lnTo>
                    <a:pt x="178801" y="68297"/>
                  </a:lnTo>
                  <a:lnTo>
                    <a:pt x="187470" y="61946"/>
                  </a:lnTo>
                  <a:lnTo>
                    <a:pt x="195643" y="50747"/>
                  </a:lnTo>
                  <a:lnTo>
                    <a:pt x="190106" y="32273"/>
                  </a:lnTo>
                  <a:lnTo>
                    <a:pt x="195094" y="20461"/>
                  </a:lnTo>
                  <a:lnTo>
                    <a:pt x="207555" y="9000"/>
                  </a:lnTo>
                  <a:lnTo>
                    <a:pt x="219965" y="5569"/>
                  </a:lnTo>
                  <a:lnTo>
                    <a:pt x="245212" y="10240"/>
                  </a:lnTo>
                  <a:lnTo>
                    <a:pt x="252348" y="20981"/>
                  </a:lnTo>
                  <a:lnTo>
                    <a:pt x="259216" y="21004"/>
                  </a:lnTo>
                  <a:lnTo>
                    <a:pt x="265419" y="25062"/>
                  </a:lnTo>
                  <a:lnTo>
                    <a:pt x="283979" y="27681"/>
                  </a:lnTo>
                  <a:lnTo>
                    <a:pt x="289151" y="35615"/>
                  </a:lnTo>
                  <a:lnTo>
                    <a:pt x="283421" y="47306"/>
                  </a:lnTo>
                  <a:lnTo>
                    <a:pt x="287130" y="57620"/>
                  </a:lnTo>
                  <a:lnTo>
                    <a:pt x="283538" y="72615"/>
                  </a:lnTo>
                  <a:lnTo>
                    <a:pt x="290640" y="92043"/>
                  </a:lnTo>
                  <a:lnTo>
                    <a:pt x="296844" y="178108"/>
                  </a:lnTo>
                  <a:lnTo>
                    <a:pt x="302381" y="267248"/>
                  </a:lnTo>
                  <a:lnTo>
                    <a:pt x="305012" y="315594"/>
                  </a:lnTo>
                  <a:lnTo>
                    <a:pt x="282891" y="315835"/>
                  </a:lnTo>
                  <a:lnTo>
                    <a:pt x="283149" y="325991"/>
                  </a:lnTo>
                  <a:lnTo>
                    <a:pt x="204376" y="280209"/>
                  </a:lnTo>
                  <a:lnTo>
                    <a:pt x="126231" y="234408"/>
                  </a:lnTo>
                  <a:lnTo>
                    <a:pt x="107463" y="247721"/>
                  </a:lnTo>
                  <a:close/>
                </a:path>
              </a:pathLst>
            </a:custGeom>
            <a:solidFill>
              <a:srgbClr val="4292C6">
                <a:alpha val="100000"/>
              </a:srgbClr>
            </a:solidFill>
            <a:ln w="5400">
              <a:solidFill>
                <a:srgbClr val="7F7F7F">
                  <a:alpha val="100000"/>
                </a:srgbClr>
              </a:solidFill>
              <a:prstDash val="solid"/>
              <a:round/>
            </a:ln>
          </p:spPr>
          <p:txBody>
            <a:bodyPr/>
            <a:lstStyle/>
            <a:p/>
          </p:txBody>
        </p:sp>
        <p:sp>
          <p:nvSpPr>
            <p:cNvPr id="304" name="Polygon form 268"/>
            <p:cNvSpPr/>
            <p:nvPr/>
          </p:nvSpPr>
          <p:spPr>
            <a:xfrm>
              <a:off x="5526503" y="3798955"/>
              <a:ext cx="42251" cy="96934"/>
            </a:xfrm>
            <a:custGeom>
              <a:avLst/>
              <a:gdLst/>
              <a:ahLst/>
              <a:cxnLst/>
              <a:rect l="0" t="0" r="0" b="0"/>
              <a:pathLst>
                <a:path w="42251" h="96934">
                  <a:moveTo>
                    <a:pt x="42251" y="57518"/>
                  </a:moveTo>
                  <a:lnTo>
                    <a:pt x="40856" y="83784"/>
                  </a:lnTo>
                  <a:lnTo>
                    <a:pt x="32991" y="91028"/>
                  </a:lnTo>
                  <a:lnTo>
                    <a:pt x="16166" y="96934"/>
                  </a:lnTo>
                  <a:lnTo>
                    <a:pt x="5737" y="77017"/>
                  </a:lnTo>
                  <a:lnTo>
                    <a:pt x="0" y="40916"/>
                  </a:lnTo>
                  <a:lnTo>
                    <a:pt x="5809" y="0"/>
                  </a:lnTo>
                  <a:lnTo>
                    <a:pt x="20479" y="13794"/>
                  </a:lnTo>
                  <a:lnTo>
                    <a:pt x="30952" y="31403"/>
                  </a:lnTo>
                  <a:lnTo>
                    <a:pt x="42251" y="57518"/>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05" name="Polygon form 269"/>
            <p:cNvSpPr/>
            <p:nvPr/>
          </p:nvSpPr>
          <p:spPr>
            <a:xfrm>
              <a:off x="4462981" y="4740553"/>
              <a:ext cx="44640" cy="48189"/>
            </a:xfrm>
            <a:custGeom>
              <a:avLst/>
              <a:gdLst/>
              <a:ahLst/>
              <a:cxnLst/>
              <a:rect l="0" t="0" r="0" b="0"/>
              <a:pathLst>
                <a:path w="44640" h="48189">
                  <a:moveTo>
                    <a:pt x="38821" y="7568"/>
                  </a:moveTo>
                  <a:lnTo>
                    <a:pt x="44640" y="14964"/>
                  </a:lnTo>
                  <a:lnTo>
                    <a:pt x="37854" y="26671"/>
                  </a:lnTo>
                  <a:lnTo>
                    <a:pt x="33969" y="34532"/>
                  </a:lnTo>
                  <a:lnTo>
                    <a:pt x="23269" y="38177"/>
                  </a:lnTo>
                  <a:lnTo>
                    <a:pt x="19155" y="45870"/>
                  </a:lnTo>
                  <a:lnTo>
                    <a:pt x="12301" y="48189"/>
                  </a:lnTo>
                  <a:lnTo>
                    <a:pt x="0" y="29388"/>
                  </a:lnTo>
                  <a:lnTo>
                    <a:pt x="11238" y="14179"/>
                  </a:lnTo>
                  <a:lnTo>
                    <a:pt x="22159" y="4831"/>
                  </a:lnTo>
                  <a:lnTo>
                    <a:pt x="31317" y="0"/>
                  </a:lnTo>
                  <a:lnTo>
                    <a:pt x="38821" y="7568"/>
                  </a:lnTo>
                  <a:close/>
                </a:path>
              </a:pathLst>
            </a:custGeom>
            <a:solidFill>
              <a:srgbClr val="6BAED6">
                <a:alpha val="100000"/>
              </a:srgbClr>
            </a:solidFill>
            <a:ln w="5400">
              <a:solidFill>
                <a:srgbClr val="7F7F7F">
                  <a:alpha val="100000"/>
                </a:srgbClr>
              </a:solidFill>
              <a:prstDash val="solid"/>
              <a:round/>
            </a:ln>
          </p:spPr>
          <p:txBody>
            <a:bodyPr/>
            <a:lstStyle/>
            <a:p/>
          </p:txBody>
        </p:sp>
        <p:sp>
          <p:nvSpPr>
            <p:cNvPr id="306" name="Polygon form 270"/>
            <p:cNvSpPr/>
            <p:nvPr/>
          </p:nvSpPr>
          <p:spPr>
            <a:xfrm>
              <a:off x="4289000" y="2682414"/>
              <a:ext cx="89760" cy="59763"/>
            </a:xfrm>
            <a:custGeom>
              <a:avLst/>
              <a:gdLst/>
              <a:ahLst/>
              <a:cxnLst/>
              <a:rect l="0" t="0" r="0" b="0"/>
              <a:pathLst>
                <a:path w="89760" h="59763">
                  <a:moveTo>
                    <a:pt x="32099" y="49958"/>
                  </a:moveTo>
                  <a:lnTo>
                    <a:pt x="29951" y="43822"/>
                  </a:lnTo>
                  <a:lnTo>
                    <a:pt x="30683" y="37185"/>
                  </a:lnTo>
                  <a:lnTo>
                    <a:pt x="23170" y="33476"/>
                  </a:lnTo>
                  <a:lnTo>
                    <a:pt x="6108" y="29526"/>
                  </a:lnTo>
                  <a:lnTo>
                    <a:pt x="0" y="9299"/>
                  </a:lnTo>
                  <a:lnTo>
                    <a:pt x="16771" y="1599"/>
                  </a:lnTo>
                  <a:lnTo>
                    <a:pt x="43059" y="2676"/>
                  </a:lnTo>
                  <a:lnTo>
                    <a:pt x="57930" y="0"/>
                  </a:lnTo>
                  <a:lnTo>
                    <a:pt x="60931" y="4975"/>
                  </a:lnTo>
                  <a:lnTo>
                    <a:pt x="69464" y="6362"/>
                  </a:lnTo>
                  <a:lnTo>
                    <a:pt x="86438" y="17763"/>
                  </a:lnTo>
                  <a:lnTo>
                    <a:pt x="89760" y="28541"/>
                  </a:lnTo>
                  <a:lnTo>
                    <a:pt x="78160" y="36529"/>
                  </a:lnTo>
                  <a:lnTo>
                    <a:pt x="76705" y="50225"/>
                  </a:lnTo>
                  <a:lnTo>
                    <a:pt x="60896" y="59646"/>
                  </a:lnTo>
                  <a:lnTo>
                    <a:pt x="45501" y="59763"/>
                  </a:lnTo>
                  <a:lnTo>
                    <a:pt x="40601" y="52397"/>
                  </a:lnTo>
                  <a:lnTo>
                    <a:pt x="32099" y="49958"/>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07" name="Polygon form 271"/>
            <p:cNvSpPr/>
            <p:nvPr/>
          </p:nvSpPr>
          <p:spPr>
            <a:xfrm>
              <a:off x="4054304" y="2836590"/>
              <a:ext cx="9110" cy="16546"/>
            </a:xfrm>
            <a:custGeom>
              <a:avLst/>
              <a:gdLst/>
              <a:ahLst/>
              <a:cxnLst/>
              <a:rect l="0" t="0" r="0" b="0"/>
              <a:pathLst>
                <a:path w="9110" h="16546">
                  <a:moveTo>
                    <a:pt x="5624" y="0"/>
                  </a:moveTo>
                  <a:lnTo>
                    <a:pt x="9110" y="5434"/>
                  </a:lnTo>
                  <a:lnTo>
                    <a:pt x="8544" y="16015"/>
                  </a:lnTo>
                  <a:lnTo>
                    <a:pt x="3776" y="16546"/>
                  </a:lnTo>
                  <a:lnTo>
                    <a:pt x="0" y="14466"/>
                  </a:lnTo>
                  <a:lnTo>
                    <a:pt x="1355" y="928"/>
                  </a:lnTo>
                  <a:lnTo>
                    <a:pt x="5624" y="0"/>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08" name="Polygon form 272"/>
            <p:cNvSpPr/>
            <p:nvPr/>
          </p:nvSpPr>
          <p:spPr>
            <a:xfrm>
              <a:off x="4287013" y="2643785"/>
              <a:ext cx="112253" cy="56392"/>
            </a:xfrm>
            <a:custGeom>
              <a:avLst/>
              <a:gdLst/>
              <a:ahLst/>
              <a:cxnLst/>
              <a:rect l="0" t="0" r="0" b="0"/>
              <a:pathLst>
                <a:path w="112253" h="56392">
                  <a:moveTo>
                    <a:pt x="1987" y="47928"/>
                  </a:moveTo>
                  <a:lnTo>
                    <a:pt x="0" y="29759"/>
                  </a:lnTo>
                  <a:lnTo>
                    <a:pt x="5409" y="14483"/>
                  </a:lnTo>
                  <a:lnTo>
                    <a:pt x="18628" y="5993"/>
                  </a:lnTo>
                  <a:lnTo>
                    <a:pt x="33614" y="23794"/>
                  </a:lnTo>
                  <a:lnTo>
                    <a:pt x="45909" y="23093"/>
                  </a:lnTo>
                  <a:lnTo>
                    <a:pt x="45829" y="4518"/>
                  </a:lnTo>
                  <a:lnTo>
                    <a:pt x="58116" y="0"/>
                  </a:lnTo>
                  <a:lnTo>
                    <a:pt x="65318" y="2822"/>
                  </a:lnTo>
                  <a:lnTo>
                    <a:pt x="80072" y="11501"/>
                  </a:lnTo>
                  <a:lnTo>
                    <a:pt x="92720" y="11276"/>
                  </a:lnTo>
                  <a:lnTo>
                    <a:pt x="101145" y="16669"/>
                  </a:lnTo>
                  <a:lnTo>
                    <a:pt x="104637" y="28337"/>
                  </a:lnTo>
                  <a:lnTo>
                    <a:pt x="112253" y="42466"/>
                  </a:lnTo>
                  <a:lnTo>
                    <a:pt x="97214" y="52136"/>
                  </a:lnTo>
                  <a:lnTo>
                    <a:pt x="88425" y="56392"/>
                  </a:lnTo>
                  <a:lnTo>
                    <a:pt x="71451" y="44991"/>
                  </a:lnTo>
                  <a:lnTo>
                    <a:pt x="62918" y="43604"/>
                  </a:lnTo>
                  <a:lnTo>
                    <a:pt x="59917" y="38629"/>
                  </a:lnTo>
                  <a:lnTo>
                    <a:pt x="45046" y="41305"/>
                  </a:lnTo>
                  <a:lnTo>
                    <a:pt x="18758" y="40228"/>
                  </a:lnTo>
                  <a:lnTo>
                    <a:pt x="1987" y="47928"/>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09" name="Polygon form 273"/>
            <p:cNvSpPr/>
            <p:nvPr/>
          </p:nvSpPr>
          <p:spPr>
            <a:xfrm>
              <a:off x="3633942" y="3183253"/>
              <a:ext cx="305619" cy="345181"/>
            </a:xfrm>
            <a:custGeom>
              <a:avLst/>
              <a:gdLst/>
              <a:ahLst/>
              <a:cxnLst/>
              <a:rect l="0" t="0" r="0" b="0"/>
              <a:pathLst>
                <a:path w="305619" h="345181">
                  <a:moveTo>
                    <a:pt x="232139" y="156"/>
                  </a:moveTo>
                  <a:lnTo>
                    <a:pt x="242891" y="10426"/>
                  </a:lnTo>
                  <a:lnTo>
                    <a:pt x="260194" y="8795"/>
                  </a:lnTo>
                  <a:lnTo>
                    <a:pt x="278956" y="14152"/>
                  </a:lnTo>
                  <a:lnTo>
                    <a:pt x="286854" y="14420"/>
                  </a:lnTo>
                  <a:lnTo>
                    <a:pt x="293606" y="29879"/>
                  </a:lnTo>
                  <a:lnTo>
                    <a:pt x="294599" y="44553"/>
                  </a:lnTo>
                  <a:lnTo>
                    <a:pt x="300794" y="70026"/>
                  </a:lnTo>
                  <a:lnTo>
                    <a:pt x="305619" y="75155"/>
                  </a:lnTo>
                  <a:lnTo>
                    <a:pt x="302202" y="84529"/>
                  </a:lnTo>
                  <a:lnTo>
                    <a:pt x="278035" y="88571"/>
                  </a:lnTo>
                  <a:lnTo>
                    <a:pt x="269595" y="97483"/>
                  </a:lnTo>
                  <a:lnTo>
                    <a:pt x="258877" y="99569"/>
                  </a:lnTo>
                  <a:lnTo>
                    <a:pt x="257866" y="117429"/>
                  </a:lnTo>
                  <a:lnTo>
                    <a:pt x="236029" y="126934"/>
                  </a:lnTo>
                  <a:lnTo>
                    <a:pt x="228721" y="138999"/>
                  </a:lnTo>
                  <a:lnTo>
                    <a:pt x="213359" y="145444"/>
                  </a:lnTo>
                  <a:lnTo>
                    <a:pt x="194667" y="149068"/>
                  </a:lnTo>
                  <a:lnTo>
                    <a:pt x="164077" y="166771"/>
                  </a:lnTo>
                  <a:lnTo>
                    <a:pt x="163502" y="195366"/>
                  </a:lnTo>
                  <a:lnTo>
                    <a:pt x="160642" y="195355"/>
                  </a:lnTo>
                  <a:lnTo>
                    <a:pt x="160642" y="195355"/>
                  </a:lnTo>
                  <a:lnTo>
                    <a:pt x="160747" y="208286"/>
                  </a:lnTo>
                  <a:lnTo>
                    <a:pt x="149090" y="209020"/>
                  </a:lnTo>
                  <a:lnTo>
                    <a:pt x="142871" y="214488"/>
                  </a:lnTo>
                  <a:lnTo>
                    <a:pt x="134315" y="214453"/>
                  </a:lnTo>
                  <a:lnTo>
                    <a:pt x="127591" y="211289"/>
                  </a:lnTo>
                  <a:lnTo>
                    <a:pt x="111664" y="213809"/>
                  </a:lnTo>
                  <a:lnTo>
                    <a:pt x="104918" y="232594"/>
                  </a:lnTo>
                  <a:lnTo>
                    <a:pt x="98956" y="234334"/>
                  </a:lnTo>
                  <a:lnTo>
                    <a:pt x="89062" y="264731"/>
                  </a:lnTo>
                  <a:lnTo>
                    <a:pt x="61770" y="290658"/>
                  </a:lnTo>
                  <a:lnTo>
                    <a:pt x="54352" y="323975"/>
                  </a:lnTo>
                  <a:lnTo>
                    <a:pt x="46155" y="334786"/>
                  </a:lnTo>
                  <a:lnTo>
                    <a:pt x="43567" y="343478"/>
                  </a:lnTo>
                  <a:lnTo>
                    <a:pt x="333" y="345181"/>
                  </a:lnTo>
                  <a:lnTo>
                    <a:pt x="0" y="345141"/>
                  </a:lnTo>
                  <a:lnTo>
                    <a:pt x="1331" y="333948"/>
                  </a:lnTo>
                  <a:lnTo>
                    <a:pt x="8934" y="327406"/>
                  </a:lnTo>
                  <a:lnTo>
                    <a:pt x="15669" y="314851"/>
                  </a:lnTo>
                  <a:lnTo>
                    <a:pt x="14754" y="306668"/>
                  </a:lnTo>
                  <a:lnTo>
                    <a:pt x="21976" y="289660"/>
                  </a:lnTo>
                  <a:lnTo>
                    <a:pt x="33166" y="274363"/>
                  </a:lnTo>
                  <a:lnTo>
                    <a:pt x="39712" y="270508"/>
                  </a:lnTo>
                  <a:lnTo>
                    <a:pt x="45279" y="256449"/>
                  </a:lnTo>
                  <a:lnTo>
                    <a:pt x="46232" y="243584"/>
                  </a:lnTo>
                  <a:lnTo>
                    <a:pt x="53647" y="228695"/>
                  </a:lnTo>
                  <a:lnTo>
                    <a:pt x="66559" y="219965"/>
                  </a:lnTo>
                  <a:lnTo>
                    <a:pt x="79431" y="195372"/>
                  </a:lnTo>
                  <a:lnTo>
                    <a:pt x="79789" y="195036"/>
                  </a:lnTo>
                  <a:lnTo>
                    <a:pt x="89575" y="185815"/>
                  </a:lnTo>
                  <a:lnTo>
                    <a:pt x="107111" y="183239"/>
                  </a:lnTo>
                  <a:lnTo>
                    <a:pt x="122424" y="166812"/>
                  </a:lnTo>
                  <a:lnTo>
                    <a:pt x="132004" y="160425"/>
                  </a:lnTo>
                  <a:lnTo>
                    <a:pt x="148200" y="140341"/>
                  </a:lnTo>
                  <a:lnTo>
                    <a:pt x="144497" y="110293"/>
                  </a:lnTo>
                  <a:lnTo>
                    <a:pt x="152190" y="89560"/>
                  </a:lnTo>
                  <a:lnTo>
                    <a:pt x="155070" y="76863"/>
                  </a:lnTo>
                  <a:lnTo>
                    <a:pt x="167405" y="60613"/>
                  </a:lnTo>
                  <a:lnTo>
                    <a:pt x="186120" y="49665"/>
                  </a:lnTo>
                  <a:lnTo>
                    <a:pt x="199952" y="39740"/>
                  </a:lnTo>
                  <a:lnTo>
                    <a:pt x="212744" y="14799"/>
                  </a:lnTo>
                  <a:lnTo>
                    <a:pt x="218794" y="0"/>
                  </a:lnTo>
                  <a:lnTo>
                    <a:pt x="232139" y="156"/>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10" name="Polygon form 274"/>
            <p:cNvSpPr/>
            <p:nvPr/>
          </p:nvSpPr>
          <p:spPr>
            <a:xfrm>
              <a:off x="2308789" y="2798677"/>
              <a:ext cx="168573" cy="149294"/>
            </a:xfrm>
            <a:custGeom>
              <a:avLst/>
              <a:gdLst/>
              <a:ahLst/>
              <a:cxnLst/>
              <a:rect l="0" t="0" r="0" b="0"/>
              <a:pathLst>
                <a:path w="168573" h="149294">
                  <a:moveTo>
                    <a:pt x="166751" y="40244"/>
                  </a:moveTo>
                  <a:lnTo>
                    <a:pt x="168573" y="40293"/>
                  </a:lnTo>
                  <a:lnTo>
                    <a:pt x="167383" y="41550"/>
                  </a:lnTo>
                  <a:lnTo>
                    <a:pt x="164195" y="44906"/>
                  </a:lnTo>
                  <a:lnTo>
                    <a:pt x="160196" y="49119"/>
                  </a:lnTo>
                  <a:lnTo>
                    <a:pt x="156192" y="53333"/>
                  </a:lnTo>
                  <a:lnTo>
                    <a:pt x="152184" y="57562"/>
                  </a:lnTo>
                  <a:lnTo>
                    <a:pt x="149428" y="57219"/>
                  </a:lnTo>
                  <a:lnTo>
                    <a:pt x="146667" y="56890"/>
                  </a:lnTo>
                  <a:lnTo>
                    <a:pt x="143913" y="56546"/>
                  </a:lnTo>
                  <a:lnTo>
                    <a:pt x="141153" y="56216"/>
                  </a:lnTo>
                  <a:lnTo>
                    <a:pt x="136677" y="58343"/>
                  </a:lnTo>
                  <a:lnTo>
                    <a:pt x="132213" y="60458"/>
                  </a:lnTo>
                  <a:lnTo>
                    <a:pt x="127738" y="62572"/>
                  </a:lnTo>
                  <a:lnTo>
                    <a:pt x="123255" y="64699"/>
                  </a:lnTo>
                  <a:lnTo>
                    <a:pt x="120648" y="65751"/>
                  </a:lnTo>
                  <a:lnTo>
                    <a:pt x="118033" y="66801"/>
                  </a:lnTo>
                  <a:lnTo>
                    <a:pt x="115410" y="67864"/>
                  </a:lnTo>
                  <a:lnTo>
                    <a:pt x="112801" y="68915"/>
                  </a:lnTo>
                  <a:lnTo>
                    <a:pt x="111815" y="69302"/>
                  </a:lnTo>
                  <a:lnTo>
                    <a:pt x="106854" y="70359"/>
                  </a:lnTo>
                  <a:lnTo>
                    <a:pt x="100218" y="84162"/>
                  </a:lnTo>
                  <a:lnTo>
                    <a:pt x="99711" y="84099"/>
                  </a:lnTo>
                  <a:lnTo>
                    <a:pt x="94332" y="86530"/>
                  </a:lnTo>
                  <a:lnTo>
                    <a:pt x="89682" y="88637"/>
                  </a:lnTo>
                  <a:lnTo>
                    <a:pt x="85122" y="93002"/>
                  </a:lnTo>
                  <a:lnTo>
                    <a:pt x="86339" y="97862"/>
                  </a:lnTo>
                  <a:lnTo>
                    <a:pt x="82093" y="103965"/>
                  </a:lnTo>
                  <a:lnTo>
                    <a:pt x="78869" y="110642"/>
                  </a:lnTo>
                  <a:lnTo>
                    <a:pt x="75780" y="116034"/>
                  </a:lnTo>
                  <a:lnTo>
                    <a:pt x="78365" y="121111"/>
                  </a:lnTo>
                  <a:lnTo>
                    <a:pt x="80244" y="121471"/>
                  </a:lnTo>
                  <a:lnTo>
                    <a:pt x="83963" y="125355"/>
                  </a:lnTo>
                  <a:lnTo>
                    <a:pt x="85046" y="127156"/>
                  </a:lnTo>
                  <a:lnTo>
                    <a:pt x="84984" y="129886"/>
                  </a:lnTo>
                  <a:lnTo>
                    <a:pt x="87215" y="134418"/>
                  </a:lnTo>
                  <a:lnTo>
                    <a:pt x="91175" y="138458"/>
                  </a:lnTo>
                  <a:lnTo>
                    <a:pt x="90784" y="140533"/>
                  </a:lnTo>
                  <a:lnTo>
                    <a:pt x="88126" y="146480"/>
                  </a:lnTo>
                  <a:lnTo>
                    <a:pt x="87309" y="149294"/>
                  </a:lnTo>
                  <a:lnTo>
                    <a:pt x="65558" y="147346"/>
                  </a:lnTo>
                  <a:lnTo>
                    <a:pt x="41057" y="145814"/>
                  </a:lnTo>
                  <a:lnTo>
                    <a:pt x="18210" y="144540"/>
                  </a:lnTo>
                  <a:lnTo>
                    <a:pt x="0" y="143192"/>
                  </a:lnTo>
                  <a:lnTo>
                    <a:pt x="11439" y="120100"/>
                  </a:lnTo>
                  <a:lnTo>
                    <a:pt x="21220" y="96311"/>
                  </a:lnTo>
                  <a:lnTo>
                    <a:pt x="19319" y="94176"/>
                  </a:lnTo>
                  <a:lnTo>
                    <a:pt x="19635" y="90242"/>
                  </a:lnTo>
                  <a:lnTo>
                    <a:pt x="22223" y="86968"/>
                  </a:lnTo>
                  <a:lnTo>
                    <a:pt x="27287" y="84492"/>
                  </a:lnTo>
                  <a:lnTo>
                    <a:pt x="29408" y="80927"/>
                  </a:lnTo>
                  <a:lnTo>
                    <a:pt x="31716" y="76455"/>
                  </a:lnTo>
                  <a:lnTo>
                    <a:pt x="32632" y="72637"/>
                  </a:lnTo>
                  <a:lnTo>
                    <a:pt x="33335" y="68545"/>
                  </a:lnTo>
                  <a:lnTo>
                    <a:pt x="35164" y="63484"/>
                  </a:lnTo>
                  <a:lnTo>
                    <a:pt x="37912" y="57858"/>
                  </a:lnTo>
                  <a:lnTo>
                    <a:pt x="38071" y="56475"/>
                  </a:lnTo>
                  <a:lnTo>
                    <a:pt x="41232" y="49216"/>
                  </a:lnTo>
                  <a:lnTo>
                    <a:pt x="42923" y="45907"/>
                  </a:lnTo>
                  <a:lnTo>
                    <a:pt x="44178" y="42945"/>
                  </a:lnTo>
                  <a:lnTo>
                    <a:pt x="46051" y="37904"/>
                  </a:lnTo>
                  <a:lnTo>
                    <a:pt x="46831" y="32711"/>
                  </a:lnTo>
                  <a:lnTo>
                    <a:pt x="47419" y="28072"/>
                  </a:lnTo>
                  <a:lnTo>
                    <a:pt x="49573" y="23597"/>
                  </a:lnTo>
                  <a:lnTo>
                    <a:pt x="52007" y="18780"/>
                  </a:lnTo>
                  <a:lnTo>
                    <a:pt x="54270" y="15696"/>
                  </a:lnTo>
                  <a:lnTo>
                    <a:pt x="55956" y="12852"/>
                  </a:lnTo>
                  <a:lnTo>
                    <a:pt x="56425" y="9208"/>
                  </a:lnTo>
                  <a:lnTo>
                    <a:pt x="57533" y="6778"/>
                  </a:lnTo>
                  <a:lnTo>
                    <a:pt x="90369" y="9397"/>
                  </a:lnTo>
                  <a:lnTo>
                    <a:pt x="95557" y="0"/>
                  </a:lnTo>
                  <a:lnTo>
                    <a:pt x="100989" y="290"/>
                  </a:lnTo>
                  <a:lnTo>
                    <a:pt x="96496" y="13948"/>
                  </a:lnTo>
                  <a:lnTo>
                    <a:pt x="99226" y="18475"/>
                  </a:lnTo>
                  <a:lnTo>
                    <a:pt x="109576" y="20828"/>
                  </a:lnTo>
                  <a:lnTo>
                    <a:pt x="123852" y="25955"/>
                  </a:lnTo>
                  <a:lnTo>
                    <a:pt x="135492" y="34700"/>
                  </a:lnTo>
                  <a:lnTo>
                    <a:pt x="150135" y="32460"/>
                  </a:lnTo>
                  <a:lnTo>
                    <a:pt x="166742" y="40243"/>
                  </a:lnTo>
                  <a:lnTo>
                    <a:pt x="166751" y="40244"/>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11" name="Polygon form 275"/>
            <p:cNvSpPr/>
            <p:nvPr/>
          </p:nvSpPr>
          <p:spPr>
            <a:xfrm>
              <a:off x="2041120" y="2778687"/>
              <a:ext cx="216934" cy="119806"/>
            </a:xfrm>
            <a:custGeom>
              <a:avLst/>
              <a:gdLst/>
              <a:ahLst/>
              <a:cxnLst/>
              <a:rect l="0" t="0" r="0" b="0"/>
              <a:pathLst>
                <a:path w="216934" h="119806">
                  <a:moveTo>
                    <a:pt x="38706" y="117273"/>
                  </a:moveTo>
                  <a:lnTo>
                    <a:pt x="39141" y="113641"/>
                  </a:lnTo>
                  <a:lnTo>
                    <a:pt x="37777" y="112797"/>
                  </a:lnTo>
                  <a:lnTo>
                    <a:pt x="32605" y="117527"/>
                  </a:lnTo>
                  <a:lnTo>
                    <a:pt x="28416" y="117995"/>
                  </a:lnTo>
                  <a:lnTo>
                    <a:pt x="20146" y="115608"/>
                  </a:lnTo>
                  <a:lnTo>
                    <a:pt x="18289" y="118020"/>
                  </a:lnTo>
                  <a:lnTo>
                    <a:pt x="13498" y="116626"/>
                  </a:lnTo>
                  <a:lnTo>
                    <a:pt x="8482" y="119806"/>
                  </a:lnTo>
                  <a:lnTo>
                    <a:pt x="9395" y="113069"/>
                  </a:lnTo>
                  <a:lnTo>
                    <a:pt x="9543" y="109262"/>
                  </a:lnTo>
                  <a:lnTo>
                    <a:pt x="6605" y="108351"/>
                  </a:lnTo>
                  <a:lnTo>
                    <a:pt x="6700" y="106441"/>
                  </a:lnTo>
                  <a:lnTo>
                    <a:pt x="9555" y="99840"/>
                  </a:lnTo>
                  <a:lnTo>
                    <a:pt x="8562" y="96468"/>
                  </a:lnTo>
                  <a:lnTo>
                    <a:pt x="11473" y="88441"/>
                  </a:lnTo>
                  <a:lnTo>
                    <a:pt x="11636" y="84842"/>
                  </a:lnTo>
                  <a:lnTo>
                    <a:pt x="10103" y="83973"/>
                  </a:lnTo>
                  <a:lnTo>
                    <a:pt x="6330" y="87315"/>
                  </a:lnTo>
                  <a:lnTo>
                    <a:pt x="1360" y="89974"/>
                  </a:lnTo>
                  <a:lnTo>
                    <a:pt x="0" y="87241"/>
                  </a:lnTo>
                  <a:lnTo>
                    <a:pt x="3745" y="80862"/>
                  </a:lnTo>
                  <a:lnTo>
                    <a:pt x="6595" y="79438"/>
                  </a:lnTo>
                  <a:lnTo>
                    <a:pt x="9200" y="72925"/>
                  </a:lnTo>
                  <a:lnTo>
                    <a:pt x="14813" y="66552"/>
                  </a:lnTo>
                  <a:lnTo>
                    <a:pt x="19993" y="61225"/>
                  </a:lnTo>
                  <a:lnTo>
                    <a:pt x="15363" y="60526"/>
                  </a:lnTo>
                  <a:lnTo>
                    <a:pt x="13546" y="56537"/>
                  </a:lnTo>
                  <a:lnTo>
                    <a:pt x="14018" y="48455"/>
                  </a:lnTo>
                  <a:lnTo>
                    <a:pt x="13853" y="44360"/>
                  </a:lnTo>
                  <a:lnTo>
                    <a:pt x="11733" y="41657"/>
                  </a:lnTo>
                  <a:lnTo>
                    <a:pt x="11377" y="37416"/>
                  </a:lnTo>
                  <a:lnTo>
                    <a:pt x="14284" y="32971"/>
                  </a:lnTo>
                  <a:lnTo>
                    <a:pt x="14468" y="25997"/>
                  </a:lnTo>
                  <a:lnTo>
                    <a:pt x="30520" y="0"/>
                  </a:lnTo>
                  <a:lnTo>
                    <a:pt x="76813" y="4627"/>
                  </a:lnTo>
                  <a:lnTo>
                    <a:pt x="123324" y="9086"/>
                  </a:lnTo>
                  <a:lnTo>
                    <a:pt x="170033" y="13393"/>
                  </a:lnTo>
                  <a:lnTo>
                    <a:pt x="216934" y="17564"/>
                  </a:lnTo>
                  <a:lnTo>
                    <a:pt x="190700" y="62684"/>
                  </a:lnTo>
                  <a:lnTo>
                    <a:pt x="174589" y="92743"/>
                  </a:lnTo>
                  <a:lnTo>
                    <a:pt x="161307" y="115342"/>
                  </a:lnTo>
                  <a:lnTo>
                    <a:pt x="134250" y="112814"/>
                  </a:lnTo>
                  <a:lnTo>
                    <a:pt x="104871" y="110446"/>
                  </a:lnTo>
                  <a:lnTo>
                    <a:pt x="79759" y="107967"/>
                  </a:lnTo>
                  <a:lnTo>
                    <a:pt x="47742" y="105304"/>
                  </a:lnTo>
                  <a:lnTo>
                    <a:pt x="40491" y="117945"/>
                  </a:lnTo>
                  <a:lnTo>
                    <a:pt x="39691" y="118801"/>
                  </a:lnTo>
                  <a:lnTo>
                    <a:pt x="38706" y="117273"/>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12" name="Polygon form 276"/>
            <p:cNvSpPr/>
            <p:nvPr/>
          </p:nvSpPr>
          <p:spPr>
            <a:xfrm>
              <a:off x="1958276" y="3088723"/>
              <a:ext cx="165004" cy="144757"/>
            </a:xfrm>
            <a:custGeom>
              <a:avLst/>
              <a:gdLst/>
              <a:ahLst/>
              <a:cxnLst/>
              <a:rect l="0" t="0" r="0" b="0"/>
              <a:pathLst>
                <a:path w="165004" h="144757">
                  <a:moveTo>
                    <a:pt x="132973" y="86246"/>
                  </a:moveTo>
                  <a:lnTo>
                    <a:pt x="115046" y="133878"/>
                  </a:lnTo>
                  <a:lnTo>
                    <a:pt x="98337" y="132864"/>
                  </a:lnTo>
                  <a:lnTo>
                    <a:pt x="65955" y="130862"/>
                  </a:lnTo>
                  <a:lnTo>
                    <a:pt x="49777" y="129844"/>
                  </a:lnTo>
                  <a:lnTo>
                    <a:pt x="49148" y="132025"/>
                  </a:lnTo>
                  <a:lnTo>
                    <a:pt x="49634" y="136220"/>
                  </a:lnTo>
                  <a:lnTo>
                    <a:pt x="18475" y="134227"/>
                  </a:lnTo>
                  <a:lnTo>
                    <a:pt x="14446" y="144757"/>
                  </a:lnTo>
                  <a:lnTo>
                    <a:pt x="0" y="143840"/>
                  </a:lnTo>
                  <a:lnTo>
                    <a:pt x="59989" y="0"/>
                  </a:lnTo>
                  <a:lnTo>
                    <a:pt x="87158" y="2006"/>
                  </a:lnTo>
                  <a:lnTo>
                    <a:pt x="114592" y="4058"/>
                  </a:lnTo>
                  <a:lnTo>
                    <a:pt x="144160" y="6178"/>
                  </a:lnTo>
                  <a:lnTo>
                    <a:pt x="165004" y="7651"/>
                  </a:lnTo>
                  <a:lnTo>
                    <a:pt x="159731" y="20135"/>
                  </a:lnTo>
                  <a:lnTo>
                    <a:pt x="132973" y="86246"/>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13" name="Polygon form 277"/>
            <p:cNvSpPr/>
            <p:nvPr/>
          </p:nvSpPr>
          <p:spPr>
            <a:xfrm>
              <a:off x="1829294" y="2832831"/>
              <a:ext cx="182283" cy="118552"/>
            </a:xfrm>
            <a:custGeom>
              <a:avLst/>
              <a:gdLst/>
              <a:ahLst/>
              <a:cxnLst/>
              <a:rect l="0" t="0" r="0" b="0"/>
              <a:pathLst>
                <a:path w="182283" h="118552">
                  <a:moveTo>
                    <a:pt x="118181" y="118485"/>
                  </a:moveTo>
                  <a:lnTo>
                    <a:pt x="118142" y="118552"/>
                  </a:lnTo>
                  <a:lnTo>
                    <a:pt x="69081" y="114064"/>
                  </a:lnTo>
                  <a:lnTo>
                    <a:pt x="0" y="107077"/>
                  </a:lnTo>
                  <a:lnTo>
                    <a:pt x="6732" y="87203"/>
                  </a:lnTo>
                  <a:lnTo>
                    <a:pt x="28020" y="64145"/>
                  </a:lnTo>
                  <a:lnTo>
                    <a:pt x="61586" y="19106"/>
                  </a:lnTo>
                  <a:lnTo>
                    <a:pt x="72798" y="0"/>
                  </a:lnTo>
                  <a:lnTo>
                    <a:pt x="76265" y="404"/>
                  </a:lnTo>
                  <a:lnTo>
                    <a:pt x="80980" y="1043"/>
                  </a:lnTo>
                  <a:lnTo>
                    <a:pt x="83264" y="3720"/>
                  </a:lnTo>
                  <a:lnTo>
                    <a:pt x="86877" y="5633"/>
                  </a:lnTo>
                  <a:lnTo>
                    <a:pt x="86615" y="10703"/>
                  </a:lnTo>
                  <a:lnTo>
                    <a:pt x="84246" y="14928"/>
                  </a:lnTo>
                  <a:lnTo>
                    <a:pt x="83098" y="18549"/>
                  </a:lnTo>
                  <a:lnTo>
                    <a:pt x="86133" y="19886"/>
                  </a:lnTo>
                  <a:lnTo>
                    <a:pt x="90077" y="20217"/>
                  </a:lnTo>
                  <a:lnTo>
                    <a:pt x="97944" y="18222"/>
                  </a:lnTo>
                  <a:lnTo>
                    <a:pt x="102062" y="17807"/>
                  </a:lnTo>
                  <a:lnTo>
                    <a:pt x="107024" y="19466"/>
                  </a:lnTo>
                  <a:lnTo>
                    <a:pt x="108665" y="21030"/>
                  </a:lnTo>
                  <a:lnTo>
                    <a:pt x="112567" y="20492"/>
                  </a:lnTo>
                  <a:lnTo>
                    <a:pt x="117492" y="18849"/>
                  </a:lnTo>
                  <a:lnTo>
                    <a:pt x="124442" y="19917"/>
                  </a:lnTo>
                  <a:lnTo>
                    <a:pt x="132108" y="17780"/>
                  </a:lnTo>
                  <a:lnTo>
                    <a:pt x="136521" y="16070"/>
                  </a:lnTo>
                  <a:lnTo>
                    <a:pt x="139860" y="17575"/>
                  </a:lnTo>
                  <a:lnTo>
                    <a:pt x="147229" y="15562"/>
                  </a:lnTo>
                  <a:lnTo>
                    <a:pt x="180131" y="18666"/>
                  </a:lnTo>
                  <a:lnTo>
                    <a:pt x="180870" y="23825"/>
                  </a:lnTo>
                  <a:lnTo>
                    <a:pt x="182283" y="26100"/>
                  </a:lnTo>
                  <a:lnTo>
                    <a:pt x="180777" y="29961"/>
                  </a:lnTo>
                  <a:lnTo>
                    <a:pt x="177143" y="33042"/>
                  </a:lnTo>
                  <a:lnTo>
                    <a:pt x="171008" y="39248"/>
                  </a:lnTo>
                  <a:lnTo>
                    <a:pt x="163753" y="47069"/>
                  </a:lnTo>
                  <a:lnTo>
                    <a:pt x="157257" y="51669"/>
                  </a:lnTo>
                  <a:lnTo>
                    <a:pt x="151524" y="57115"/>
                  </a:lnTo>
                  <a:lnTo>
                    <a:pt x="149063" y="61104"/>
                  </a:lnTo>
                  <a:lnTo>
                    <a:pt x="151061" y="63087"/>
                  </a:lnTo>
                  <a:lnTo>
                    <a:pt x="150409" y="66466"/>
                  </a:lnTo>
                  <a:lnTo>
                    <a:pt x="144728" y="73436"/>
                  </a:lnTo>
                  <a:lnTo>
                    <a:pt x="118181" y="118485"/>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14" name="Polygon form 278"/>
            <p:cNvSpPr/>
            <p:nvPr/>
          </p:nvSpPr>
          <p:spPr>
            <a:xfrm>
              <a:off x="1931907" y="2955976"/>
              <a:ext cx="134969" cy="132748"/>
            </a:xfrm>
            <a:custGeom>
              <a:avLst/>
              <a:gdLst/>
              <a:ahLst/>
              <a:cxnLst/>
              <a:rect l="0" t="0" r="0" b="0"/>
              <a:pathLst>
                <a:path w="134969" h="132748">
                  <a:moveTo>
                    <a:pt x="134969" y="31944"/>
                  </a:moveTo>
                  <a:lnTo>
                    <a:pt x="86359" y="132748"/>
                  </a:lnTo>
                  <a:lnTo>
                    <a:pt x="61292" y="130665"/>
                  </a:lnTo>
                  <a:lnTo>
                    <a:pt x="28060" y="128051"/>
                  </a:lnTo>
                  <a:lnTo>
                    <a:pt x="0" y="126242"/>
                  </a:lnTo>
                  <a:lnTo>
                    <a:pt x="65027" y="0"/>
                  </a:lnTo>
                  <a:lnTo>
                    <a:pt x="114707" y="4103"/>
                  </a:lnTo>
                  <a:lnTo>
                    <a:pt x="101694" y="28515"/>
                  </a:lnTo>
                  <a:lnTo>
                    <a:pt x="134969" y="31944"/>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15" name="Polygon form 279"/>
            <p:cNvSpPr/>
            <p:nvPr/>
          </p:nvSpPr>
          <p:spPr>
            <a:xfrm>
              <a:off x="2033601" y="2883991"/>
              <a:ext cx="168825" cy="110535"/>
            </a:xfrm>
            <a:custGeom>
              <a:avLst/>
              <a:gdLst/>
              <a:ahLst/>
              <a:cxnLst/>
              <a:rect l="0" t="0" r="0" b="0"/>
              <a:pathLst>
                <a:path w="168825" h="110535">
                  <a:moveTo>
                    <a:pt x="48010" y="12640"/>
                  </a:moveTo>
                  <a:lnTo>
                    <a:pt x="55261" y="0"/>
                  </a:lnTo>
                  <a:lnTo>
                    <a:pt x="87278" y="2663"/>
                  </a:lnTo>
                  <a:lnTo>
                    <a:pt x="112389" y="5142"/>
                  </a:lnTo>
                  <a:lnTo>
                    <a:pt x="141769" y="7509"/>
                  </a:lnTo>
                  <a:lnTo>
                    <a:pt x="168825" y="10038"/>
                  </a:lnTo>
                  <a:lnTo>
                    <a:pt x="142482" y="60741"/>
                  </a:lnTo>
                  <a:lnTo>
                    <a:pt x="117718" y="110535"/>
                  </a:lnTo>
                  <a:lnTo>
                    <a:pt x="100793" y="109248"/>
                  </a:lnTo>
                  <a:lnTo>
                    <a:pt x="67002" y="106628"/>
                  </a:lnTo>
                  <a:lnTo>
                    <a:pt x="50142" y="105280"/>
                  </a:lnTo>
                  <a:lnTo>
                    <a:pt x="33275" y="103928"/>
                  </a:lnTo>
                  <a:lnTo>
                    <a:pt x="0" y="100500"/>
                  </a:lnTo>
                  <a:lnTo>
                    <a:pt x="13013" y="76087"/>
                  </a:lnTo>
                  <a:lnTo>
                    <a:pt x="47529" y="13996"/>
                  </a:lnTo>
                  <a:lnTo>
                    <a:pt x="47209" y="13497"/>
                  </a:lnTo>
                  <a:lnTo>
                    <a:pt x="48010" y="12640"/>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16" name="Polygon form 280"/>
            <p:cNvSpPr/>
            <p:nvPr/>
          </p:nvSpPr>
          <p:spPr>
            <a:xfrm>
              <a:off x="2241175" y="3117264"/>
              <a:ext cx="106959" cy="91905"/>
            </a:xfrm>
            <a:custGeom>
              <a:avLst/>
              <a:gdLst/>
              <a:ahLst/>
              <a:cxnLst/>
              <a:rect l="0" t="0" r="0" b="0"/>
              <a:pathLst>
                <a:path w="106959" h="91905">
                  <a:moveTo>
                    <a:pt x="106959" y="18028"/>
                  </a:moveTo>
                  <a:lnTo>
                    <a:pt x="106032" y="20089"/>
                  </a:lnTo>
                  <a:lnTo>
                    <a:pt x="102981" y="23501"/>
                  </a:lnTo>
                  <a:lnTo>
                    <a:pt x="99011" y="25757"/>
                  </a:lnTo>
                  <a:lnTo>
                    <a:pt x="96861" y="29854"/>
                  </a:lnTo>
                  <a:lnTo>
                    <a:pt x="92894" y="32974"/>
                  </a:lnTo>
                  <a:lnTo>
                    <a:pt x="90558" y="40254"/>
                  </a:lnTo>
                  <a:lnTo>
                    <a:pt x="87710" y="42468"/>
                  </a:lnTo>
                  <a:lnTo>
                    <a:pt x="86680" y="44433"/>
                  </a:lnTo>
                  <a:lnTo>
                    <a:pt x="82852" y="46123"/>
                  </a:lnTo>
                  <a:lnTo>
                    <a:pt x="81528" y="49743"/>
                  </a:lnTo>
                  <a:lnTo>
                    <a:pt x="76826" y="56306"/>
                  </a:lnTo>
                  <a:lnTo>
                    <a:pt x="74278" y="57611"/>
                  </a:lnTo>
                  <a:lnTo>
                    <a:pt x="69949" y="60840"/>
                  </a:lnTo>
                  <a:lnTo>
                    <a:pt x="66288" y="65901"/>
                  </a:lnTo>
                  <a:lnTo>
                    <a:pt x="59404" y="74419"/>
                  </a:lnTo>
                  <a:lnTo>
                    <a:pt x="56994" y="80334"/>
                  </a:lnTo>
                  <a:lnTo>
                    <a:pt x="56871" y="87019"/>
                  </a:lnTo>
                  <a:lnTo>
                    <a:pt x="54369" y="91905"/>
                  </a:lnTo>
                  <a:lnTo>
                    <a:pt x="39432" y="90249"/>
                  </a:lnTo>
                  <a:lnTo>
                    <a:pt x="19480" y="90029"/>
                  </a:lnTo>
                  <a:lnTo>
                    <a:pt x="2118" y="89042"/>
                  </a:lnTo>
                  <a:lnTo>
                    <a:pt x="8072" y="74841"/>
                  </a:lnTo>
                  <a:lnTo>
                    <a:pt x="3959" y="74517"/>
                  </a:lnTo>
                  <a:lnTo>
                    <a:pt x="362" y="74655"/>
                  </a:lnTo>
                  <a:lnTo>
                    <a:pt x="0" y="72955"/>
                  </a:lnTo>
                  <a:lnTo>
                    <a:pt x="8316" y="51032"/>
                  </a:lnTo>
                  <a:lnTo>
                    <a:pt x="17619" y="26676"/>
                  </a:lnTo>
                  <a:lnTo>
                    <a:pt x="24129" y="0"/>
                  </a:lnTo>
                  <a:lnTo>
                    <a:pt x="45391" y="1644"/>
                  </a:lnTo>
                  <a:lnTo>
                    <a:pt x="64834" y="2862"/>
                  </a:lnTo>
                  <a:lnTo>
                    <a:pt x="83434" y="3958"/>
                  </a:lnTo>
                  <a:lnTo>
                    <a:pt x="102967" y="6641"/>
                  </a:lnTo>
                  <a:lnTo>
                    <a:pt x="103312" y="9812"/>
                  </a:lnTo>
                  <a:lnTo>
                    <a:pt x="100350" y="12379"/>
                  </a:lnTo>
                  <a:lnTo>
                    <a:pt x="97392" y="14960"/>
                  </a:lnTo>
                  <a:lnTo>
                    <a:pt x="95411" y="17380"/>
                  </a:lnTo>
                  <a:lnTo>
                    <a:pt x="106959" y="18028"/>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17" name="Polygon form 281"/>
            <p:cNvSpPr/>
            <p:nvPr/>
          </p:nvSpPr>
          <p:spPr>
            <a:xfrm>
              <a:off x="2286601" y="2941722"/>
              <a:ext cx="112341" cy="83598"/>
            </a:xfrm>
            <a:custGeom>
              <a:avLst/>
              <a:gdLst/>
              <a:ahLst/>
              <a:cxnLst/>
              <a:rect l="0" t="0" r="0" b="0"/>
              <a:pathLst>
                <a:path w="112341" h="83598">
                  <a:moveTo>
                    <a:pt x="112341" y="41985"/>
                  </a:moveTo>
                  <a:lnTo>
                    <a:pt x="108588" y="48579"/>
                  </a:lnTo>
                  <a:lnTo>
                    <a:pt x="103053" y="53984"/>
                  </a:lnTo>
                  <a:lnTo>
                    <a:pt x="101162" y="55694"/>
                  </a:lnTo>
                  <a:lnTo>
                    <a:pt x="96664" y="56873"/>
                  </a:lnTo>
                  <a:lnTo>
                    <a:pt x="90297" y="57717"/>
                  </a:lnTo>
                  <a:lnTo>
                    <a:pt x="86962" y="61881"/>
                  </a:lnTo>
                  <a:lnTo>
                    <a:pt x="88267" y="63945"/>
                  </a:lnTo>
                  <a:lnTo>
                    <a:pt x="87369" y="67835"/>
                  </a:lnTo>
                  <a:lnTo>
                    <a:pt x="83333" y="71983"/>
                  </a:lnTo>
                  <a:lnTo>
                    <a:pt x="80616" y="75678"/>
                  </a:lnTo>
                  <a:lnTo>
                    <a:pt x="74688" y="79089"/>
                  </a:lnTo>
                  <a:lnTo>
                    <a:pt x="72457" y="83598"/>
                  </a:lnTo>
                  <a:lnTo>
                    <a:pt x="70969" y="81373"/>
                  </a:lnTo>
                  <a:lnTo>
                    <a:pt x="69377" y="77146"/>
                  </a:lnTo>
                  <a:lnTo>
                    <a:pt x="50433" y="76479"/>
                  </a:lnTo>
                  <a:lnTo>
                    <a:pt x="30674" y="75376"/>
                  </a:lnTo>
                  <a:lnTo>
                    <a:pt x="15334" y="74398"/>
                  </a:lnTo>
                  <a:lnTo>
                    <a:pt x="0" y="73355"/>
                  </a:lnTo>
                  <a:lnTo>
                    <a:pt x="864" y="68776"/>
                  </a:lnTo>
                  <a:lnTo>
                    <a:pt x="3312" y="64360"/>
                  </a:lnTo>
                  <a:lnTo>
                    <a:pt x="4852" y="60046"/>
                  </a:lnTo>
                  <a:lnTo>
                    <a:pt x="6320" y="52758"/>
                  </a:lnTo>
                  <a:lnTo>
                    <a:pt x="6531" y="49708"/>
                  </a:lnTo>
                  <a:lnTo>
                    <a:pt x="5674" y="48822"/>
                  </a:lnTo>
                  <a:lnTo>
                    <a:pt x="8158" y="43069"/>
                  </a:lnTo>
                  <a:lnTo>
                    <a:pt x="8974" y="38882"/>
                  </a:lnTo>
                  <a:lnTo>
                    <a:pt x="8062" y="33990"/>
                  </a:lnTo>
                  <a:lnTo>
                    <a:pt x="9044" y="31944"/>
                  </a:lnTo>
                  <a:lnTo>
                    <a:pt x="9876" y="27771"/>
                  </a:lnTo>
                  <a:lnTo>
                    <a:pt x="10269" y="25249"/>
                  </a:lnTo>
                  <a:lnTo>
                    <a:pt x="11356" y="22980"/>
                  </a:lnTo>
                  <a:lnTo>
                    <a:pt x="9929" y="20030"/>
                  </a:lnTo>
                  <a:lnTo>
                    <a:pt x="13194" y="16058"/>
                  </a:lnTo>
                  <a:lnTo>
                    <a:pt x="15940" y="12146"/>
                  </a:lnTo>
                  <a:lnTo>
                    <a:pt x="17614" y="9485"/>
                  </a:lnTo>
                  <a:lnTo>
                    <a:pt x="17048" y="6041"/>
                  </a:lnTo>
                  <a:lnTo>
                    <a:pt x="19958" y="0"/>
                  </a:lnTo>
                  <a:lnTo>
                    <a:pt x="22188" y="147"/>
                  </a:lnTo>
                  <a:lnTo>
                    <a:pt x="40397" y="1495"/>
                  </a:lnTo>
                  <a:lnTo>
                    <a:pt x="63245" y="2769"/>
                  </a:lnTo>
                  <a:lnTo>
                    <a:pt x="87745" y="4302"/>
                  </a:lnTo>
                  <a:lnTo>
                    <a:pt x="109497" y="6249"/>
                  </a:lnTo>
                  <a:lnTo>
                    <a:pt x="109129" y="7611"/>
                  </a:lnTo>
                  <a:lnTo>
                    <a:pt x="109549" y="11679"/>
                  </a:lnTo>
                  <a:lnTo>
                    <a:pt x="107210" y="13449"/>
                  </a:lnTo>
                  <a:lnTo>
                    <a:pt x="104945" y="18645"/>
                  </a:lnTo>
                  <a:lnTo>
                    <a:pt x="104648" y="20900"/>
                  </a:lnTo>
                  <a:lnTo>
                    <a:pt x="103997" y="24897"/>
                  </a:lnTo>
                  <a:lnTo>
                    <a:pt x="108460" y="27629"/>
                  </a:lnTo>
                  <a:lnTo>
                    <a:pt x="108448" y="31518"/>
                  </a:lnTo>
                  <a:lnTo>
                    <a:pt x="108611" y="33467"/>
                  </a:lnTo>
                  <a:lnTo>
                    <a:pt x="110060" y="34853"/>
                  </a:lnTo>
                  <a:lnTo>
                    <a:pt x="109708" y="37576"/>
                  </a:lnTo>
                  <a:lnTo>
                    <a:pt x="111511" y="39738"/>
                  </a:lnTo>
                  <a:lnTo>
                    <a:pt x="112341" y="41985"/>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18" name="Polygon form 282"/>
            <p:cNvSpPr/>
            <p:nvPr/>
          </p:nvSpPr>
          <p:spPr>
            <a:xfrm>
              <a:off x="2140022" y="3022135"/>
              <a:ext cx="153301" cy="83648"/>
            </a:xfrm>
            <a:custGeom>
              <a:avLst/>
              <a:gdLst/>
              <a:ahLst/>
              <a:cxnLst/>
              <a:rect l="0" t="0" r="0" b="0"/>
              <a:pathLst>
                <a:path w="153301" h="83648">
                  <a:moveTo>
                    <a:pt x="151676" y="30254"/>
                  </a:moveTo>
                  <a:lnTo>
                    <a:pt x="140558" y="56954"/>
                  </a:lnTo>
                  <a:lnTo>
                    <a:pt x="129836" y="83648"/>
                  </a:lnTo>
                  <a:lnTo>
                    <a:pt x="114445" y="82726"/>
                  </a:lnTo>
                  <a:lnTo>
                    <a:pt x="82909" y="80783"/>
                  </a:lnTo>
                  <a:lnTo>
                    <a:pt x="51395" y="78806"/>
                  </a:lnTo>
                  <a:lnTo>
                    <a:pt x="33906" y="77684"/>
                  </a:lnTo>
                  <a:lnTo>
                    <a:pt x="16439" y="76548"/>
                  </a:lnTo>
                  <a:lnTo>
                    <a:pt x="0" y="75466"/>
                  </a:lnTo>
                  <a:lnTo>
                    <a:pt x="15978" y="38605"/>
                  </a:lnTo>
                  <a:lnTo>
                    <a:pt x="33271" y="0"/>
                  </a:lnTo>
                  <a:lnTo>
                    <a:pt x="33307" y="3"/>
                  </a:lnTo>
                  <a:lnTo>
                    <a:pt x="63152" y="2148"/>
                  </a:lnTo>
                  <a:lnTo>
                    <a:pt x="85381" y="3713"/>
                  </a:lnTo>
                  <a:lnTo>
                    <a:pt x="124774" y="6405"/>
                  </a:lnTo>
                  <a:lnTo>
                    <a:pt x="148385" y="7986"/>
                  </a:lnTo>
                  <a:lnTo>
                    <a:pt x="151042" y="11576"/>
                  </a:lnTo>
                  <a:lnTo>
                    <a:pt x="153301" y="11670"/>
                  </a:lnTo>
                  <a:lnTo>
                    <a:pt x="152256" y="15313"/>
                  </a:lnTo>
                  <a:lnTo>
                    <a:pt x="147879" y="19768"/>
                  </a:lnTo>
                  <a:lnTo>
                    <a:pt x="148190" y="22226"/>
                  </a:lnTo>
                  <a:lnTo>
                    <a:pt x="148119" y="27600"/>
                  </a:lnTo>
                  <a:lnTo>
                    <a:pt x="151676" y="30254"/>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19" name="Polygon form 283"/>
            <p:cNvSpPr/>
            <p:nvPr/>
          </p:nvSpPr>
          <p:spPr>
            <a:xfrm>
              <a:off x="2265304" y="3015076"/>
              <a:ext cx="101085" cy="120215"/>
            </a:xfrm>
            <a:custGeom>
              <a:avLst/>
              <a:gdLst/>
              <a:ahLst/>
              <a:cxnLst/>
              <a:rect l="0" t="0" r="0" b="0"/>
              <a:pathLst>
                <a:path w="101085" h="120215">
                  <a:moveTo>
                    <a:pt x="4648" y="90712"/>
                  </a:moveTo>
                  <a:lnTo>
                    <a:pt x="4555" y="90707"/>
                  </a:lnTo>
                  <a:lnTo>
                    <a:pt x="15276" y="64012"/>
                  </a:lnTo>
                  <a:lnTo>
                    <a:pt x="26395" y="37312"/>
                  </a:lnTo>
                  <a:lnTo>
                    <a:pt x="22838" y="34658"/>
                  </a:lnTo>
                  <a:lnTo>
                    <a:pt x="22909" y="29284"/>
                  </a:lnTo>
                  <a:lnTo>
                    <a:pt x="22598" y="26826"/>
                  </a:lnTo>
                  <a:lnTo>
                    <a:pt x="26974" y="22371"/>
                  </a:lnTo>
                  <a:lnTo>
                    <a:pt x="28019" y="18729"/>
                  </a:lnTo>
                  <a:lnTo>
                    <a:pt x="25760" y="18634"/>
                  </a:lnTo>
                  <a:lnTo>
                    <a:pt x="23104" y="15044"/>
                  </a:lnTo>
                  <a:lnTo>
                    <a:pt x="23177" y="9574"/>
                  </a:lnTo>
                  <a:lnTo>
                    <a:pt x="21897" y="6209"/>
                  </a:lnTo>
                  <a:lnTo>
                    <a:pt x="20740" y="2077"/>
                  </a:lnTo>
                  <a:lnTo>
                    <a:pt x="21297" y="0"/>
                  </a:lnTo>
                  <a:lnTo>
                    <a:pt x="36631" y="1043"/>
                  </a:lnTo>
                  <a:lnTo>
                    <a:pt x="51971" y="2021"/>
                  </a:lnTo>
                  <a:lnTo>
                    <a:pt x="71730" y="3124"/>
                  </a:lnTo>
                  <a:lnTo>
                    <a:pt x="90674" y="3791"/>
                  </a:lnTo>
                  <a:lnTo>
                    <a:pt x="92266" y="8018"/>
                  </a:lnTo>
                  <a:lnTo>
                    <a:pt x="93754" y="10243"/>
                  </a:lnTo>
                  <a:lnTo>
                    <a:pt x="89699" y="16324"/>
                  </a:lnTo>
                  <a:lnTo>
                    <a:pt x="88188" y="23847"/>
                  </a:lnTo>
                  <a:lnTo>
                    <a:pt x="88961" y="29139"/>
                  </a:lnTo>
                  <a:lnTo>
                    <a:pt x="90554" y="33565"/>
                  </a:lnTo>
                  <a:lnTo>
                    <a:pt x="93194" y="37150"/>
                  </a:lnTo>
                  <a:lnTo>
                    <a:pt x="94336" y="38378"/>
                  </a:lnTo>
                  <a:lnTo>
                    <a:pt x="93900" y="43202"/>
                  </a:lnTo>
                  <a:lnTo>
                    <a:pt x="92531" y="47376"/>
                  </a:lnTo>
                  <a:lnTo>
                    <a:pt x="94105" y="48535"/>
                  </a:lnTo>
                  <a:lnTo>
                    <a:pt x="98016" y="47128"/>
                  </a:lnTo>
                  <a:lnTo>
                    <a:pt x="99756" y="51327"/>
                  </a:lnTo>
                  <a:lnTo>
                    <a:pt x="96982" y="55859"/>
                  </a:lnTo>
                  <a:lnTo>
                    <a:pt x="93966" y="59382"/>
                  </a:lnTo>
                  <a:lnTo>
                    <a:pt x="91151" y="63686"/>
                  </a:lnTo>
                  <a:lnTo>
                    <a:pt x="92186" y="67572"/>
                  </a:lnTo>
                  <a:lnTo>
                    <a:pt x="94299" y="71292"/>
                  </a:lnTo>
                  <a:lnTo>
                    <a:pt x="96242" y="71501"/>
                  </a:lnTo>
                  <a:lnTo>
                    <a:pt x="98754" y="77233"/>
                  </a:lnTo>
                  <a:lnTo>
                    <a:pt x="100246" y="78073"/>
                  </a:lnTo>
                  <a:lnTo>
                    <a:pt x="99300" y="84167"/>
                  </a:lnTo>
                  <a:lnTo>
                    <a:pt x="97257" y="87872"/>
                  </a:lnTo>
                  <a:lnTo>
                    <a:pt x="97246" y="94114"/>
                  </a:lnTo>
                  <a:lnTo>
                    <a:pt x="99382" y="93576"/>
                  </a:lnTo>
                  <a:lnTo>
                    <a:pt x="101085" y="97614"/>
                  </a:lnTo>
                  <a:lnTo>
                    <a:pt x="99622" y="100087"/>
                  </a:lnTo>
                  <a:lnTo>
                    <a:pt x="98534" y="104020"/>
                  </a:lnTo>
                  <a:lnTo>
                    <a:pt x="94984" y="105932"/>
                  </a:lnTo>
                  <a:lnTo>
                    <a:pt x="90074" y="108334"/>
                  </a:lnTo>
                  <a:lnTo>
                    <a:pt x="88743" y="110721"/>
                  </a:lnTo>
                  <a:lnTo>
                    <a:pt x="86389" y="114209"/>
                  </a:lnTo>
                  <a:lnTo>
                    <a:pt x="82830" y="120215"/>
                  </a:lnTo>
                  <a:lnTo>
                    <a:pt x="71282" y="119567"/>
                  </a:lnTo>
                  <a:lnTo>
                    <a:pt x="73263" y="117147"/>
                  </a:lnTo>
                  <a:lnTo>
                    <a:pt x="76221" y="114566"/>
                  </a:lnTo>
                  <a:lnTo>
                    <a:pt x="79183" y="111999"/>
                  </a:lnTo>
                  <a:lnTo>
                    <a:pt x="78838" y="108828"/>
                  </a:lnTo>
                  <a:lnTo>
                    <a:pt x="59305" y="106145"/>
                  </a:lnTo>
                  <a:lnTo>
                    <a:pt x="40705" y="105049"/>
                  </a:lnTo>
                  <a:lnTo>
                    <a:pt x="21262" y="103831"/>
                  </a:lnTo>
                  <a:lnTo>
                    <a:pt x="0" y="102187"/>
                  </a:lnTo>
                  <a:lnTo>
                    <a:pt x="4648" y="90712"/>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20" name="Polygon form 284"/>
            <p:cNvSpPr/>
            <p:nvPr/>
          </p:nvSpPr>
          <p:spPr>
            <a:xfrm>
              <a:off x="2151319" y="2944733"/>
              <a:ext cx="145551" cy="85388"/>
            </a:xfrm>
            <a:custGeom>
              <a:avLst/>
              <a:gdLst/>
              <a:ahLst/>
              <a:cxnLst/>
              <a:rect l="0" t="0" r="0" b="0"/>
              <a:pathLst>
                <a:path w="145551" h="85388">
                  <a:moveTo>
                    <a:pt x="137162" y="79918"/>
                  </a:moveTo>
                  <a:lnTo>
                    <a:pt x="137089" y="85388"/>
                  </a:lnTo>
                  <a:lnTo>
                    <a:pt x="113478" y="83807"/>
                  </a:lnTo>
                  <a:lnTo>
                    <a:pt x="74085" y="81115"/>
                  </a:lnTo>
                  <a:lnTo>
                    <a:pt x="51856" y="79550"/>
                  </a:lnTo>
                  <a:lnTo>
                    <a:pt x="22011" y="77405"/>
                  </a:lnTo>
                  <a:lnTo>
                    <a:pt x="21975" y="77402"/>
                  </a:lnTo>
                  <a:lnTo>
                    <a:pt x="22349" y="76595"/>
                  </a:lnTo>
                  <a:lnTo>
                    <a:pt x="33777" y="52337"/>
                  </a:lnTo>
                  <a:lnTo>
                    <a:pt x="0" y="49794"/>
                  </a:lnTo>
                  <a:lnTo>
                    <a:pt x="24765" y="0"/>
                  </a:lnTo>
                  <a:lnTo>
                    <a:pt x="57250" y="2545"/>
                  </a:lnTo>
                  <a:lnTo>
                    <a:pt x="82250" y="4459"/>
                  </a:lnTo>
                  <a:lnTo>
                    <a:pt x="115731" y="6962"/>
                  </a:lnTo>
                  <a:lnTo>
                    <a:pt x="118533" y="10418"/>
                  </a:lnTo>
                  <a:lnTo>
                    <a:pt x="123743" y="12838"/>
                  </a:lnTo>
                  <a:lnTo>
                    <a:pt x="125728" y="11814"/>
                  </a:lnTo>
                  <a:lnTo>
                    <a:pt x="129663" y="12195"/>
                  </a:lnTo>
                  <a:lnTo>
                    <a:pt x="135764" y="12378"/>
                  </a:lnTo>
                  <a:lnTo>
                    <a:pt x="138590" y="15881"/>
                  </a:lnTo>
                  <a:lnTo>
                    <a:pt x="142212" y="18284"/>
                  </a:lnTo>
                  <a:lnTo>
                    <a:pt x="142009" y="20400"/>
                  </a:lnTo>
                  <a:lnTo>
                    <a:pt x="142891" y="21696"/>
                  </a:lnTo>
                  <a:lnTo>
                    <a:pt x="145551" y="22238"/>
                  </a:lnTo>
                  <a:lnTo>
                    <a:pt x="145158" y="24760"/>
                  </a:lnTo>
                  <a:lnTo>
                    <a:pt x="144327" y="28933"/>
                  </a:lnTo>
                  <a:lnTo>
                    <a:pt x="143344" y="30979"/>
                  </a:lnTo>
                  <a:lnTo>
                    <a:pt x="144256" y="35871"/>
                  </a:lnTo>
                  <a:lnTo>
                    <a:pt x="143441" y="40058"/>
                  </a:lnTo>
                  <a:lnTo>
                    <a:pt x="140956" y="45811"/>
                  </a:lnTo>
                  <a:lnTo>
                    <a:pt x="141813" y="46698"/>
                  </a:lnTo>
                  <a:lnTo>
                    <a:pt x="141603" y="49747"/>
                  </a:lnTo>
                  <a:lnTo>
                    <a:pt x="140134" y="57035"/>
                  </a:lnTo>
                  <a:lnTo>
                    <a:pt x="138594" y="61349"/>
                  </a:lnTo>
                  <a:lnTo>
                    <a:pt x="136146" y="65766"/>
                  </a:lnTo>
                  <a:lnTo>
                    <a:pt x="135282" y="70344"/>
                  </a:lnTo>
                  <a:lnTo>
                    <a:pt x="134725" y="72421"/>
                  </a:lnTo>
                  <a:lnTo>
                    <a:pt x="135882" y="76553"/>
                  </a:lnTo>
                  <a:lnTo>
                    <a:pt x="137162" y="79918"/>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21" name="Polygon form 285"/>
            <p:cNvSpPr/>
            <p:nvPr/>
          </p:nvSpPr>
          <p:spPr>
            <a:xfrm>
              <a:off x="2118007" y="3096374"/>
              <a:ext cx="151945" cy="93844"/>
            </a:xfrm>
            <a:custGeom>
              <a:avLst/>
              <a:gdLst/>
              <a:ahLst/>
              <a:cxnLst/>
              <a:rect l="0" t="0" r="0" b="0"/>
              <a:pathLst>
                <a:path w="151945" h="93844">
                  <a:moveTo>
                    <a:pt x="147297" y="20890"/>
                  </a:moveTo>
                  <a:lnTo>
                    <a:pt x="140787" y="47565"/>
                  </a:lnTo>
                  <a:lnTo>
                    <a:pt x="131484" y="71922"/>
                  </a:lnTo>
                  <a:lnTo>
                    <a:pt x="123168" y="93844"/>
                  </a:lnTo>
                  <a:lnTo>
                    <a:pt x="117198" y="88492"/>
                  </a:lnTo>
                  <a:lnTo>
                    <a:pt x="113133" y="85535"/>
                  </a:lnTo>
                  <a:lnTo>
                    <a:pt x="108457" y="87004"/>
                  </a:lnTo>
                  <a:lnTo>
                    <a:pt x="102270" y="86377"/>
                  </a:lnTo>
                  <a:lnTo>
                    <a:pt x="98538" y="86202"/>
                  </a:lnTo>
                  <a:lnTo>
                    <a:pt x="94736" y="88074"/>
                  </a:lnTo>
                  <a:lnTo>
                    <a:pt x="91368" y="88952"/>
                  </a:lnTo>
                  <a:lnTo>
                    <a:pt x="89192" y="87563"/>
                  </a:lnTo>
                  <a:lnTo>
                    <a:pt x="82732" y="88574"/>
                  </a:lnTo>
                  <a:lnTo>
                    <a:pt x="81547" y="84223"/>
                  </a:lnTo>
                  <a:lnTo>
                    <a:pt x="77437" y="87694"/>
                  </a:lnTo>
                  <a:lnTo>
                    <a:pt x="73158" y="85784"/>
                  </a:lnTo>
                  <a:lnTo>
                    <a:pt x="69584" y="81573"/>
                  </a:lnTo>
                  <a:lnTo>
                    <a:pt x="63302" y="83773"/>
                  </a:lnTo>
                  <a:lnTo>
                    <a:pt x="63200" y="77572"/>
                  </a:lnTo>
                  <a:lnTo>
                    <a:pt x="54677" y="77674"/>
                  </a:lnTo>
                  <a:lnTo>
                    <a:pt x="49876" y="75994"/>
                  </a:lnTo>
                  <a:lnTo>
                    <a:pt x="44573" y="73845"/>
                  </a:lnTo>
                  <a:lnTo>
                    <a:pt x="43905" y="68458"/>
                  </a:lnTo>
                  <a:lnTo>
                    <a:pt x="38590" y="69850"/>
                  </a:lnTo>
                  <a:lnTo>
                    <a:pt x="36485" y="67619"/>
                  </a:lnTo>
                  <a:lnTo>
                    <a:pt x="33282" y="64649"/>
                  </a:lnTo>
                  <a:lnTo>
                    <a:pt x="42658" y="40612"/>
                  </a:lnTo>
                  <a:lnTo>
                    <a:pt x="52559" y="15986"/>
                  </a:lnTo>
                  <a:lnTo>
                    <a:pt x="35024" y="14833"/>
                  </a:lnTo>
                  <a:lnTo>
                    <a:pt x="17501" y="13666"/>
                  </a:lnTo>
                  <a:lnTo>
                    <a:pt x="0" y="12484"/>
                  </a:lnTo>
                  <a:lnTo>
                    <a:pt x="5273" y="0"/>
                  </a:lnTo>
                  <a:lnTo>
                    <a:pt x="22015" y="1227"/>
                  </a:lnTo>
                  <a:lnTo>
                    <a:pt x="38455" y="2309"/>
                  </a:lnTo>
                  <a:lnTo>
                    <a:pt x="55922" y="3445"/>
                  </a:lnTo>
                  <a:lnTo>
                    <a:pt x="73411" y="4567"/>
                  </a:lnTo>
                  <a:lnTo>
                    <a:pt x="104924" y="6544"/>
                  </a:lnTo>
                  <a:lnTo>
                    <a:pt x="136461" y="8486"/>
                  </a:lnTo>
                  <a:lnTo>
                    <a:pt x="151852" y="9409"/>
                  </a:lnTo>
                  <a:lnTo>
                    <a:pt x="151945" y="9415"/>
                  </a:lnTo>
                  <a:lnTo>
                    <a:pt x="147297" y="20890"/>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22" name="Polygon form 286"/>
            <p:cNvSpPr/>
            <p:nvPr/>
          </p:nvSpPr>
          <p:spPr>
            <a:xfrm>
              <a:off x="2215708" y="2796251"/>
              <a:ext cx="150613" cy="83352"/>
            </a:xfrm>
            <a:custGeom>
              <a:avLst/>
              <a:gdLst/>
              <a:ahLst/>
              <a:cxnLst/>
              <a:rect l="0" t="0" r="0" b="0"/>
              <a:pathLst>
                <a:path w="150613" h="83352">
                  <a:moveTo>
                    <a:pt x="125712" y="75062"/>
                  </a:moveTo>
                  <a:lnTo>
                    <a:pt x="124796" y="78880"/>
                  </a:lnTo>
                  <a:lnTo>
                    <a:pt x="122488" y="83352"/>
                  </a:lnTo>
                  <a:lnTo>
                    <a:pt x="90783" y="82319"/>
                  </a:lnTo>
                  <a:lnTo>
                    <a:pt x="64364" y="80192"/>
                  </a:lnTo>
                  <a:lnTo>
                    <a:pt x="31014" y="77618"/>
                  </a:lnTo>
                  <a:lnTo>
                    <a:pt x="0" y="75179"/>
                  </a:lnTo>
                  <a:lnTo>
                    <a:pt x="16112" y="45120"/>
                  </a:lnTo>
                  <a:lnTo>
                    <a:pt x="42345" y="0"/>
                  </a:lnTo>
                  <a:lnTo>
                    <a:pt x="96848" y="4744"/>
                  </a:lnTo>
                  <a:lnTo>
                    <a:pt x="150613" y="9203"/>
                  </a:lnTo>
                  <a:lnTo>
                    <a:pt x="149505" y="11633"/>
                  </a:lnTo>
                  <a:lnTo>
                    <a:pt x="149036" y="15278"/>
                  </a:lnTo>
                  <a:lnTo>
                    <a:pt x="147350" y="18121"/>
                  </a:lnTo>
                  <a:lnTo>
                    <a:pt x="145087" y="21205"/>
                  </a:lnTo>
                  <a:lnTo>
                    <a:pt x="142653" y="26023"/>
                  </a:lnTo>
                  <a:lnTo>
                    <a:pt x="140500" y="30497"/>
                  </a:lnTo>
                  <a:lnTo>
                    <a:pt x="139912" y="35136"/>
                  </a:lnTo>
                  <a:lnTo>
                    <a:pt x="139131" y="40330"/>
                  </a:lnTo>
                  <a:lnTo>
                    <a:pt x="137258" y="45370"/>
                  </a:lnTo>
                  <a:lnTo>
                    <a:pt x="136003" y="48333"/>
                  </a:lnTo>
                  <a:lnTo>
                    <a:pt x="134312" y="51641"/>
                  </a:lnTo>
                  <a:lnTo>
                    <a:pt x="131152" y="58900"/>
                  </a:lnTo>
                  <a:lnTo>
                    <a:pt x="130993" y="60284"/>
                  </a:lnTo>
                  <a:lnTo>
                    <a:pt x="128244" y="65909"/>
                  </a:lnTo>
                  <a:lnTo>
                    <a:pt x="126415" y="70971"/>
                  </a:lnTo>
                  <a:lnTo>
                    <a:pt x="125712" y="75062"/>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23" name="Polygon form 287"/>
            <p:cNvSpPr/>
            <p:nvPr/>
          </p:nvSpPr>
          <p:spPr>
            <a:xfrm>
              <a:off x="2176083" y="2871430"/>
              <a:ext cx="162113" cy="95541"/>
            </a:xfrm>
            <a:custGeom>
              <a:avLst/>
              <a:gdLst/>
              <a:ahLst/>
              <a:cxnLst/>
              <a:rect l="0" t="0" r="0" b="0"/>
              <a:pathLst>
                <a:path w="162113" h="95541">
                  <a:moveTo>
                    <a:pt x="117448" y="91586"/>
                  </a:moveTo>
                  <a:lnTo>
                    <a:pt x="113825" y="89183"/>
                  </a:lnTo>
                  <a:lnTo>
                    <a:pt x="111000" y="85681"/>
                  </a:lnTo>
                  <a:lnTo>
                    <a:pt x="104898" y="85497"/>
                  </a:lnTo>
                  <a:lnTo>
                    <a:pt x="100964" y="85116"/>
                  </a:lnTo>
                  <a:lnTo>
                    <a:pt x="98979" y="86140"/>
                  </a:lnTo>
                  <a:lnTo>
                    <a:pt x="93768" y="83720"/>
                  </a:lnTo>
                  <a:lnTo>
                    <a:pt x="90966" y="80264"/>
                  </a:lnTo>
                  <a:lnTo>
                    <a:pt x="57486" y="77761"/>
                  </a:lnTo>
                  <a:lnTo>
                    <a:pt x="32485" y="75848"/>
                  </a:lnTo>
                  <a:lnTo>
                    <a:pt x="0" y="73302"/>
                  </a:lnTo>
                  <a:lnTo>
                    <a:pt x="26343" y="22599"/>
                  </a:lnTo>
                  <a:lnTo>
                    <a:pt x="39625" y="0"/>
                  </a:lnTo>
                  <a:lnTo>
                    <a:pt x="70639" y="2439"/>
                  </a:lnTo>
                  <a:lnTo>
                    <a:pt x="103990" y="5013"/>
                  </a:lnTo>
                  <a:lnTo>
                    <a:pt x="130408" y="7141"/>
                  </a:lnTo>
                  <a:lnTo>
                    <a:pt x="162113" y="8173"/>
                  </a:lnTo>
                  <a:lnTo>
                    <a:pt x="159992" y="11738"/>
                  </a:lnTo>
                  <a:lnTo>
                    <a:pt x="154928" y="14214"/>
                  </a:lnTo>
                  <a:lnTo>
                    <a:pt x="152341" y="17489"/>
                  </a:lnTo>
                  <a:lnTo>
                    <a:pt x="152024" y="21422"/>
                  </a:lnTo>
                  <a:lnTo>
                    <a:pt x="153925" y="23558"/>
                  </a:lnTo>
                  <a:lnTo>
                    <a:pt x="144145" y="47347"/>
                  </a:lnTo>
                  <a:lnTo>
                    <a:pt x="132705" y="70439"/>
                  </a:lnTo>
                  <a:lnTo>
                    <a:pt x="130476" y="70292"/>
                  </a:lnTo>
                  <a:lnTo>
                    <a:pt x="127566" y="76333"/>
                  </a:lnTo>
                  <a:lnTo>
                    <a:pt x="128132" y="79777"/>
                  </a:lnTo>
                  <a:lnTo>
                    <a:pt x="126458" y="82437"/>
                  </a:lnTo>
                  <a:lnTo>
                    <a:pt x="123711" y="86350"/>
                  </a:lnTo>
                  <a:lnTo>
                    <a:pt x="120447" y="90321"/>
                  </a:lnTo>
                  <a:lnTo>
                    <a:pt x="121874" y="93271"/>
                  </a:lnTo>
                  <a:lnTo>
                    <a:pt x="120787" y="95541"/>
                  </a:lnTo>
                  <a:lnTo>
                    <a:pt x="118126" y="94999"/>
                  </a:lnTo>
                  <a:lnTo>
                    <a:pt x="117245" y="93702"/>
                  </a:lnTo>
                  <a:lnTo>
                    <a:pt x="117448" y="91586"/>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24" name="Polygon form 288"/>
            <p:cNvSpPr/>
            <p:nvPr/>
          </p:nvSpPr>
          <p:spPr>
            <a:xfrm>
              <a:off x="2219869" y="3206305"/>
              <a:ext cx="85122" cy="101463"/>
            </a:xfrm>
            <a:custGeom>
              <a:avLst/>
              <a:gdLst/>
              <a:ahLst/>
              <a:cxnLst/>
              <a:rect l="0" t="0" r="0" b="0"/>
              <a:pathLst>
                <a:path w="85122" h="101463">
                  <a:moveTo>
                    <a:pt x="82341" y="97893"/>
                  </a:moveTo>
                  <a:lnTo>
                    <a:pt x="77897" y="101030"/>
                  </a:lnTo>
                  <a:lnTo>
                    <a:pt x="72126" y="97014"/>
                  </a:lnTo>
                  <a:lnTo>
                    <a:pt x="63860" y="101463"/>
                  </a:lnTo>
                  <a:lnTo>
                    <a:pt x="50732" y="100061"/>
                  </a:lnTo>
                  <a:lnTo>
                    <a:pt x="40901" y="86118"/>
                  </a:lnTo>
                  <a:lnTo>
                    <a:pt x="23967" y="88485"/>
                  </a:lnTo>
                  <a:lnTo>
                    <a:pt x="12384" y="82005"/>
                  </a:lnTo>
                  <a:lnTo>
                    <a:pt x="452" y="83209"/>
                  </a:lnTo>
                  <a:lnTo>
                    <a:pt x="0" y="80419"/>
                  </a:lnTo>
                  <a:lnTo>
                    <a:pt x="2991" y="76817"/>
                  </a:lnTo>
                  <a:lnTo>
                    <a:pt x="6756" y="73621"/>
                  </a:lnTo>
                  <a:lnTo>
                    <a:pt x="8357" y="68597"/>
                  </a:lnTo>
                  <a:lnTo>
                    <a:pt x="7545" y="66851"/>
                  </a:lnTo>
                  <a:lnTo>
                    <a:pt x="11015" y="60921"/>
                  </a:lnTo>
                  <a:lnTo>
                    <a:pt x="13039" y="58249"/>
                  </a:lnTo>
                  <a:lnTo>
                    <a:pt x="17704" y="49136"/>
                  </a:lnTo>
                  <a:lnTo>
                    <a:pt x="17192" y="45617"/>
                  </a:lnTo>
                  <a:lnTo>
                    <a:pt x="16927" y="39783"/>
                  </a:lnTo>
                  <a:lnTo>
                    <a:pt x="17273" y="33872"/>
                  </a:lnTo>
                  <a:lnTo>
                    <a:pt x="17536" y="29933"/>
                  </a:lnTo>
                  <a:lnTo>
                    <a:pt x="15497" y="26941"/>
                  </a:lnTo>
                  <a:lnTo>
                    <a:pt x="23424" y="0"/>
                  </a:lnTo>
                  <a:lnTo>
                    <a:pt x="40787" y="987"/>
                  </a:lnTo>
                  <a:lnTo>
                    <a:pt x="60738" y="1207"/>
                  </a:lnTo>
                  <a:lnTo>
                    <a:pt x="75675" y="2863"/>
                  </a:lnTo>
                  <a:lnTo>
                    <a:pt x="76490" y="4363"/>
                  </a:lnTo>
                  <a:lnTo>
                    <a:pt x="73658" y="7897"/>
                  </a:lnTo>
                  <a:lnTo>
                    <a:pt x="74587" y="13193"/>
                  </a:lnTo>
                  <a:lnTo>
                    <a:pt x="72833" y="16259"/>
                  </a:lnTo>
                  <a:lnTo>
                    <a:pt x="73773" y="20691"/>
                  </a:lnTo>
                  <a:lnTo>
                    <a:pt x="70440" y="23123"/>
                  </a:lnTo>
                  <a:lnTo>
                    <a:pt x="68079" y="27818"/>
                  </a:lnTo>
                  <a:lnTo>
                    <a:pt x="63328" y="31556"/>
                  </a:lnTo>
                  <a:lnTo>
                    <a:pt x="60025" y="36732"/>
                  </a:lnTo>
                  <a:lnTo>
                    <a:pt x="56461" y="42706"/>
                  </a:lnTo>
                  <a:lnTo>
                    <a:pt x="53358" y="45397"/>
                  </a:lnTo>
                  <a:lnTo>
                    <a:pt x="52141" y="51708"/>
                  </a:lnTo>
                  <a:lnTo>
                    <a:pt x="67963" y="53304"/>
                  </a:lnTo>
                  <a:lnTo>
                    <a:pt x="85122" y="54199"/>
                  </a:lnTo>
                  <a:lnTo>
                    <a:pt x="83338" y="58342"/>
                  </a:lnTo>
                  <a:lnTo>
                    <a:pt x="80890" y="62399"/>
                  </a:lnTo>
                  <a:lnTo>
                    <a:pt x="81099" y="65628"/>
                  </a:lnTo>
                  <a:lnTo>
                    <a:pt x="82640" y="68652"/>
                  </a:lnTo>
                  <a:lnTo>
                    <a:pt x="82056" y="72839"/>
                  </a:lnTo>
                  <a:lnTo>
                    <a:pt x="81663" y="75339"/>
                  </a:lnTo>
                  <a:lnTo>
                    <a:pt x="83090" y="82584"/>
                  </a:lnTo>
                  <a:lnTo>
                    <a:pt x="79852" y="92752"/>
                  </a:lnTo>
                  <a:lnTo>
                    <a:pt x="82341" y="97893"/>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25" name="Polygon form 289"/>
            <p:cNvSpPr/>
            <p:nvPr/>
          </p:nvSpPr>
          <p:spPr>
            <a:xfrm>
              <a:off x="2007424" y="3108858"/>
              <a:ext cx="241823" cy="275440"/>
            </a:xfrm>
            <a:custGeom>
              <a:avLst/>
              <a:gdLst/>
              <a:ahLst/>
              <a:cxnLst/>
              <a:rect l="0" t="0" r="0" b="0"/>
              <a:pathLst>
                <a:path w="241823" h="275440">
                  <a:moveTo>
                    <a:pt x="229637" y="143064"/>
                  </a:moveTo>
                  <a:lnTo>
                    <a:pt x="230149" y="146583"/>
                  </a:lnTo>
                  <a:lnTo>
                    <a:pt x="225484" y="155696"/>
                  </a:lnTo>
                  <a:lnTo>
                    <a:pt x="223460" y="158368"/>
                  </a:lnTo>
                  <a:lnTo>
                    <a:pt x="219989" y="164298"/>
                  </a:lnTo>
                  <a:lnTo>
                    <a:pt x="220801" y="166044"/>
                  </a:lnTo>
                  <a:lnTo>
                    <a:pt x="219200" y="171068"/>
                  </a:lnTo>
                  <a:lnTo>
                    <a:pt x="215436" y="174264"/>
                  </a:lnTo>
                  <a:lnTo>
                    <a:pt x="212445" y="177866"/>
                  </a:lnTo>
                  <a:lnTo>
                    <a:pt x="212896" y="180656"/>
                  </a:lnTo>
                  <a:lnTo>
                    <a:pt x="195676" y="185783"/>
                  </a:lnTo>
                  <a:lnTo>
                    <a:pt x="173302" y="203680"/>
                  </a:lnTo>
                  <a:lnTo>
                    <a:pt x="151742" y="213689"/>
                  </a:lnTo>
                  <a:lnTo>
                    <a:pt x="138084" y="225284"/>
                  </a:lnTo>
                  <a:lnTo>
                    <a:pt x="130495" y="236481"/>
                  </a:lnTo>
                  <a:lnTo>
                    <a:pt x="125307" y="253978"/>
                  </a:lnTo>
                  <a:lnTo>
                    <a:pt x="122825" y="266204"/>
                  </a:lnTo>
                  <a:lnTo>
                    <a:pt x="123991" y="275006"/>
                  </a:lnTo>
                  <a:lnTo>
                    <a:pt x="116511" y="275440"/>
                  </a:lnTo>
                  <a:lnTo>
                    <a:pt x="104822" y="269236"/>
                  </a:lnTo>
                  <a:lnTo>
                    <a:pt x="92526" y="260669"/>
                  </a:lnTo>
                  <a:lnTo>
                    <a:pt x="90758" y="248470"/>
                  </a:lnTo>
                  <a:lnTo>
                    <a:pt x="91925" y="230472"/>
                  </a:lnTo>
                  <a:lnTo>
                    <a:pt x="85428" y="215437"/>
                  </a:lnTo>
                  <a:lnTo>
                    <a:pt x="83713" y="200208"/>
                  </a:lnTo>
                  <a:lnTo>
                    <a:pt x="80091" y="182324"/>
                  </a:lnTo>
                  <a:lnTo>
                    <a:pt x="70541" y="171497"/>
                  </a:lnTo>
                  <a:lnTo>
                    <a:pt x="55457" y="171164"/>
                  </a:lnTo>
                  <a:lnTo>
                    <a:pt x="37270" y="190630"/>
                  </a:lnTo>
                  <a:lnTo>
                    <a:pt x="24619" y="182142"/>
                  </a:lnTo>
                  <a:lnTo>
                    <a:pt x="17775" y="173907"/>
                  </a:lnTo>
                  <a:lnTo>
                    <a:pt x="18062" y="159636"/>
                  </a:lnTo>
                  <a:lnTo>
                    <a:pt x="16714" y="145978"/>
                  </a:lnTo>
                  <a:lnTo>
                    <a:pt x="9980" y="134133"/>
                  </a:lnTo>
                  <a:lnTo>
                    <a:pt x="3695" y="125523"/>
                  </a:lnTo>
                  <a:lnTo>
                    <a:pt x="487" y="116085"/>
                  </a:lnTo>
                  <a:lnTo>
                    <a:pt x="0" y="111890"/>
                  </a:lnTo>
                  <a:lnTo>
                    <a:pt x="630" y="109709"/>
                  </a:lnTo>
                  <a:lnTo>
                    <a:pt x="16808" y="110727"/>
                  </a:lnTo>
                  <a:lnTo>
                    <a:pt x="49189" y="112729"/>
                  </a:lnTo>
                  <a:lnTo>
                    <a:pt x="65898" y="113743"/>
                  </a:lnTo>
                  <a:lnTo>
                    <a:pt x="83825" y="66111"/>
                  </a:lnTo>
                  <a:lnTo>
                    <a:pt x="110583" y="0"/>
                  </a:lnTo>
                  <a:lnTo>
                    <a:pt x="128084" y="1182"/>
                  </a:lnTo>
                  <a:lnTo>
                    <a:pt x="145607" y="2349"/>
                  </a:lnTo>
                  <a:lnTo>
                    <a:pt x="163142" y="3502"/>
                  </a:lnTo>
                  <a:lnTo>
                    <a:pt x="153242" y="28128"/>
                  </a:lnTo>
                  <a:lnTo>
                    <a:pt x="143865" y="52165"/>
                  </a:lnTo>
                  <a:lnTo>
                    <a:pt x="147068" y="55135"/>
                  </a:lnTo>
                  <a:lnTo>
                    <a:pt x="149173" y="57366"/>
                  </a:lnTo>
                  <a:lnTo>
                    <a:pt x="154488" y="55974"/>
                  </a:lnTo>
                  <a:lnTo>
                    <a:pt x="155156" y="61360"/>
                  </a:lnTo>
                  <a:lnTo>
                    <a:pt x="160459" y="63510"/>
                  </a:lnTo>
                  <a:lnTo>
                    <a:pt x="165260" y="65190"/>
                  </a:lnTo>
                  <a:lnTo>
                    <a:pt x="173783" y="65088"/>
                  </a:lnTo>
                  <a:lnTo>
                    <a:pt x="173885" y="71289"/>
                  </a:lnTo>
                  <a:lnTo>
                    <a:pt x="180167" y="69089"/>
                  </a:lnTo>
                  <a:lnTo>
                    <a:pt x="183741" y="73300"/>
                  </a:lnTo>
                  <a:lnTo>
                    <a:pt x="188021" y="75210"/>
                  </a:lnTo>
                  <a:lnTo>
                    <a:pt x="192131" y="71739"/>
                  </a:lnTo>
                  <a:lnTo>
                    <a:pt x="193315" y="76090"/>
                  </a:lnTo>
                  <a:lnTo>
                    <a:pt x="199775" y="75079"/>
                  </a:lnTo>
                  <a:lnTo>
                    <a:pt x="201951" y="76468"/>
                  </a:lnTo>
                  <a:lnTo>
                    <a:pt x="205320" y="75590"/>
                  </a:lnTo>
                  <a:lnTo>
                    <a:pt x="209121" y="73718"/>
                  </a:lnTo>
                  <a:lnTo>
                    <a:pt x="212853" y="73893"/>
                  </a:lnTo>
                  <a:lnTo>
                    <a:pt x="219040" y="74520"/>
                  </a:lnTo>
                  <a:lnTo>
                    <a:pt x="223716" y="73051"/>
                  </a:lnTo>
                  <a:lnTo>
                    <a:pt x="227782" y="76008"/>
                  </a:lnTo>
                  <a:lnTo>
                    <a:pt x="233751" y="81360"/>
                  </a:lnTo>
                  <a:lnTo>
                    <a:pt x="234113" y="83060"/>
                  </a:lnTo>
                  <a:lnTo>
                    <a:pt x="237710" y="82923"/>
                  </a:lnTo>
                  <a:lnTo>
                    <a:pt x="241823" y="83247"/>
                  </a:lnTo>
                  <a:lnTo>
                    <a:pt x="235869" y="97447"/>
                  </a:lnTo>
                  <a:lnTo>
                    <a:pt x="227942" y="124388"/>
                  </a:lnTo>
                  <a:lnTo>
                    <a:pt x="229981" y="127380"/>
                  </a:lnTo>
                  <a:lnTo>
                    <a:pt x="229718" y="131319"/>
                  </a:lnTo>
                  <a:lnTo>
                    <a:pt x="229372" y="137230"/>
                  </a:lnTo>
                  <a:lnTo>
                    <a:pt x="229637" y="143064"/>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26" name="Polygon form 290"/>
            <p:cNvSpPr/>
            <p:nvPr/>
          </p:nvSpPr>
          <p:spPr>
            <a:xfrm>
              <a:off x="2670838" y="3001133"/>
              <a:ext cx="40576" cy="26911"/>
            </a:xfrm>
            <a:custGeom>
              <a:avLst/>
              <a:gdLst/>
              <a:ahLst/>
              <a:cxnLst/>
              <a:rect l="0" t="0" r="0" b="0"/>
              <a:pathLst>
                <a:path w="40576" h="26911">
                  <a:moveTo>
                    <a:pt x="15532" y="20998"/>
                  </a:moveTo>
                  <a:lnTo>
                    <a:pt x="0" y="26911"/>
                  </a:lnTo>
                  <a:lnTo>
                    <a:pt x="111" y="26122"/>
                  </a:lnTo>
                  <a:lnTo>
                    <a:pt x="500" y="23089"/>
                  </a:lnTo>
                  <a:lnTo>
                    <a:pt x="5062" y="20882"/>
                  </a:lnTo>
                  <a:lnTo>
                    <a:pt x="4418" y="18724"/>
                  </a:lnTo>
                  <a:lnTo>
                    <a:pt x="11794" y="0"/>
                  </a:lnTo>
                  <a:lnTo>
                    <a:pt x="24776" y="1108"/>
                  </a:lnTo>
                  <a:lnTo>
                    <a:pt x="40576" y="2449"/>
                  </a:lnTo>
                  <a:lnTo>
                    <a:pt x="36231" y="15863"/>
                  </a:lnTo>
                  <a:lnTo>
                    <a:pt x="33990" y="19409"/>
                  </a:lnTo>
                  <a:lnTo>
                    <a:pt x="25964" y="20276"/>
                  </a:lnTo>
                  <a:lnTo>
                    <a:pt x="15532" y="20998"/>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27" name="Polygon form 291"/>
            <p:cNvSpPr/>
            <p:nvPr/>
          </p:nvSpPr>
          <p:spPr>
            <a:xfrm>
              <a:off x="2682632" y="2982960"/>
              <a:ext cx="60983" cy="34776"/>
            </a:xfrm>
            <a:custGeom>
              <a:avLst/>
              <a:gdLst/>
              <a:ahLst/>
              <a:cxnLst/>
              <a:rect l="0" t="0" r="0" b="0"/>
              <a:pathLst>
                <a:path w="60983" h="34776">
                  <a:moveTo>
                    <a:pt x="60983" y="24415"/>
                  </a:moveTo>
                  <a:lnTo>
                    <a:pt x="57319" y="31353"/>
                  </a:lnTo>
                  <a:lnTo>
                    <a:pt x="44392" y="34776"/>
                  </a:lnTo>
                  <a:lnTo>
                    <a:pt x="36262" y="33903"/>
                  </a:lnTo>
                  <a:lnTo>
                    <a:pt x="37023" y="30130"/>
                  </a:lnTo>
                  <a:lnTo>
                    <a:pt x="35250" y="27185"/>
                  </a:lnTo>
                  <a:lnTo>
                    <a:pt x="36118" y="20701"/>
                  </a:lnTo>
                  <a:lnTo>
                    <a:pt x="28782" y="20622"/>
                  </a:lnTo>
                  <a:lnTo>
                    <a:pt x="12982" y="19280"/>
                  </a:lnTo>
                  <a:lnTo>
                    <a:pt x="0" y="18173"/>
                  </a:lnTo>
                  <a:lnTo>
                    <a:pt x="9580" y="1458"/>
                  </a:lnTo>
                  <a:lnTo>
                    <a:pt x="23525" y="2568"/>
                  </a:lnTo>
                  <a:lnTo>
                    <a:pt x="44091" y="3807"/>
                  </a:lnTo>
                  <a:lnTo>
                    <a:pt x="46676" y="1482"/>
                  </a:lnTo>
                  <a:lnTo>
                    <a:pt x="50865" y="0"/>
                  </a:lnTo>
                  <a:lnTo>
                    <a:pt x="52731" y="566"/>
                  </a:lnTo>
                  <a:lnTo>
                    <a:pt x="48176" y="13546"/>
                  </a:lnTo>
                  <a:lnTo>
                    <a:pt x="49536" y="26812"/>
                  </a:lnTo>
                  <a:lnTo>
                    <a:pt x="56479" y="27759"/>
                  </a:lnTo>
                  <a:lnTo>
                    <a:pt x="57614" y="18726"/>
                  </a:lnTo>
                  <a:lnTo>
                    <a:pt x="60983" y="24415"/>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28" name="Polygon form 292"/>
            <p:cNvSpPr/>
            <p:nvPr/>
          </p:nvSpPr>
          <p:spPr>
            <a:xfrm>
              <a:off x="2705668" y="2923605"/>
              <a:ext cx="46137" cy="63163"/>
            </a:xfrm>
            <a:custGeom>
              <a:avLst/>
              <a:gdLst/>
              <a:ahLst/>
              <a:cxnLst/>
              <a:rect l="0" t="0" r="0" b="0"/>
              <a:pathLst>
                <a:path w="46137" h="63163">
                  <a:moveTo>
                    <a:pt x="36468" y="6910"/>
                  </a:moveTo>
                  <a:lnTo>
                    <a:pt x="36446" y="6896"/>
                  </a:lnTo>
                  <a:lnTo>
                    <a:pt x="40321" y="955"/>
                  </a:lnTo>
                  <a:lnTo>
                    <a:pt x="46137" y="0"/>
                  </a:lnTo>
                  <a:lnTo>
                    <a:pt x="32543" y="45094"/>
                  </a:lnTo>
                  <a:lnTo>
                    <a:pt x="31071" y="47472"/>
                  </a:lnTo>
                  <a:lnTo>
                    <a:pt x="32957" y="51254"/>
                  </a:lnTo>
                  <a:lnTo>
                    <a:pt x="32580" y="54713"/>
                  </a:lnTo>
                  <a:lnTo>
                    <a:pt x="34460" y="54555"/>
                  </a:lnTo>
                  <a:lnTo>
                    <a:pt x="29695" y="59921"/>
                  </a:lnTo>
                  <a:lnTo>
                    <a:pt x="27830" y="59355"/>
                  </a:lnTo>
                  <a:lnTo>
                    <a:pt x="23640" y="60838"/>
                  </a:lnTo>
                  <a:lnTo>
                    <a:pt x="21055" y="63163"/>
                  </a:lnTo>
                  <a:lnTo>
                    <a:pt x="490" y="61923"/>
                  </a:lnTo>
                  <a:lnTo>
                    <a:pt x="0" y="59313"/>
                  </a:lnTo>
                  <a:lnTo>
                    <a:pt x="2453" y="56202"/>
                  </a:lnTo>
                  <a:lnTo>
                    <a:pt x="5119" y="49792"/>
                  </a:lnTo>
                  <a:lnTo>
                    <a:pt x="6179" y="48288"/>
                  </a:lnTo>
                  <a:lnTo>
                    <a:pt x="8798" y="42524"/>
                  </a:lnTo>
                  <a:lnTo>
                    <a:pt x="12389" y="37733"/>
                  </a:lnTo>
                  <a:lnTo>
                    <a:pt x="14539" y="35665"/>
                  </a:lnTo>
                  <a:lnTo>
                    <a:pt x="18623" y="29965"/>
                  </a:lnTo>
                  <a:lnTo>
                    <a:pt x="20417" y="26047"/>
                  </a:lnTo>
                  <a:lnTo>
                    <a:pt x="21835" y="23693"/>
                  </a:lnTo>
                  <a:lnTo>
                    <a:pt x="25518" y="22681"/>
                  </a:lnTo>
                  <a:lnTo>
                    <a:pt x="30321" y="20039"/>
                  </a:lnTo>
                  <a:lnTo>
                    <a:pt x="32074" y="17031"/>
                  </a:lnTo>
                  <a:lnTo>
                    <a:pt x="32091" y="13460"/>
                  </a:lnTo>
                  <a:lnTo>
                    <a:pt x="36468" y="6910"/>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29" name="Polygon form 293"/>
            <p:cNvSpPr/>
            <p:nvPr/>
          </p:nvSpPr>
          <p:spPr>
            <a:xfrm>
              <a:off x="2704828" y="3003582"/>
              <a:ext cx="14827" cy="16960"/>
            </a:xfrm>
            <a:custGeom>
              <a:avLst/>
              <a:gdLst/>
              <a:ahLst/>
              <a:cxnLst/>
              <a:rect l="0" t="0" r="0" b="0"/>
              <a:pathLst>
                <a:path w="14827" h="16960">
                  <a:moveTo>
                    <a:pt x="14827" y="9508"/>
                  </a:moveTo>
                  <a:lnTo>
                    <a:pt x="14066" y="13281"/>
                  </a:lnTo>
                  <a:lnTo>
                    <a:pt x="0" y="16960"/>
                  </a:lnTo>
                  <a:lnTo>
                    <a:pt x="2241" y="13414"/>
                  </a:lnTo>
                  <a:lnTo>
                    <a:pt x="6586" y="0"/>
                  </a:lnTo>
                  <a:lnTo>
                    <a:pt x="13922" y="79"/>
                  </a:lnTo>
                  <a:lnTo>
                    <a:pt x="13054" y="6563"/>
                  </a:lnTo>
                  <a:lnTo>
                    <a:pt x="14827" y="9508"/>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30" name="Polygon form 294"/>
            <p:cNvSpPr/>
            <p:nvPr/>
          </p:nvSpPr>
          <p:spPr>
            <a:xfrm>
              <a:off x="2692213" y="2928918"/>
              <a:ext cx="49923" cy="56610"/>
            </a:xfrm>
            <a:custGeom>
              <a:avLst/>
              <a:gdLst/>
              <a:ahLst/>
              <a:cxnLst/>
              <a:rect l="0" t="0" r="0" b="0"/>
              <a:pathLst>
                <a:path w="49923" h="56610">
                  <a:moveTo>
                    <a:pt x="49923" y="1597"/>
                  </a:moveTo>
                  <a:lnTo>
                    <a:pt x="45546" y="8147"/>
                  </a:lnTo>
                  <a:lnTo>
                    <a:pt x="45529" y="11718"/>
                  </a:lnTo>
                  <a:lnTo>
                    <a:pt x="43776" y="14726"/>
                  </a:lnTo>
                  <a:lnTo>
                    <a:pt x="38973" y="17368"/>
                  </a:lnTo>
                  <a:lnTo>
                    <a:pt x="35290" y="18380"/>
                  </a:lnTo>
                  <a:lnTo>
                    <a:pt x="33872" y="20734"/>
                  </a:lnTo>
                  <a:lnTo>
                    <a:pt x="32078" y="24651"/>
                  </a:lnTo>
                  <a:lnTo>
                    <a:pt x="27994" y="30352"/>
                  </a:lnTo>
                  <a:lnTo>
                    <a:pt x="25844" y="32420"/>
                  </a:lnTo>
                  <a:lnTo>
                    <a:pt x="22254" y="37211"/>
                  </a:lnTo>
                  <a:lnTo>
                    <a:pt x="19634" y="42975"/>
                  </a:lnTo>
                  <a:lnTo>
                    <a:pt x="18574" y="44479"/>
                  </a:lnTo>
                  <a:lnTo>
                    <a:pt x="15908" y="50889"/>
                  </a:lnTo>
                  <a:lnTo>
                    <a:pt x="13455" y="53999"/>
                  </a:lnTo>
                  <a:lnTo>
                    <a:pt x="13945" y="56610"/>
                  </a:lnTo>
                  <a:lnTo>
                    <a:pt x="0" y="55501"/>
                  </a:lnTo>
                  <a:lnTo>
                    <a:pt x="7891" y="35331"/>
                  </a:lnTo>
                  <a:lnTo>
                    <a:pt x="5524" y="35024"/>
                  </a:lnTo>
                  <a:lnTo>
                    <a:pt x="5545" y="34075"/>
                  </a:lnTo>
                  <a:lnTo>
                    <a:pt x="7902" y="30578"/>
                  </a:lnTo>
                  <a:lnTo>
                    <a:pt x="8675" y="24096"/>
                  </a:lnTo>
                  <a:lnTo>
                    <a:pt x="12221" y="19118"/>
                  </a:lnTo>
                  <a:lnTo>
                    <a:pt x="12660" y="15338"/>
                  </a:lnTo>
                  <a:lnTo>
                    <a:pt x="14939" y="8051"/>
                  </a:lnTo>
                  <a:lnTo>
                    <a:pt x="16773" y="4940"/>
                  </a:lnTo>
                  <a:lnTo>
                    <a:pt x="18966" y="0"/>
                  </a:lnTo>
                  <a:lnTo>
                    <a:pt x="49901" y="1583"/>
                  </a:lnTo>
                  <a:lnTo>
                    <a:pt x="49923" y="1597"/>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31" name="Polygon form 295"/>
            <p:cNvSpPr/>
            <p:nvPr/>
          </p:nvSpPr>
          <p:spPr>
            <a:xfrm>
              <a:off x="2324792" y="3162265"/>
              <a:ext cx="86253" cy="118699"/>
            </a:xfrm>
            <a:custGeom>
              <a:avLst/>
              <a:gdLst/>
              <a:ahLst/>
              <a:cxnLst/>
              <a:rect l="0" t="0" r="0" b="0"/>
              <a:pathLst>
                <a:path w="86253" h="118699">
                  <a:moveTo>
                    <a:pt x="66729" y="99901"/>
                  </a:moveTo>
                  <a:lnTo>
                    <a:pt x="66781" y="102889"/>
                  </a:lnTo>
                  <a:lnTo>
                    <a:pt x="29481" y="101318"/>
                  </a:lnTo>
                  <a:lnTo>
                    <a:pt x="18629" y="102259"/>
                  </a:lnTo>
                  <a:lnTo>
                    <a:pt x="17776" y="104153"/>
                  </a:lnTo>
                  <a:lnTo>
                    <a:pt x="20163" y="110429"/>
                  </a:lnTo>
                  <a:lnTo>
                    <a:pt x="17761" y="115327"/>
                  </a:lnTo>
                  <a:lnTo>
                    <a:pt x="15442" y="118699"/>
                  </a:lnTo>
                  <a:lnTo>
                    <a:pt x="0" y="115172"/>
                  </a:lnTo>
                  <a:lnTo>
                    <a:pt x="10914" y="76891"/>
                  </a:lnTo>
                  <a:lnTo>
                    <a:pt x="26750" y="37087"/>
                  </a:lnTo>
                  <a:lnTo>
                    <a:pt x="40654" y="4899"/>
                  </a:lnTo>
                  <a:lnTo>
                    <a:pt x="41017" y="0"/>
                  </a:lnTo>
                  <a:lnTo>
                    <a:pt x="63439" y="1196"/>
                  </a:lnTo>
                  <a:lnTo>
                    <a:pt x="86253" y="2712"/>
                  </a:lnTo>
                  <a:lnTo>
                    <a:pt x="80932" y="33869"/>
                  </a:lnTo>
                  <a:lnTo>
                    <a:pt x="77505" y="58852"/>
                  </a:lnTo>
                  <a:lnTo>
                    <a:pt x="77739" y="66777"/>
                  </a:lnTo>
                  <a:lnTo>
                    <a:pt x="77985" y="71314"/>
                  </a:lnTo>
                  <a:lnTo>
                    <a:pt x="73680" y="75557"/>
                  </a:lnTo>
                  <a:lnTo>
                    <a:pt x="70319" y="83447"/>
                  </a:lnTo>
                  <a:lnTo>
                    <a:pt x="69921" y="88196"/>
                  </a:lnTo>
                  <a:lnTo>
                    <a:pt x="68180" y="92588"/>
                  </a:lnTo>
                  <a:lnTo>
                    <a:pt x="66490" y="96662"/>
                  </a:lnTo>
                  <a:lnTo>
                    <a:pt x="66729" y="99901"/>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32" name="Polygon form 296"/>
            <p:cNvSpPr/>
            <p:nvPr/>
          </p:nvSpPr>
          <p:spPr>
            <a:xfrm>
              <a:off x="2340234" y="3263583"/>
              <a:ext cx="116818" cy="152500"/>
            </a:xfrm>
            <a:custGeom>
              <a:avLst/>
              <a:gdLst/>
              <a:ahLst/>
              <a:cxnLst/>
              <a:rect l="0" t="0" r="0" b="0"/>
              <a:pathLst>
                <a:path w="116818" h="152500">
                  <a:moveTo>
                    <a:pt x="116235" y="107961"/>
                  </a:moveTo>
                  <a:lnTo>
                    <a:pt x="111812" y="124768"/>
                  </a:lnTo>
                  <a:lnTo>
                    <a:pt x="108829" y="134452"/>
                  </a:lnTo>
                  <a:lnTo>
                    <a:pt x="100806" y="149540"/>
                  </a:lnTo>
                  <a:lnTo>
                    <a:pt x="94509" y="152500"/>
                  </a:lnTo>
                  <a:lnTo>
                    <a:pt x="85921" y="149147"/>
                  </a:lnTo>
                  <a:lnTo>
                    <a:pt x="85377" y="138074"/>
                  </a:lnTo>
                  <a:lnTo>
                    <a:pt x="79551" y="132061"/>
                  </a:lnTo>
                  <a:lnTo>
                    <a:pt x="74622" y="110191"/>
                  </a:lnTo>
                  <a:lnTo>
                    <a:pt x="70554" y="90725"/>
                  </a:lnTo>
                  <a:lnTo>
                    <a:pt x="70179" y="80836"/>
                  </a:lnTo>
                  <a:lnTo>
                    <a:pt x="78163" y="64398"/>
                  </a:lnTo>
                  <a:lnTo>
                    <a:pt x="76526" y="50452"/>
                  </a:lnTo>
                  <a:lnTo>
                    <a:pt x="67731" y="28952"/>
                  </a:lnTo>
                  <a:lnTo>
                    <a:pt x="61611" y="24807"/>
                  </a:lnTo>
                  <a:lnTo>
                    <a:pt x="39963" y="35345"/>
                  </a:lnTo>
                  <a:lnTo>
                    <a:pt x="37013" y="33951"/>
                  </a:lnTo>
                  <a:lnTo>
                    <a:pt x="31342" y="21888"/>
                  </a:lnTo>
                  <a:lnTo>
                    <a:pt x="21605" y="15176"/>
                  </a:lnTo>
                  <a:lnTo>
                    <a:pt x="0" y="17381"/>
                  </a:lnTo>
                  <a:lnTo>
                    <a:pt x="2319" y="14009"/>
                  </a:lnTo>
                  <a:lnTo>
                    <a:pt x="4721" y="9111"/>
                  </a:lnTo>
                  <a:lnTo>
                    <a:pt x="2335" y="2835"/>
                  </a:lnTo>
                  <a:lnTo>
                    <a:pt x="3187" y="941"/>
                  </a:lnTo>
                  <a:lnTo>
                    <a:pt x="14040" y="0"/>
                  </a:lnTo>
                  <a:lnTo>
                    <a:pt x="51340" y="1572"/>
                  </a:lnTo>
                  <a:lnTo>
                    <a:pt x="52199" y="8425"/>
                  </a:lnTo>
                  <a:lnTo>
                    <a:pt x="70274" y="10395"/>
                  </a:lnTo>
                  <a:lnTo>
                    <a:pt x="98953" y="15425"/>
                  </a:lnTo>
                  <a:lnTo>
                    <a:pt x="99131" y="19837"/>
                  </a:lnTo>
                  <a:lnTo>
                    <a:pt x="102102" y="17709"/>
                  </a:lnTo>
                  <a:lnTo>
                    <a:pt x="104510" y="9045"/>
                  </a:lnTo>
                  <a:lnTo>
                    <a:pt x="106949" y="8296"/>
                  </a:lnTo>
                  <a:lnTo>
                    <a:pt x="110072" y="10285"/>
                  </a:lnTo>
                  <a:lnTo>
                    <a:pt x="113813" y="10911"/>
                  </a:lnTo>
                  <a:lnTo>
                    <a:pt x="112422" y="28350"/>
                  </a:lnTo>
                  <a:lnTo>
                    <a:pt x="113034" y="49931"/>
                  </a:lnTo>
                  <a:lnTo>
                    <a:pt x="116818" y="67906"/>
                  </a:lnTo>
                  <a:lnTo>
                    <a:pt x="114281" y="78686"/>
                  </a:lnTo>
                  <a:lnTo>
                    <a:pt x="116235" y="107961"/>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38" name="Polygon form 302"/>
            <p:cNvSpPr/>
            <p:nvPr/>
          </p:nvSpPr>
          <p:spPr>
            <a:xfrm>
              <a:off x="2391282" y="3164977"/>
              <a:ext cx="83158" cy="118443"/>
            </a:xfrm>
            <a:custGeom>
              <a:avLst/>
              <a:gdLst/>
              <a:ahLst/>
              <a:cxnLst/>
              <a:rect l="0" t="0" r="0" b="0"/>
              <a:pathLst>
                <a:path w="83158" h="118443">
                  <a:moveTo>
                    <a:pt x="83158" y="77567"/>
                  </a:moveTo>
                  <a:lnTo>
                    <a:pt x="70444" y="91940"/>
                  </a:lnTo>
                  <a:lnTo>
                    <a:pt x="62765" y="109517"/>
                  </a:lnTo>
                  <a:lnTo>
                    <a:pt x="59024" y="108891"/>
                  </a:lnTo>
                  <a:lnTo>
                    <a:pt x="55901" y="106902"/>
                  </a:lnTo>
                  <a:lnTo>
                    <a:pt x="53462" y="107651"/>
                  </a:lnTo>
                  <a:lnTo>
                    <a:pt x="51054" y="116314"/>
                  </a:lnTo>
                  <a:lnTo>
                    <a:pt x="48083" y="118443"/>
                  </a:lnTo>
                  <a:lnTo>
                    <a:pt x="47905" y="114031"/>
                  </a:lnTo>
                  <a:lnTo>
                    <a:pt x="19226" y="109001"/>
                  </a:lnTo>
                  <a:lnTo>
                    <a:pt x="1151" y="107031"/>
                  </a:lnTo>
                  <a:lnTo>
                    <a:pt x="292" y="100177"/>
                  </a:lnTo>
                  <a:lnTo>
                    <a:pt x="239" y="97189"/>
                  </a:lnTo>
                  <a:lnTo>
                    <a:pt x="0" y="93950"/>
                  </a:lnTo>
                  <a:lnTo>
                    <a:pt x="1690" y="89876"/>
                  </a:lnTo>
                  <a:lnTo>
                    <a:pt x="3431" y="85484"/>
                  </a:lnTo>
                  <a:lnTo>
                    <a:pt x="3829" y="80735"/>
                  </a:lnTo>
                  <a:lnTo>
                    <a:pt x="7190" y="72845"/>
                  </a:lnTo>
                  <a:lnTo>
                    <a:pt x="11495" y="68602"/>
                  </a:lnTo>
                  <a:lnTo>
                    <a:pt x="11250" y="64065"/>
                  </a:lnTo>
                  <a:lnTo>
                    <a:pt x="11015" y="56140"/>
                  </a:lnTo>
                  <a:lnTo>
                    <a:pt x="14443" y="31157"/>
                  </a:lnTo>
                  <a:lnTo>
                    <a:pt x="19763" y="0"/>
                  </a:lnTo>
                  <a:lnTo>
                    <a:pt x="33460" y="926"/>
                  </a:lnTo>
                  <a:lnTo>
                    <a:pt x="43071" y="1156"/>
                  </a:lnTo>
                  <a:lnTo>
                    <a:pt x="65253" y="2462"/>
                  </a:lnTo>
                  <a:lnTo>
                    <a:pt x="62636" y="4429"/>
                  </a:lnTo>
                  <a:lnTo>
                    <a:pt x="58268" y="8997"/>
                  </a:lnTo>
                  <a:lnTo>
                    <a:pt x="61797" y="13365"/>
                  </a:lnTo>
                  <a:lnTo>
                    <a:pt x="64434" y="15029"/>
                  </a:lnTo>
                  <a:lnTo>
                    <a:pt x="65327" y="23057"/>
                  </a:lnTo>
                  <a:lnTo>
                    <a:pt x="66108" y="27567"/>
                  </a:lnTo>
                  <a:lnTo>
                    <a:pt x="70576" y="33759"/>
                  </a:lnTo>
                  <a:lnTo>
                    <a:pt x="70879" y="36910"/>
                  </a:lnTo>
                  <a:lnTo>
                    <a:pt x="73936" y="41162"/>
                  </a:lnTo>
                  <a:lnTo>
                    <a:pt x="74273" y="47181"/>
                  </a:lnTo>
                  <a:lnTo>
                    <a:pt x="78573" y="52460"/>
                  </a:lnTo>
                  <a:lnTo>
                    <a:pt x="78204" y="58203"/>
                  </a:lnTo>
                  <a:lnTo>
                    <a:pt x="78479" y="61002"/>
                  </a:lnTo>
                  <a:lnTo>
                    <a:pt x="77326" y="62804"/>
                  </a:lnTo>
                  <a:lnTo>
                    <a:pt x="79919" y="65680"/>
                  </a:lnTo>
                  <a:lnTo>
                    <a:pt x="80372" y="70419"/>
                  </a:lnTo>
                  <a:lnTo>
                    <a:pt x="78995" y="75157"/>
                  </a:lnTo>
                  <a:lnTo>
                    <a:pt x="80400" y="76153"/>
                  </a:lnTo>
                  <a:lnTo>
                    <a:pt x="83158" y="77567"/>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39" name="Polygon form 303"/>
            <p:cNvSpPr/>
            <p:nvPr/>
          </p:nvSpPr>
          <p:spPr>
            <a:xfrm>
              <a:off x="2272010" y="3159732"/>
              <a:ext cx="93799" cy="122331"/>
            </a:xfrm>
            <a:custGeom>
              <a:avLst/>
              <a:gdLst/>
              <a:ahLst/>
              <a:cxnLst/>
              <a:rect l="0" t="0" r="0" b="0"/>
              <a:pathLst>
                <a:path w="93799" h="122331">
                  <a:moveTo>
                    <a:pt x="93799" y="2534"/>
                  </a:moveTo>
                  <a:lnTo>
                    <a:pt x="93436" y="7432"/>
                  </a:lnTo>
                  <a:lnTo>
                    <a:pt x="79532" y="39620"/>
                  </a:lnTo>
                  <a:lnTo>
                    <a:pt x="63697" y="79425"/>
                  </a:lnTo>
                  <a:lnTo>
                    <a:pt x="52782" y="117706"/>
                  </a:lnTo>
                  <a:lnTo>
                    <a:pt x="38319" y="118775"/>
                  </a:lnTo>
                  <a:lnTo>
                    <a:pt x="29600" y="122331"/>
                  </a:lnTo>
                  <a:lnTo>
                    <a:pt x="29915" y="119413"/>
                  </a:lnTo>
                  <a:lnTo>
                    <a:pt x="30499" y="115225"/>
                  </a:lnTo>
                  <a:lnTo>
                    <a:pt x="28958" y="112201"/>
                  </a:lnTo>
                  <a:lnTo>
                    <a:pt x="28750" y="108973"/>
                  </a:lnTo>
                  <a:lnTo>
                    <a:pt x="31197" y="104915"/>
                  </a:lnTo>
                  <a:lnTo>
                    <a:pt x="32981" y="100773"/>
                  </a:lnTo>
                  <a:lnTo>
                    <a:pt x="15822" y="99877"/>
                  </a:lnTo>
                  <a:lnTo>
                    <a:pt x="0" y="98281"/>
                  </a:lnTo>
                  <a:lnTo>
                    <a:pt x="1217" y="91971"/>
                  </a:lnTo>
                  <a:lnTo>
                    <a:pt x="4320" y="89279"/>
                  </a:lnTo>
                  <a:lnTo>
                    <a:pt x="7884" y="83305"/>
                  </a:lnTo>
                  <a:lnTo>
                    <a:pt x="11187" y="78129"/>
                  </a:lnTo>
                  <a:lnTo>
                    <a:pt x="15938" y="74391"/>
                  </a:lnTo>
                  <a:lnTo>
                    <a:pt x="18300" y="69697"/>
                  </a:lnTo>
                  <a:lnTo>
                    <a:pt x="21632" y="67264"/>
                  </a:lnTo>
                  <a:lnTo>
                    <a:pt x="20692" y="62832"/>
                  </a:lnTo>
                  <a:lnTo>
                    <a:pt x="22446" y="59767"/>
                  </a:lnTo>
                  <a:lnTo>
                    <a:pt x="21517" y="54471"/>
                  </a:lnTo>
                  <a:lnTo>
                    <a:pt x="24349" y="50936"/>
                  </a:lnTo>
                  <a:lnTo>
                    <a:pt x="23534" y="49436"/>
                  </a:lnTo>
                  <a:lnTo>
                    <a:pt x="26036" y="44551"/>
                  </a:lnTo>
                  <a:lnTo>
                    <a:pt x="26159" y="37865"/>
                  </a:lnTo>
                  <a:lnTo>
                    <a:pt x="28569" y="31951"/>
                  </a:lnTo>
                  <a:lnTo>
                    <a:pt x="35453" y="23433"/>
                  </a:lnTo>
                  <a:lnTo>
                    <a:pt x="39114" y="18372"/>
                  </a:lnTo>
                  <a:lnTo>
                    <a:pt x="43443" y="15142"/>
                  </a:lnTo>
                  <a:lnTo>
                    <a:pt x="45991" y="13838"/>
                  </a:lnTo>
                  <a:lnTo>
                    <a:pt x="50693" y="7274"/>
                  </a:lnTo>
                  <a:lnTo>
                    <a:pt x="52018" y="3655"/>
                  </a:lnTo>
                  <a:lnTo>
                    <a:pt x="55845" y="1964"/>
                  </a:lnTo>
                  <a:lnTo>
                    <a:pt x="56875" y="0"/>
                  </a:lnTo>
                  <a:lnTo>
                    <a:pt x="74432" y="943"/>
                  </a:lnTo>
                  <a:lnTo>
                    <a:pt x="93799" y="2534"/>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40" name="Polygon form 304"/>
            <p:cNvSpPr/>
            <p:nvPr/>
          </p:nvSpPr>
          <p:spPr>
            <a:xfrm>
              <a:off x="2449550" y="3163007"/>
              <a:ext cx="79740" cy="79537"/>
            </a:xfrm>
            <a:custGeom>
              <a:avLst/>
              <a:gdLst/>
              <a:ahLst/>
              <a:cxnLst/>
              <a:rect l="0" t="0" r="0" b="0"/>
              <a:pathLst>
                <a:path w="79740" h="79537">
                  <a:moveTo>
                    <a:pt x="79740" y="35990"/>
                  </a:moveTo>
                  <a:lnTo>
                    <a:pt x="67958" y="44696"/>
                  </a:lnTo>
                  <a:lnTo>
                    <a:pt x="62981" y="52908"/>
                  </a:lnTo>
                  <a:lnTo>
                    <a:pt x="38485" y="68148"/>
                  </a:lnTo>
                  <a:lnTo>
                    <a:pt x="24890" y="79537"/>
                  </a:lnTo>
                  <a:lnTo>
                    <a:pt x="22131" y="78123"/>
                  </a:lnTo>
                  <a:lnTo>
                    <a:pt x="20727" y="77127"/>
                  </a:lnTo>
                  <a:lnTo>
                    <a:pt x="22104" y="72390"/>
                  </a:lnTo>
                  <a:lnTo>
                    <a:pt x="21651" y="67650"/>
                  </a:lnTo>
                  <a:lnTo>
                    <a:pt x="19058" y="64774"/>
                  </a:lnTo>
                  <a:lnTo>
                    <a:pt x="20211" y="62973"/>
                  </a:lnTo>
                  <a:lnTo>
                    <a:pt x="19936" y="60174"/>
                  </a:lnTo>
                  <a:lnTo>
                    <a:pt x="20305" y="54430"/>
                  </a:lnTo>
                  <a:lnTo>
                    <a:pt x="16005" y="49151"/>
                  </a:lnTo>
                  <a:lnTo>
                    <a:pt x="15668" y="43133"/>
                  </a:lnTo>
                  <a:lnTo>
                    <a:pt x="12611" y="38880"/>
                  </a:lnTo>
                  <a:lnTo>
                    <a:pt x="12308" y="35730"/>
                  </a:lnTo>
                  <a:lnTo>
                    <a:pt x="7840" y="29538"/>
                  </a:lnTo>
                  <a:lnTo>
                    <a:pt x="7059" y="25028"/>
                  </a:lnTo>
                  <a:lnTo>
                    <a:pt x="6166" y="16999"/>
                  </a:lnTo>
                  <a:lnTo>
                    <a:pt x="3529" y="15335"/>
                  </a:lnTo>
                  <a:lnTo>
                    <a:pt x="0" y="10967"/>
                  </a:lnTo>
                  <a:lnTo>
                    <a:pt x="4367" y="6400"/>
                  </a:lnTo>
                  <a:lnTo>
                    <a:pt x="6985" y="4432"/>
                  </a:lnTo>
                  <a:lnTo>
                    <a:pt x="9008" y="3784"/>
                  </a:lnTo>
                  <a:lnTo>
                    <a:pt x="20011" y="0"/>
                  </a:lnTo>
                  <a:lnTo>
                    <a:pt x="36425" y="1014"/>
                  </a:lnTo>
                  <a:lnTo>
                    <a:pt x="44439" y="2560"/>
                  </a:lnTo>
                  <a:lnTo>
                    <a:pt x="43897" y="4759"/>
                  </a:lnTo>
                  <a:lnTo>
                    <a:pt x="46207" y="3204"/>
                  </a:lnTo>
                  <a:lnTo>
                    <a:pt x="47705" y="7539"/>
                  </a:lnTo>
                  <a:lnTo>
                    <a:pt x="46765" y="10425"/>
                  </a:lnTo>
                  <a:lnTo>
                    <a:pt x="66594" y="11612"/>
                  </a:lnTo>
                  <a:lnTo>
                    <a:pt x="79740" y="35990"/>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41" name="Polygon form 305"/>
            <p:cNvSpPr/>
            <p:nvPr/>
          </p:nvSpPr>
          <p:spPr>
            <a:xfrm>
              <a:off x="2353491" y="2973240"/>
              <a:ext cx="102356" cy="139451"/>
            </a:xfrm>
            <a:custGeom>
              <a:avLst/>
              <a:gdLst/>
              <a:ahLst/>
              <a:cxnLst/>
              <a:rect l="0" t="0" r="0" b="0"/>
              <a:pathLst>
                <a:path w="102356" h="139451">
                  <a:moveTo>
                    <a:pt x="41558" y="0"/>
                  </a:moveTo>
                  <a:lnTo>
                    <a:pt x="58809" y="1120"/>
                  </a:lnTo>
                  <a:lnTo>
                    <a:pt x="76437" y="2301"/>
                  </a:lnTo>
                  <a:lnTo>
                    <a:pt x="89376" y="3346"/>
                  </a:lnTo>
                  <a:lnTo>
                    <a:pt x="89404" y="3281"/>
                  </a:lnTo>
                  <a:lnTo>
                    <a:pt x="94755" y="3656"/>
                  </a:lnTo>
                  <a:lnTo>
                    <a:pt x="102356" y="4197"/>
                  </a:lnTo>
                  <a:lnTo>
                    <a:pt x="99699" y="8669"/>
                  </a:lnTo>
                  <a:lnTo>
                    <a:pt x="97055" y="13130"/>
                  </a:lnTo>
                  <a:lnTo>
                    <a:pt x="94412" y="17606"/>
                  </a:lnTo>
                  <a:lnTo>
                    <a:pt x="91776" y="22082"/>
                  </a:lnTo>
                  <a:lnTo>
                    <a:pt x="89215" y="21925"/>
                  </a:lnTo>
                  <a:lnTo>
                    <a:pt x="86674" y="21768"/>
                  </a:lnTo>
                  <a:lnTo>
                    <a:pt x="86132" y="23063"/>
                  </a:lnTo>
                  <a:lnTo>
                    <a:pt x="86050" y="23058"/>
                  </a:lnTo>
                  <a:lnTo>
                    <a:pt x="74430" y="51715"/>
                  </a:lnTo>
                  <a:lnTo>
                    <a:pt x="63169" y="80403"/>
                  </a:lnTo>
                  <a:lnTo>
                    <a:pt x="58544" y="87192"/>
                  </a:lnTo>
                  <a:lnTo>
                    <a:pt x="59272" y="89100"/>
                  </a:lnTo>
                  <a:lnTo>
                    <a:pt x="58577" y="93394"/>
                  </a:lnTo>
                  <a:lnTo>
                    <a:pt x="57176" y="96722"/>
                  </a:lnTo>
                  <a:lnTo>
                    <a:pt x="55149" y="98148"/>
                  </a:lnTo>
                  <a:lnTo>
                    <a:pt x="52336" y="102187"/>
                  </a:lnTo>
                  <a:lnTo>
                    <a:pt x="46684" y="107393"/>
                  </a:lnTo>
                  <a:lnTo>
                    <a:pt x="41738" y="113931"/>
                  </a:lnTo>
                  <a:lnTo>
                    <a:pt x="39307" y="118922"/>
                  </a:lnTo>
                  <a:lnTo>
                    <a:pt x="38741" y="120784"/>
                  </a:lnTo>
                  <a:lnTo>
                    <a:pt x="35480" y="124131"/>
                  </a:lnTo>
                  <a:lnTo>
                    <a:pt x="36122" y="126559"/>
                  </a:lnTo>
                  <a:lnTo>
                    <a:pt x="32372" y="128200"/>
                  </a:lnTo>
                  <a:lnTo>
                    <a:pt x="27632" y="130055"/>
                  </a:lnTo>
                  <a:lnTo>
                    <a:pt x="26321" y="135531"/>
                  </a:lnTo>
                  <a:lnTo>
                    <a:pt x="23264" y="137455"/>
                  </a:lnTo>
                  <a:lnTo>
                    <a:pt x="19861" y="134910"/>
                  </a:lnTo>
                  <a:lnTo>
                    <a:pt x="15676" y="133301"/>
                  </a:lnTo>
                  <a:lnTo>
                    <a:pt x="13599" y="135644"/>
                  </a:lnTo>
                  <a:lnTo>
                    <a:pt x="12898" y="139451"/>
                  </a:lnTo>
                  <a:lnTo>
                    <a:pt x="11195" y="135413"/>
                  </a:lnTo>
                  <a:lnTo>
                    <a:pt x="9059" y="135950"/>
                  </a:lnTo>
                  <a:lnTo>
                    <a:pt x="9069" y="129708"/>
                  </a:lnTo>
                  <a:lnTo>
                    <a:pt x="11112" y="126004"/>
                  </a:lnTo>
                  <a:lnTo>
                    <a:pt x="12058" y="119910"/>
                  </a:lnTo>
                  <a:lnTo>
                    <a:pt x="10567" y="119069"/>
                  </a:lnTo>
                  <a:lnTo>
                    <a:pt x="8055" y="113337"/>
                  </a:lnTo>
                  <a:lnTo>
                    <a:pt x="6111" y="113128"/>
                  </a:lnTo>
                  <a:lnTo>
                    <a:pt x="3999" y="109409"/>
                  </a:lnTo>
                  <a:lnTo>
                    <a:pt x="2963" y="105523"/>
                  </a:lnTo>
                  <a:lnTo>
                    <a:pt x="5778" y="101219"/>
                  </a:lnTo>
                  <a:lnTo>
                    <a:pt x="8795" y="97696"/>
                  </a:lnTo>
                  <a:lnTo>
                    <a:pt x="11569" y="93163"/>
                  </a:lnTo>
                  <a:lnTo>
                    <a:pt x="9828" y="88965"/>
                  </a:lnTo>
                  <a:lnTo>
                    <a:pt x="5918" y="90371"/>
                  </a:lnTo>
                  <a:lnTo>
                    <a:pt x="4344" y="89213"/>
                  </a:lnTo>
                  <a:lnTo>
                    <a:pt x="5712" y="85038"/>
                  </a:lnTo>
                  <a:lnTo>
                    <a:pt x="6148" y="80215"/>
                  </a:lnTo>
                  <a:lnTo>
                    <a:pt x="5006" y="78986"/>
                  </a:lnTo>
                  <a:lnTo>
                    <a:pt x="2367" y="75401"/>
                  </a:lnTo>
                  <a:lnTo>
                    <a:pt x="774" y="70976"/>
                  </a:lnTo>
                  <a:lnTo>
                    <a:pt x="0" y="65683"/>
                  </a:lnTo>
                  <a:lnTo>
                    <a:pt x="1511" y="58160"/>
                  </a:lnTo>
                  <a:lnTo>
                    <a:pt x="5567" y="52080"/>
                  </a:lnTo>
                  <a:lnTo>
                    <a:pt x="7797" y="47571"/>
                  </a:lnTo>
                  <a:lnTo>
                    <a:pt x="13725" y="44160"/>
                  </a:lnTo>
                  <a:lnTo>
                    <a:pt x="16443" y="40465"/>
                  </a:lnTo>
                  <a:lnTo>
                    <a:pt x="20478" y="36317"/>
                  </a:lnTo>
                  <a:lnTo>
                    <a:pt x="21376" y="32427"/>
                  </a:lnTo>
                  <a:lnTo>
                    <a:pt x="20071" y="30363"/>
                  </a:lnTo>
                  <a:lnTo>
                    <a:pt x="23407" y="26199"/>
                  </a:lnTo>
                  <a:lnTo>
                    <a:pt x="29773" y="25355"/>
                  </a:lnTo>
                  <a:lnTo>
                    <a:pt x="34272" y="24176"/>
                  </a:lnTo>
                  <a:lnTo>
                    <a:pt x="36163" y="22466"/>
                  </a:lnTo>
                  <a:lnTo>
                    <a:pt x="41698" y="17061"/>
                  </a:lnTo>
                  <a:lnTo>
                    <a:pt x="45451" y="10467"/>
                  </a:lnTo>
                  <a:lnTo>
                    <a:pt x="44620" y="8220"/>
                  </a:lnTo>
                  <a:lnTo>
                    <a:pt x="42818" y="6058"/>
                  </a:lnTo>
                  <a:lnTo>
                    <a:pt x="43169" y="3335"/>
                  </a:lnTo>
                  <a:lnTo>
                    <a:pt x="41720" y="1949"/>
                  </a:lnTo>
                  <a:lnTo>
                    <a:pt x="41558" y="0"/>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42" name="Polygon form 306"/>
            <p:cNvSpPr/>
            <p:nvPr/>
          </p:nvSpPr>
          <p:spPr>
            <a:xfrm>
              <a:off x="2392798" y="2995008"/>
              <a:ext cx="93583" cy="98960"/>
            </a:xfrm>
            <a:custGeom>
              <a:avLst/>
              <a:gdLst/>
              <a:ahLst/>
              <a:cxnLst/>
              <a:rect l="0" t="0" r="0" b="0"/>
              <a:pathLst>
                <a:path w="93583" h="98960">
                  <a:moveTo>
                    <a:pt x="92823" y="4846"/>
                  </a:moveTo>
                  <a:lnTo>
                    <a:pt x="83995" y="27194"/>
                  </a:lnTo>
                  <a:lnTo>
                    <a:pt x="74656" y="51251"/>
                  </a:lnTo>
                  <a:lnTo>
                    <a:pt x="68148" y="68406"/>
                  </a:lnTo>
                  <a:lnTo>
                    <a:pt x="66713" y="69517"/>
                  </a:lnTo>
                  <a:lnTo>
                    <a:pt x="66269" y="74655"/>
                  </a:lnTo>
                  <a:lnTo>
                    <a:pt x="64840" y="76449"/>
                  </a:lnTo>
                  <a:lnTo>
                    <a:pt x="61892" y="76325"/>
                  </a:lnTo>
                  <a:lnTo>
                    <a:pt x="58367" y="78363"/>
                  </a:lnTo>
                  <a:lnTo>
                    <a:pt x="54570" y="77241"/>
                  </a:lnTo>
                  <a:lnTo>
                    <a:pt x="52443" y="81981"/>
                  </a:lnTo>
                  <a:lnTo>
                    <a:pt x="49322" y="83655"/>
                  </a:lnTo>
                  <a:lnTo>
                    <a:pt x="45461" y="87792"/>
                  </a:lnTo>
                  <a:lnTo>
                    <a:pt x="42708" y="88429"/>
                  </a:lnTo>
                  <a:lnTo>
                    <a:pt x="36164" y="95607"/>
                  </a:lnTo>
                  <a:lnTo>
                    <a:pt x="33389" y="93282"/>
                  </a:lnTo>
                  <a:lnTo>
                    <a:pt x="33401" y="90173"/>
                  </a:lnTo>
                  <a:lnTo>
                    <a:pt x="28543" y="94955"/>
                  </a:lnTo>
                  <a:lnTo>
                    <a:pt x="25599" y="97606"/>
                  </a:lnTo>
                  <a:lnTo>
                    <a:pt x="22894" y="94477"/>
                  </a:lnTo>
                  <a:lnTo>
                    <a:pt x="17995" y="96616"/>
                  </a:lnTo>
                  <a:lnTo>
                    <a:pt x="15783" y="98960"/>
                  </a:lnTo>
                  <a:lnTo>
                    <a:pt x="11780" y="94870"/>
                  </a:lnTo>
                  <a:lnTo>
                    <a:pt x="7024" y="97379"/>
                  </a:lnTo>
                  <a:lnTo>
                    <a:pt x="3226" y="95190"/>
                  </a:lnTo>
                  <a:lnTo>
                    <a:pt x="2032" y="97929"/>
                  </a:lnTo>
                  <a:lnTo>
                    <a:pt x="0" y="97155"/>
                  </a:lnTo>
                  <a:lnTo>
                    <a:pt x="2431" y="92163"/>
                  </a:lnTo>
                  <a:lnTo>
                    <a:pt x="7377" y="85625"/>
                  </a:lnTo>
                  <a:lnTo>
                    <a:pt x="13029" y="80419"/>
                  </a:lnTo>
                  <a:lnTo>
                    <a:pt x="15842" y="76380"/>
                  </a:lnTo>
                  <a:lnTo>
                    <a:pt x="17869" y="74954"/>
                  </a:lnTo>
                  <a:lnTo>
                    <a:pt x="19271" y="71626"/>
                  </a:lnTo>
                  <a:lnTo>
                    <a:pt x="19965" y="67332"/>
                  </a:lnTo>
                  <a:lnTo>
                    <a:pt x="19237" y="65424"/>
                  </a:lnTo>
                  <a:lnTo>
                    <a:pt x="23862" y="58636"/>
                  </a:lnTo>
                  <a:lnTo>
                    <a:pt x="35123" y="29947"/>
                  </a:lnTo>
                  <a:lnTo>
                    <a:pt x="46743" y="1290"/>
                  </a:lnTo>
                  <a:lnTo>
                    <a:pt x="47358" y="0"/>
                  </a:lnTo>
                  <a:lnTo>
                    <a:pt x="52469" y="314"/>
                  </a:lnTo>
                  <a:lnTo>
                    <a:pt x="57635" y="630"/>
                  </a:lnTo>
                  <a:lnTo>
                    <a:pt x="59231" y="728"/>
                  </a:lnTo>
                  <a:lnTo>
                    <a:pt x="59183" y="846"/>
                  </a:lnTo>
                  <a:lnTo>
                    <a:pt x="77485" y="2073"/>
                  </a:lnTo>
                  <a:lnTo>
                    <a:pt x="93583" y="2913"/>
                  </a:lnTo>
                  <a:lnTo>
                    <a:pt x="92823" y="4846"/>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43" name="Polygon form 307"/>
            <p:cNvSpPr/>
            <p:nvPr/>
          </p:nvSpPr>
          <p:spPr>
            <a:xfrm>
              <a:off x="2355378" y="3063414"/>
              <a:ext cx="141664" cy="63426"/>
            </a:xfrm>
            <a:custGeom>
              <a:avLst/>
              <a:gdLst/>
              <a:ahLst/>
              <a:cxnLst/>
              <a:rect l="0" t="0" r="0" b="0"/>
              <a:pathLst>
                <a:path w="141664" h="63426">
                  <a:moveTo>
                    <a:pt x="141664" y="41583"/>
                  </a:moveTo>
                  <a:lnTo>
                    <a:pt x="132106" y="48599"/>
                  </a:lnTo>
                  <a:lnTo>
                    <a:pt x="125615" y="51213"/>
                  </a:lnTo>
                  <a:lnTo>
                    <a:pt x="124505" y="53197"/>
                  </a:lnTo>
                  <a:lnTo>
                    <a:pt x="121743" y="55711"/>
                  </a:lnTo>
                  <a:lnTo>
                    <a:pt x="115911" y="58414"/>
                  </a:lnTo>
                  <a:lnTo>
                    <a:pt x="113514" y="60748"/>
                  </a:lnTo>
                  <a:lnTo>
                    <a:pt x="109354" y="62095"/>
                  </a:lnTo>
                  <a:lnTo>
                    <a:pt x="103767" y="63236"/>
                  </a:lnTo>
                  <a:lnTo>
                    <a:pt x="91513" y="63426"/>
                  </a:lnTo>
                  <a:lnTo>
                    <a:pt x="76295" y="61540"/>
                  </a:lnTo>
                  <a:lnTo>
                    <a:pt x="71101" y="61572"/>
                  </a:lnTo>
                  <a:lnTo>
                    <a:pt x="61204" y="60332"/>
                  </a:lnTo>
                  <a:lnTo>
                    <a:pt x="50934" y="59575"/>
                  </a:lnTo>
                  <a:lnTo>
                    <a:pt x="41466" y="58926"/>
                  </a:lnTo>
                  <a:lnTo>
                    <a:pt x="30175" y="59017"/>
                  </a:lnTo>
                  <a:lnTo>
                    <a:pt x="30009" y="57852"/>
                  </a:lnTo>
                  <a:lnTo>
                    <a:pt x="26488" y="57711"/>
                  </a:lnTo>
                  <a:lnTo>
                    <a:pt x="25148" y="61627"/>
                  </a:lnTo>
                  <a:lnTo>
                    <a:pt x="0" y="59996"/>
                  </a:lnTo>
                  <a:lnTo>
                    <a:pt x="4910" y="57595"/>
                  </a:lnTo>
                  <a:lnTo>
                    <a:pt x="8460" y="55683"/>
                  </a:lnTo>
                  <a:lnTo>
                    <a:pt x="9548" y="51749"/>
                  </a:lnTo>
                  <a:lnTo>
                    <a:pt x="11011" y="49277"/>
                  </a:lnTo>
                  <a:lnTo>
                    <a:pt x="11712" y="45470"/>
                  </a:lnTo>
                  <a:lnTo>
                    <a:pt x="13789" y="43127"/>
                  </a:lnTo>
                  <a:lnTo>
                    <a:pt x="17975" y="44736"/>
                  </a:lnTo>
                  <a:lnTo>
                    <a:pt x="21377" y="47281"/>
                  </a:lnTo>
                  <a:lnTo>
                    <a:pt x="24435" y="45357"/>
                  </a:lnTo>
                  <a:lnTo>
                    <a:pt x="25745" y="39881"/>
                  </a:lnTo>
                  <a:lnTo>
                    <a:pt x="30485" y="38026"/>
                  </a:lnTo>
                  <a:lnTo>
                    <a:pt x="34235" y="36385"/>
                  </a:lnTo>
                  <a:lnTo>
                    <a:pt x="33593" y="33957"/>
                  </a:lnTo>
                  <a:lnTo>
                    <a:pt x="36855" y="30610"/>
                  </a:lnTo>
                  <a:lnTo>
                    <a:pt x="37420" y="28748"/>
                  </a:lnTo>
                  <a:lnTo>
                    <a:pt x="39453" y="29522"/>
                  </a:lnTo>
                  <a:lnTo>
                    <a:pt x="40646" y="26784"/>
                  </a:lnTo>
                  <a:lnTo>
                    <a:pt x="44444" y="28973"/>
                  </a:lnTo>
                  <a:lnTo>
                    <a:pt x="49200" y="26464"/>
                  </a:lnTo>
                  <a:lnTo>
                    <a:pt x="53204" y="30554"/>
                  </a:lnTo>
                  <a:lnTo>
                    <a:pt x="55416" y="28210"/>
                  </a:lnTo>
                  <a:lnTo>
                    <a:pt x="60314" y="26071"/>
                  </a:lnTo>
                  <a:lnTo>
                    <a:pt x="63020" y="29199"/>
                  </a:lnTo>
                  <a:lnTo>
                    <a:pt x="65963" y="26548"/>
                  </a:lnTo>
                  <a:lnTo>
                    <a:pt x="70821" y="21767"/>
                  </a:lnTo>
                  <a:lnTo>
                    <a:pt x="70809" y="24875"/>
                  </a:lnTo>
                  <a:lnTo>
                    <a:pt x="73584" y="27201"/>
                  </a:lnTo>
                  <a:lnTo>
                    <a:pt x="80128" y="20023"/>
                  </a:lnTo>
                  <a:lnTo>
                    <a:pt x="82881" y="19386"/>
                  </a:lnTo>
                  <a:lnTo>
                    <a:pt x="86743" y="15249"/>
                  </a:lnTo>
                  <a:lnTo>
                    <a:pt x="89863" y="13575"/>
                  </a:lnTo>
                  <a:lnTo>
                    <a:pt x="91991" y="8835"/>
                  </a:lnTo>
                  <a:lnTo>
                    <a:pt x="95788" y="9957"/>
                  </a:lnTo>
                  <a:lnTo>
                    <a:pt x="99313" y="7919"/>
                  </a:lnTo>
                  <a:lnTo>
                    <a:pt x="102261" y="8042"/>
                  </a:lnTo>
                  <a:lnTo>
                    <a:pt x="103690" y="6249"/>
                  </a:lnTo>
                  <a:lnTo>
                    <a:pt x="104133" y="1110"/>
                  </a:lnTo>
                  <a:lnTo>
                    <a:pt x="105568" y="0"/>
                  </a:lnTo>
                  <a:lnTo>
                    <a:pt x="111312" y="909"/>
                  </a:lnTo>
                  <a:lnTo>
                    <a:pt x="113513" y="3465"/>
                  </a:lnTo>
                  <a:lnTo>
                    <a:pt x="116106" y="9315"/>
                  </a:lnTo>
                  <a:lnTo>
                    <a:pt x="119174" y="11274"/>
                  </a:lnTo>
                  <a:lnTo>
                    <a:pt x="121141" y="13425"/>
                  </a:lnTo>
                  <a:lnTo>
                    <a:pt x="125549" y="12957"/>
                  </a:lnTo>
                  <a:lnTo>
                    <a:pt x="128108" y="14551"/>
                  </a:lnTo>
                  <a:lnTo>
                    <a:pt x="132338" y="13390"/>
                  </a:lnTo>
                  <a:lnTo>
                    <a:pt x="135797" y="13150"/>
                  </a:lnTo>
                  <a:lnTo>
                    <a:pt x="135962" y="16695"/>
                  </a:lnTo>
                  <a:lnTo>
                    <a:pt x="138383" y="19240"/>
                  </a:lnTo>
                  <a:lnTo>
                    <a:pt x="137887" y="21615"/>
                  </a:lnTo>
                  <a:lnTo>
                    <a:pt x="135908" y="26728"/>
                  </a:lnTo>
                  <a:lnTo>
                    <a:pt x="136652" y="30704"/>
                  </a:lnTo>
                  <a:lnTo>
                    <a:pt x="136197" y="34509"/>
                  </a:lnTo>
                  <a:lnTo>
                    <a:pt x="137659" y="37854"/>
                  </a:lnTo>
                  <a:lnTo>
                    <a:pt x="138392" y="40947"/>
                  </a:lnTo>
                  <a:lnTo>
                    <a:pt x="141664" y="41583"/>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44" name="Polygon form 308"/>
            <p:cNvSpPr/>
            <p:nvPr/>
          </p:nvSpPr>
          <p:spPr>
            <a:xfrm>
              <a:off x="2434353" y="3128808"/>
              <a:ext cx="162831" cy="70188"/>
            </a:xfrm>
            <a:custGeom>
              <a:avLst/>
              <a:gdLst/>
              <a:ahLst/>
              <a:cxnLst/>
              <a:rect l="0" t="0" r="0" b="0"/>
              <a:pathLst>
                <a:path w="162831" h="70188">
                  <a:moveTo>
                    <a:pt x="162831" y="5813"/>
                  </a:moveTo>
                  <a:lnTo>
                    <a:pt x="157932" y="30647"/>
                  </a:lnTo>
                  <a:lnTo>
                    <a:pt x="141168" y="48484"/>
                  </a:lnTo>
                  <a:lnTo>
                    <a:pt x="120451" y="54998"/>
                  </a:lnTo>
                  <a:lnTo>
                    <a:pt x="104398" y="69002"/>
                  </a:lnTo>
                  <a:lnTo>
                    <a:pt x="94937" y="70188"/>
                  </a:lnTo>
                  <a:lnTo>
                    <a:pt x="81791" y="45811"/>
                  </a:lnTo>
                  <a:lnTo>
                    <a:pt x="61962" y="44624"/>
                  </a:lnTo>
                  <a:lnTo>
                    <a:pt x="62902" y="41738"/>
                  </a:lnTo>
                  <a:lnTo>
                    <a:pt x="61404" y="37403"/>
                  </a:lnTo>
                  <a:lnTo>
                    <a:pt x="59094" y="38958"/>
                  </a:lnTo>
                  <a:lnTo>
                    <a:pt x="59636" y="36759"/>
                  </a:lnTo>
                  <a:lnTo>
                    <a:pt x="51622" y="35212"/>
                  </a:lnTo>
                  <a:lnTo>
                    <a:pt x="35208" y="34199"/>
                  </a:lnTo>
                  <a:lnTo>
                    <a:pt x="24205" y="37983"/>
                  </a:lnTo>
                  <a:lnTo>
                    <a:pt x="22182" y="38631"/>
                  </a:lnTo>
                  <a:lnTo>
                    <a:pt x="0" y="37326"/>
                  </a:lnTo>
                  <a:lnTo>
                    <a:pt x="2109" y="32082"/>
                  </a:lnTo>
                  <a:lnTo>
                    <a:pt x="6397" y="30707"/>
                  </a:lnTo>
                  <a:lnTo>
                    <a:pt x="8505" y="28099"/>
                  </a:lnTo>
                  <a:lnTo>
                    <a:pt x="12019" y="25215"/>
                  </a:lnTo>
                  <a:lnTo>
                    <a:pt x="15845" y="24740"/>
                  </a:lnTo>
                  <a:lnTo>
                    <a:pt x="20404" y="23808"/>
                  </a:lnTo>
                  <a:lnTo>
                    <a:pt x="25175" y="21870"/>
                  </a:lnTo>
                  <a:lnTo>
                    <a:pt x="27654" y="19764"/>
                  </a:lnTo>
                  <a:lnTo>
                    <a:pt x="31692" y="17951"/>
                  </a:lnTo>
                  <a:lnTo>
                    <a:pt x="32187" y="16146"/>
                  </a:lnTo>
                  <a:lnTo>
                    <a:pt x="37758" y="13009"/>
                  </a:lnTo>
                  <a:lnTo>
                    <a:pt x="38483" y="15262"/>
                  </a:lnTo>
                  <a:lnTo>
                    <a:pt x="46576" y="10917"/>
                  </a:lnTo>
                  <a:lnTo>
                    <a:pt x="49482" y="11556"/>
                  </a:lnTo>
                  <a:lnTo>
                    <a:pt x="53576" y="7532"/>
                  </a:lnTo>
                  <a:lnTo>
                    <a:pt x="57544" y="6638"/>
                  </a:lnTo>
                  <a:lnTo>
                    <a:pt x="58507" y="3086"/>
                  </a:lnTo>
                  <a:lnTo>
                    <a:pt x="59980" y="0"/>
                  </a:lnTo>
                  <a:lnTo>
                    <a:pt x="89536" y="2560"/>
                  </a:lnTo>
                  <a:lnTo>
                    <a:pt x="124864" y="4383"/>
                  </a:lnTo>
                  <a:lnTo>
                    <a:pt x="143724" y="5060"/>
                  </a:lnTo>
                  <a:lnTo>
                    <a:pt x="162831" y="5813"/>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45" name="Polygon form 309"/>
            <p:cNvSpPr/>
            <p:nvPr/>
          </p:nvSpPr>
          <p:spPr>
            <a:xfrm>
              <a:off x="2460946" y="2988120"/>
              <a:ext cx="104099" cy="94534"/>
            </a:xfrm>
            <a:custGeom>
              <a:avLst/>
              <a:gdLst/>
              <a:ahLst/>
              <a:cxnLst/>
              <a:rect l="0" t="0" r="0" b="0"/>
              <a:pathLst>
                <a:path w="104099" h="94534">
                  <a:moveTo>
                    <a:pt x="40863" y="90826"/>
                  </a:moveTo>
                  <a:lnTo>
                    <a:pt x="37379" y="94136"/>
                  </a:lnTo>
                  <a:lnTo>
                    <a:pt x="32815" y="94534"/>
                  </a:lnTo>
                  <a:lnTo>
                    <a:pt x="30393" y="91989"/>
                  </a:lnTo>
                  <a:lnTo>
                    <a:pt x="30228" y="88443"/>
                  </a:lnTo>
                  <a:lnTo>
                    <a:pt x="26770" y="88684"/>
                  </a:lnTo>
                  <a:lnTo>
                    <a:pt x="22539" y="89844"/>
                  </a:lnTo>
                  <a:lnTo>
                    <a:pt x="19981" y="88250"/>
                  </a:lnTo>
                  <a:lnTo>
                    <a:pt x="15573" y="88719"/>
                  </a:lnTo>
                  <a:lnTo>
                    <a:pt x="13606" y="86567"/>
                  </a:lnTo>
                  <a:lnTo>
                    <a:pt x="10538" y="84608"/>
                  </a:lnTo>
                  <a:lnTo>
                    <a:pt x="7945" y="78758"/>
                  </a:lnTo>
                  <a:lnTo>
                    <a:pt x="5744" y="76202"/>
                  </a:lnTo>
                  <a:lnTo>
                    <a:pt x="0" y="75294"/>
                  </a:lnTo>
                  <a:lnTo>
                    <a:pt x="6509" y="58138"/>
                  </a:lnTo>
                  <a:lnTo>
                    <a:pt x="15847" y="34081"/>
                  </a:lnTo>
                  <a:lnTo>
                    <a:pt x="24675" y="11734"/>
                  </a:lnTo>
                  <a:lnTo>
                    <a:pt x="33487" y="12065"/>
                  </a:lnTo>
                  <a:lnTo>
                    <a:pt x="41262" y="12520"/>
                  </a:lnTo>
                  <a:lnTo>
                    <a:pt x="47796" y="12673"/>
                  </a:lnTo>
                  <a:lnTo>
                    <a:pt x="55991" y="6047"/>
                  </a:lnTo>
                  <a:lnTo>
                    <a:pt x="56084" y="6707"/>
                  </a:lnTo>
                  <a:lnTo>
                    <a:pt x="56527" y="9681"/>
                  </a:lnTo>
                  <a:lnTo>
                    <a:pt x="58553" y="11813"/>
                  </a:lnTo>
                  <a:lnTo>
                    <a:pt x="60822" y="13903"/>
                  </a:lnTo>
                  <a:lnTo>
                    <a:pt x="65111" y="14148"/>
                  </a:lnTo>
                  <a:lnTo>
                    <a:pt x="69961" y="11812"/>
                  </a:lnTo>
                  <a:lnTo>
                    <a:pt x="75095" y="9332"/>
                  </a:lnTo>
                  <a:lnTo>
                    <a:pt x="79667" y="7127"/>
                  </a:lnTo>
                  <a:lnTo>
                    <a:pt x="85104" y="4492"/>
                  </a:lnTo>
                  <a:lnTo>
                    <a:pt x="90021" y="2121"/>
                  </a:lnTo>
                  <a:lnTo>
                    <a:pt x="94641" y="1423"/>
                  </a:lnTo>
                  <a:lnTo>
                    <a:pt x="101027" y="466"/>
                  </a:lnTo>
                  <a:lnTo>
                    <a:pt x="104021" y="9"/>
                  </a:lnTo>
                  <a:lnTo>
                    <a:pt x="104099" y="0"/>
                  </a:lnTo>
                  <a:lnTo>
                    <a:pt x="104094" y="13"/>
                  </a:lnTo>
                  <a:lnTo>
                    <a:pt x="88526" y="41481"/>
                  </a:lnTo>
                  <a:lnTo>
                    <a:pt x="85681" y="42591"/>
                  </a:lnTo>
                  <a:lnTo>
                    <a:pt x="85268" y="45763"/>
                  </a:lnTo>
                  <a:lnTo>
                    <a:pt x="82401" y="51399"/>
                  </a:lnTo>
                  <a:lnTo>
                    <a:pt x="78295" y="57727"/>
                  </a:lnTo>
                  <a:lnTo>
                    <a:pt x="74702" y="62967"/>
                  </a:lnTo>
                  <a:lnTo>
                    <a:pt x="73497" y="65499"/>
                  </a:lnTo>
                  <a:lnTo>
                    <a:pt x="66760" y="70880"/>
                  </a:lnTo>
                  <a:lnTo>
                    <a:pt x="64325" y="71976"/>
                  </a:lnTo>
                  <a:lnTo>
                    <a:pt x="61730" y="72543"/>
                  </a:lnTo>
                  <a:lnTo>
                    <a:pt x="59817" y="71881"/>
                  </a:lnTo>
                  <a:lnTo>
                    <a:pt x="54423" y="75924"/>
                  </a:lnTo>
                  <a:lnTo>
                    <a:pt x="52126" y="80346"/>
                  </a:lnTo>
                  <a:lnTo>
                    <a:pt x="50729" y="82725"/>
                  </a:lnTo>
                  <a:lnTo>
                    <a:pt x="48830" y="83623"/>
                  </a:lnTo>
                  <a:lnTo>
                    <a:pt x="49587" y="80851"/>
                  </a:lnTo>
                  <a:lnTo>
                    <a:pt x="47439" y="80122"/>
                  </a:lnTo>
                  <a:lnTo>
                    <a:pt x="43078" y="85356"/>
                  </a:lnTo>
                  <a:lnTo>
                    <a:pt x="40863" y="90826"/>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46" name="Polygon form 310"/>
            <p:cNvSpPr/>
            <p:nvPr/>
          </p:nvSpPr>
          <p:spPr>
            <a:xfrm>
              <a:off x="2328885" y="3121125"/>
              <a:ext cx="165448" cy="45009"/>
            </a:xfrm>
            <a:custGeom>
              <a:avLst/>
              <a:gdLst/>
              <a:ahLst/>
              <a:cxnLst/>
              <a:rect l="0" t="0" r="0" b="0"/>
              <a:pathLst>
                <a:path w="165448" h="45009">
                  <a:moveTo>
                    <a:pt x="165448" y="7683"/>
                  </a:moveTo>
                  <a:lnTo>
                    <a:pt x="163975" y="10769"/>
                  </a:lnTo>
                  <a:lnTo>
                    <a:pt x="163012" y="14321"/>
                  </a:lnTo>
                  <a:lnTo>
                    <a:pt x="159044" y="15215"/>
                  </a:lnTo>
                  <a:lnTo>
                    <a:pt x="154949" y="19239"/>
                  </a:lnTo>
                  <a:lnTo>
                    <a:pt x="152044" y="18600"/>
                  </a:lnTo>
                  <a:lnTo>
                    <a:pt x="143951" y="22945"/>
                  </a:lnTo>
                  <a:lnTo>
                    <a:pt x="143226" y="20692"/>
                  </a:lnTo>
                  <a:lnTo>
                    <a:pt x="137655" y="23829"/>
                  </a:lnTo>
                  <a:lnTo>
                    <a:pt x="137160" y="25634"/>
                  </a:lnTo>
                  <a:lnTo>
                    <a:pt x="133121" y="27447"/>
                  </a:lnTo>
                  <a:lnTo>
                    <a:pt x="130643" y="29553"/>
                  </a:lnTo>
                  <a:lnTo>
                    <a:pt x="125872" y="31491"/>
                  </a:lnTo>
                  <a:lnTo>
                    <a:pt x="121313" y="32423"/>
                  </a:lnTo>
                  <a:lnTo>
                    <a:pt x="117486" y="32898"/>
                  </a:lnTo>
                  <a:lnTo>
                    <a:pt x="113973" y="35782"/>
                  </a:lnTo>
                  <a:lnTo>
                    <a:pt x="111865" y="38390"/>
                  </a:lnTo>
                  <a:lnTo>
                    <a:pt x="107577" y="39765"/>
                  </a:lnTo>
                  <a:lnTo>
                    <a:pt x="105468" y="45009"/>
                  </a:lnTo>
                  <a:lnTo>
                    <a:pt x="95857" y="44778"/>
                  </a:lnTo>
                  <a:lnTo>
                    <a:pt x="82160" y="43852"/>
                  </a:lnTo>
                  <a:lnTo>
                    <a:pt x="59345" y="42336"/>
                  </a:lnTo>
                  <a:lnTo>
                    <a:pt x="36924" y="41140"/>
                  </a:lnTo>
                  <a:lnTo>
                    <a:pt x="17556" y="39550"/>
                  </a:lnTo>
                  <a:lnTo>
                    <a:pt x="0" y="38607"/>
                  </a:lnTo>
                  <a:lnTo>
                    <a:pt x="2848" y="36392"/>
                  </a:lnTo>
                  <a:lnTo>
                    <a:pt x="5184" y="29112"/>
                  </a:lnTo>
                  <a:lnTo>
                    <a:pt x="9151" y="25992"/>
                  </a:lnTo>
                  <a:lnTo>
                    <a:pt x="11301" y="21896"/>
                  </a:lnTo>
                  <a:lnTo>
                    <a:pt x="15271" y="19639"/>
                  </a:lnTo>
                  <a:lnTo>
                    <a:pt x="18321" y="16228"/>
                  </a:lnTo>
                  <a:lnTo>
                    <a:pt x="19249" y="14166"/>
                  </a:lnTo>
                  <a:lnTo>
                    <a:pt x="22808" y="8161"/>
                  </a:lnTo>
                  <a:lnTo>
                    <a:pt x="25162" y="4673"/>
                  </a:lnTo>
                  <a:lnTo>
                    <a:pt x="26493" y="2285"/>
                  </a:lnTo>
                  <a:lnTo>
                    <a:pt x="51641" y="3916"/>
                  </a:lnTo>
                  <a:lnTo>
                    <a:pt x="52981" y="0"/>
                  </a:lnTo>
                  <a:lnTo>
                    <a:pt x="56502" y="141"/>
                  </a:lnTo>
                  <a:lnTo>
                    <a:pt x="56668" y="1306"/>
                  </a:lnTo>
                  <a:lnTo>
                    <a:pt x="67959" y="1215"/>
                  </a:lnTo>
                  <a:lnTo>
                    <a:pt x="77427" y="1864"/>
                  </a:lnTo>
                  <a:lnTo>
                    <a:pt x="87697" y="2621"/>
                  </a:lnTo>
                  <a:lnTo>
                    <a:pt x="97594" y="3860"/>
                  </a:lnTo>
                  <a:lnTo>
                    <a:pt x="102788" y="3829"/>
                  </a:lnTo>
                  <a:lnTo>
                    <a:pt x="118007" y="5715"/>
                  </a:lnTo>
                  <a:lnTo>
                    <a:pt x="130260" y="5525"/>
                  </a:lnTo>
                  <a:lnTo>
                    <a:pt x="156306" y="7715"/>
                  </a:lnTo>
                  <a:lnTo>
                    <a:pt x="165448" y="7683"/>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47" name="Polygon form 311"/>
            <p:cNvSpPr/>
            <p:nvPr/>
          </p:nvSpPr>
          <p:spPr>
            <a:xfrm>
              <a:off x="2459145" y="3062059"/>
              <a:ext cx="140892" cy="72562"/>
            </a:xfrm>
            <a:custGeom>
              <a:avLst/>
              <a:gdLst/>
              <a:ahLst/>
              <a:cxnLst/>
              <a:rect l="0" t="0" r="0" b="0"/>
              <a:pathLst>
                <a:path w="140892" h="72562">
                  <a:moveTo>
                    <a:pt x="117223" y="0"/>
                  </a:moveTo>
                  <a:lnTo>
                    <a:pt x="123856" y="7134"/>
                  </a:lnTo>
                  <a:lnTo>
                    <a:pt x="127382" y="2600"/>
                  </a:lnTo>
                  <a:lnTo>
                    <a:pt x="129657" y="3564"/>
                  </a:lnTo>
                  <a:lnTo>
                    <a:pt x="131349" y="5533"/>
                  </a:lnTo>
                  <a:lnTo>
                    <a:pt x="129173" y="8118"/>
                  </a:lnTo>
                  <a:lnTo>
                    <a:pt x="132364" y="9790"/>
                  </a:lnTo>
                  <a:lnTo>
                    <a:pt x="134702" y="12705"/>
                  </a:lnTo>
                  <a:lnTo>
                    <a:pt x="135453" y="14891"/>
                  </a:lnTo>
                  <a:lnTo>
                    <a:pt x="134891" y="16335"/>
                  </a:lnTo>
                  <a:lnTo>
                    <a:pt x="133916" y="18316"/>
                  </a:lnTo>
                  <a:lnTo>
                    <a:pt x="130162" y="20492"/>
                  </a:lnTo>
                  <a:lnTo>
                    <a:pt x="126357" y="25891"/>
                  </a:lnTo>
                  <a:lnTo>
                    <a:pt x="128248" y="27350"/>
                  </a:lnTo>
                  <a:lnTo>
                    <a:pt x="131451" y="26419"/>
                  </a:lnTo>
                  <a:lnTo>
                    <a:pt x="131340" y="29942"/>
                  </a:lnTo>
                  <a:lnTo>
                    <a:pt x="140892" y="38466"/>
                  </a:lnTo>
                  <a:lnTo>
                    <a:pt x="134258" y="61987"/>
                  </a:lnTo>
                  <a:lnTo>
                    <a:pt x="138817" y="63931"/>
                  </a:lnTo>
                  <a:lnTo>
                    <a:pt x="138039" y="72562"/>
                  </a:lnTo>
                  <a:lnTo>
                    <a:pt x="118932" y="71809"/>
                  </a:lnTo>
                  <a:lnTo>
                    <a:pt x="100072" y="71132"/>
                  </a:lnTo>
                  <a:lnTo>
                    <a:pt x="64744" y="69309"/>
                  </a:lnTo>
                  <a:lnTo>
                    <a:pt x="35188" y="66749"/>
                  </a:lnTo>
                  <a:lnTo>
                    <a:pt x="26047" y="66781"/>
                  </a:lnTo>
                  <a:lnTo>
                    <a:pt x="0" y="64591"/>
                  </a:lnTo>
                  <a:lnTo>
                    <a:pt x="5587" y="63450"/>
                  </a:lnTo>
                  <a:lnTo>
                    <a:pt x="9747" y="62103"/>
                  </a:lnTo>
                  <a:lnTo>
                    <a:pt x="12144" y="59769"/>
                  </a:lnTo>
                  <a:lnTo>
                    <a:pt x="17977" y="57066"/>
                  </a:lnTo>
                  <a:lnTo>
                    <a:pt x="20739" y="54552"/>
                  </a:lnTo>
                  <a:lnTo>
                    <a:pt x="21849" y="52568"/>
                  </a:lnTo>
                  <a:lnTo>
                    <a:pt x="28340" y="49954"/>
                  </a:lnTo>
                  <a:lnTo>
                    <a:pt x="37898" y="42938"/>
                  </a:lnTo>
                  <a:lnTo>
                    <a:pt x="37252" y="47186"/>
                  </a:lnTo>
                  <a:lnTo>
                    <a:pt x="38483" y="49529"/>
                  </a:lnTo>
                  <a:lnTo>
                    <a:pt x="40492" y="51659"/>
                  </a:lnTo>
                  <a:lnTo>
                    <a:pt x="47059" y="48954"/>
                  </a:lnTo>
                  <a:lnTo>
                    <a:pt x="48595" y="50805"/>
                  </a:lnTo>
                  <a:lnTo>
                    <a:pt x="55869" y="49068"/>
                  </a:lnTo>
                  <a:lnTo>
                    <a:pt x="56990" y="46874"/>
                  </a:lnTo>
                  <a:lnTo>
                    <a:pt x="58695" y="47853"/>
                  </a:lnTo>
                  <a:lnTo>
                    <a:pt x="61481" y="46156"/>
                  </a:lnTo>
                  <a:lnTo>
                    <a:pt x="63817" y="46634"/>
                  </a:lnTo>
                  <a:lnTo>
                    <a:pt x="67252" y="44863"/>
                  </a:lnTo>
                  <a:lnTo>
                    <a:pt x="68389" y="42618"/>
                  </a:lnTo>
                  <a:lnTo>
                    <a:pt x="69071" y="39697"/>
                  </a:lnTo>
                  <a:lnTo>
                    <a:pt x="72891" y="35538"/>
                  </a:lnTo>
                  <a:lnTo>
                    <a:pt x="77372" y="32479"/>
                  </a:lnTo>
                  <a:lnTo>
                    <a:pt x="79467" y="28873"/>
                  </a:lnTo>
                  <a:lnTo>
                    <a:pt x="83962" y="24633"/>
                  </a:lnTo>
                  <a:lnTo>
                    <a:pt x="87466" y="19344"/>
                  </a:lnTo>
                  <a:lnTo>
                    <a:pt x="89143" y="21372"/>
                  </a:lnTo>
                  <a:lnTo>
                    <a:pt x="91152" y="23269"/>
                  </a:lnTo>
                  <a:lnTo>
                    <a:pt x="93988" y="22443"/>
                  </a:lnTo>
                  <a:lnTo>
                    <a:pt x="95592" y="20237"/>
                  </a:lnTo>
                  <a:lnTo>
                    <a:pt x="98355" y="17254"/>
                  </a:lnTo>
                  <a:lnTo>
                    <a:pt x="101488" y="13852"/>
                  </a:lnTo>
                  <a:lnTo>
                    <a:pt x="102405" y="14947"/>
                  </a:lnTo>
                  <a:lnTo>
                    <a:pt x="106079" y="11892"/>
                  </a:lnTo>
                  <a:lnTo>
                    <a:pt x="110596" y="8840"/>
                  </a:lnTo>
                  <a:lnTo>
                    <a:pt x="113603" y="6496"/>
                  </a:lnTo>
                  <a:lnTo>
                    <a:pt x="117223" y="0"/>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48" name="Polygon form 312"/>
            <p:cNvSpPr/>
            <p:nvPr/>
          </p:nvSpPr>
          <p:spPr>
            <a:xfrm>
              <a:off x="2599662" y="3098895"/>
              <a:ext cx="17416" cy="19231"/>
            </a:xfrm>
            <a:custGeom>
              <a:avLst/>
              <a:gdLst/>
              <a:ahLst/>
              <a:cxnLst/>
              <a:rect l="0" t="0" r="0" b="0"/>
              <a:pathLst>
                <a:path w="17416" h="19231">
                  <a:moveTo>
                    <a:pt x="17416" y="0"/>
                  </a:moveTo>
                  <a:lnTo>
                    <a:pt x="1306" y="19231"/>
                  </a:lnTo>
                  <a:lnTo>
                    <a:pt x="0" y="18176"/>
                  </a:lnTo>
                  <a:lnTo>
                    <a:pt x="10735" y="1644"/>
                  </a:lnTo>
                  <a:lnTo>
                    <a:pt x="13204" y="185"/>
                  </a:lnTo>
                  <a:lnTo>
                    <a:pt x="17416" y="0"/>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49" name="Polygon form 313"/>
            <p:cNvSpPr/>
            <p:nvPr/>
          </p:nvSpPr>
          <p:spPr>
            <a:xfrm>
              <a:off x="1947474" y="2777148"/>
              <a:ext cx="133656" cy="182930"/>
            </a:xfrm>
            <a:custGeom>
              <a:avLst/>
              <a:gdLst/>
              <a:ahLst/>
              <a:cxnLst/>
              <a:rect l="0" t="0" r="0" b="0"/>
              <a:pathLst>
                <a:path w="133656" h="182930">
                  <a:moveTo>
                    <a:pt x="133656" y="120839"/>
                  </a:moveTo>
                  <a:lnTo>
                    <a:pt x="99139" y="182930"/>
                  </a:lnTo>
                  <a:lnTo>
                    <a:pt x="49460" y="178827"/>
                  </a:lnTo>
                  <a:lnTo>
                    <a:pt x="0" y="174168"/>
                  </a:lnTo>
                  <a:lnTo>
                    <a:pt x="26547" y="129119"/>
                  </a:lnTo>
                  <a:lnTo>
                    <a:pt x="32228" y="122149"/>
                  </a:lnTo>
                  <a:lnTo>
                    <a:pt x="32880" y="118770"/>
                  </a:lnTo>
                  <a:lnTo>
                    <a:pt x="30882" y="116787"/>
                  </a:lnTo>
                  <a:lnTo>
                    <a:pt x="33344" y="112798"/>
                  </a:lnTo>
                  <a:lnTo>
                    <a:pt x="39077" y="107352"/>
                  </a:lnTo>
                  <a:lnTo>
                    <a:pt x="45573" y="102752"/>
                  </a:lnTo>
                  <a:lnTo>
                    <a:pt x="52828" y="94931"/>
                  </a:lnTo>
                  <a:lnTo>
                    <a:pt x="58962" y="88725"/>
                  </a:lnTo>
                  <a:lnTo>
                    <a:pt x="62596" y="85644"/>
                  </a:lnTo>
                  <a:lnTo>
                    <a:pt x="64103" y="81783"/>
                  </a:lnTo>
                  <a:lnTo>
                    <a:pt x="62689" y="79508"/>
                  </a:lnTo>
                  <a:lnTo>
                    <a:pt x="61950" y="74349"/>
                  </a:lnTo>
                  <a:lnTo>
                    <a:pt x="64888" y="69946"/>
                  </a:lnTo>
                  <a:lnTo>
                    <a:pt x="65848" y="66018"/>
                  </a:lnTo>
                  <a:lnTo>
                    <a:pt x="87850" y="31479"/>
                  </a:lnTo>
                  <a:lnTo>
                    <a:pt x="108971" y="0"/>
                  </a:lnTo>
                  <a:lnTo>
                    <a:pt x="124165" y="1539"/>
                  </a:lnTo>
                  <a:lnTo>
                    <a:pt x="108114" y="27536"/>
                  </a:lnTo>
                  <a:lnTo>
                    <a:pt x="107929" y="34510"/>
                  </a:lnTo>
                  <a:lnTo>
                    <a:pt x="105022" y="38955"/>
                  </a:lnTo>
                  <a:lnTo>
                    <a:pt x="105378" y="43196"/>
                  </a:lnTo>
                  <a:lnTo>
                    <a:pt x="107498" y="45899"/>
                  </a:lnTo>
                  <a:lnTo>
                    <a:pt x="107664" y="49994"/>
                  </a:lnTo>
                  <a:lnTo>
                    <a:pt x="107191" y="58076"/>
                  </a:lnTo>
                  <a:lnTo>
                    <a:pt x="109008" y="62065"/>
                  </a:lnTo>
                  <a:lnTo>
                    <a:pt x="113638" y="62764"/>
                  </a:lnTo>
                  <a:lnTo>
                    <a:pt x="108458" y="68091"/>
                  </a:lnTo>
                  <a:lnTo>
                    <a:pt x="102845" y="74464"/>
                  </a:lnTo>
                  <a:lnTo>
                    <a:pt x="100240" y="80976"/>
                  </a:lnTo>
                  <a:lnTo>
                    <a:pt x="97391" y="82401"/>
                  </a:lnTo>
                  <a:lnTo>
                    <a:pt x="93645" y="88780"/>
                  </a:lnTo>
                  <a:lnTo>
                    <a:pt x="95005" y="91512"/>
                  </a:lnTo>
                  <a:lnTo>
                    <a:pt x="99976" y="88854"/>
                  </a:lnTo>
                  <a:lnTo>
                    <a:pt x="103749" y="85512"/>
                  </a:lnTo>
                  <a:lnTo>
                    <a:pt x="105281" y="86380"/>
                  </a:lnTo>
                  <a:lnTo>
                    <a:pt x="105118" y="89980"/>
                  </a:lnTo>
                  <a:lnTo>
                    <a:pt x="102208" y="98006"/>
                  </a:lnTo>
                  <a:lnTo>
                    <a:pt x="103200" y="101379"/>
                  </a:lnTo>
                  <a:lnTo>
                    <a:pt x="100345" y="107980"/>
                  </a:lnTo>
                  <a:lnTo>
                    <a:pt x="100250" y="109889"/>
                  </a:lnTo>
                  <a:lnTo>
                    <a:pt x="103189" y="110801"/>
                  </a:lnTo>
                  <a:lnTo>
                    <a:pt x="103040" y="114608"/>
                  </a:lnTo>
                  <a:lnTo>
                    <a:pt x="102127" y="121345"/>
                  </a:lnTo>
                  <a:lnTo>
                    <a:pt x="107143" y="118165"/>
                  </a:lnTo>
                  <a:lnTo>
                    <a:pt x="111934" y="119559"/>
                  </a:lnTo>
                  <a:lnTo>
                    <a:pt x="113791" y="117147"/>
                  </a:lnTo>
                  <a:lnTo>
                    <a:pt x="122061" y="119533"/>
                  </a:lnTo>
                  <a:lnTo>
                    <a:pt x="126250" y="119066"/>
                  </a:lnTo>
                  <a:lnTo>
                    <a:pt x="131423" y="114336"/>
                  </a:lnTo>
                  <a:lnTo>
                    <a:pt x="132786" y="115179"/>
                  </a:lnTo>
                  <a:lnTo>
                    <a:pt x="132352" y="118812"/>
                  </a:lnTo>
                  <a:lnTo>
                    <a:pt x="133336" y="120340"/>
                  </a:lnTo>
                  <a:lnTo>
                    <a:pt x="133656" y="120839"/>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50" name="Polygon form 314"/>
            <p:cNvSpPr/>
            <p:nvPr/>
          </p:nvSpPr>
          <p:spPr>
            <a:xfrm>
              <a:off x="2384569" y="2854893"/>
              <a:ext cx="113335" cy="122544"/>
            </a:xfrm>
            <a:custGeom>
              <a:avLst/>
              <a:gdLst/>
              <a:ahLst/>
              <a:cxnLst/>
              <a:rect l="0" t="0" r="0" b="0"/>
              <a:pathLst>
                <a:path w="113335" h="122544">
                  <a:moveTo>
                    <a:pt x="110796" y="53417"/>
                  </a:moveTo>
                  <a:lnTo>
                    <a:pt x="113335" y="56017"/>
                  </a:lnTo>
                  <a:lnTo>
                    <a:pt x="110036" y="58172"/>
                  </a:lnTo>
                  <a:lnTo>
                    <a:pt x="106804" y="60279"/>
                  </a:lnTo>
                  <a:lnTo>
                    <a:pt x="101700" y="64888"/>
                  </a:lnTo>
                  <a:lnTo>
                    <a:pt x="97137" y="71048"/>
                  </a:lnTo>
                  <a:lnTo>
                    <a:pt x="93044" y="76597"/>
                  </a:lnTo>
                  <a:lnTo>
                    <a:pt x="88229" y="83133"/>
                  </a:lnTo>
                  <a:lnTo>
                    <a:pt x="85223" y="88032"/>
                  </a:lnTo>
                  <a:lnTo>
                    <a:pt x="81759" y="93694"/>
                  </a:lnTo>
                  <a:lnTo>
                    <a:pt x="80783" y="95830"/>
                  </a:lnTo>
                  <a:lnTo>
                    <a:pt x="78025" y="101845"/>
                  </a:lnTo>
                  <a:lnTo>
                    <a:pt x="75605" y="109198"/>
                  </a:lnTo>
                  <a:lnTo>
                    <a:pt x="73596" y="115357"/>
                  </a:lnTo>
                  <a:lnTo>
                    <a:pt x="71279" y="122544"/>
                  </a:lnTo>
                  <a:lnTo>
                    <a:pt x="63678" y="122003"/>
                  </a:lnTo>
                  <a:lnTo>
                    <a:pt x="58326" y="121628"/>
                  </a:lnTo>
                  <a:lnTo>
                    <a:pt x="58299" y="121693"/>
                  </a:lnTo>
                  <a:lnTo>
                    <a:pt x="45360" y="120648"/>
                  </a:lnTo>
                  <a:lnTo>
                    <a:pt x="27732" y="119467"/>
                  </a:lnTo>
                  <a:lnTo>
                    <a:pt x="10481" y="118347"/>
                  </a:lnTo>
                  <a:lnTo>
                    <a:pt x="10492" y="114458"/>
                  </a:lnTo>
                  <a:lnTo>
                    <a:pt x="6029" y="111726"/>
                  </a:lnTo>
                  <a:lnTo>
                    <a:pt x="6680" y="107729"/>
                  </a:lnTo>
                  <a:lnTo>
                    <a:pt x="6977" y="105474"/>
                  </a:lnTo>
                  <a:lnTo>
                    <a:pt x="9242" y="100278"/>
                  </a:lnTo>
                  <a:lnTo>
                    <a:pt x="11581" y="98508"/>
                  </a:lnTo>
                  <a:lnTo>
                    <a:pt x="11161" y="94440"/>
                  </a:lnTo>
                  <a:lnTo>
                    <a:pt x="11529" y="93078"/>
                  </a:lnTo>
                  <a:lnTo>
                    <a:pt x="12346" y="90264"/>
                  </a:lnTo>
                  <a:lnTo>
                    <a:pt x="15004" y="84317"/>
                  </a:lnTo>
                  <a:lnTo>
                    <a:pt x="15395" y="82243"/>
                  </a:lnTo>
                  <a:lnTo>
                    <a:pt x="11435" y="78202"/>
                  </a:lnTo>
                  <a:lnTo>
                    <a:pt x="9204" y="73671"/>
                  </a:lnTo>
                  <a:lnTo>
                    <a:pt x="9266" y="70940"/>
                  </a:lnTo>
                  <a:lnTo>
                    <a:pt x="8183" y="69140"/>
                  </a:lnTo>
                  <a:lnTo>
                    <a:pt x="4464" y="65256"/>
                  </a:lnTo>
                  <a:lnTo>
                    <a:pt x="2585" y="64895"/>
                  </a:lnTo>
                  <a:lnTo>
                    <a:pt x="0" y="59819"/>
                  </a:lnTo>
                  <a:lnTo>
                    <a:pt x="3089" y="54426"/>
                  </a:lnTo>
                  <a:lnTo>
                    <a:pt x="6313" y="47749"/>
                  </a:lnTo>
                  <a:lnTo>
                    <a:pt x="10559" y="41646"/>
                  </a:lnTo>
                  <a:lnTo>
                    <a:pt x="9342" y="36786"/>
                  </a:lnTo>
                  <a:lnTo>
                    <a:pt x="13902" y="32421"/>
                  </a:lnTo>
                  <a:lnTo>
                    <a:pt x="18551" y="30314"/>
                  </a:lnTo>
                  <a:lnTo>
                    <a:pt x="23931" y="27883"/>
                  </a:lnTo>
                  <a:lnTo>
                    <a:pt x="24438" y="27946"/>
                  </a:lnTo>
                  <a:lnTo>
                    <a:pt x="31074" y="14143"/>
                  </a:lnTo>
                  <a:lnTo>
                    <a:pt x="36035" y="13086"/>
                  </a:lnTo>
                  <a:lnTo>
                    <a:pt x="37021" y="12700"/>
                  </a:lnTo>
                  <a:lnTo>
                    <a:pt x="39629" y="11649"/>
                  </a:lnTo>
                  <a:lnTo>
                    <a:pt x="42253" y="10585"/>
                  </a:lnTo>
                  <a:lnTo>
                    <a:pt x="44868" y="9535"/>
                  </a:lnTo>
                  <a:lnTo>
                    <a:pt x="47475" y="8483"/>
                  </a:lnTo>
                  <a:lnTo>
                    <a:pt x="51958" y="6356"/>
                  </a:lnTo>
                  <a:lnTo>
                    <a:pt x="56433" y="4242"/>
                  </a:lnTo>
                  <a:lnTo>
                    <a:pt x="60897" y="2127"/>
                  </a:lnTo>
                  <a:lnTo>
                    <a:pt x="65373" y="0"/>
                  </a:lnTo>
                  <a:lnTo>
                    <a:pt x="68133" y="330"/>
                  </a:lnTo>
                  <a:lnTo>
                    <a:pt x="70887" y="674"/>
                  </a:lnTo>
                  <a:lnTo>
                    <a:pt x="73648" y="1003"/>
                  </a:lnTo>
                  <a:lnTo>
                    <a:pt x="76404" y="1346"/>
                  </a:lnTo>
                  <a:lnTo>
                    <a:pt x="74425" y="3422"/>
                  </a:lnTo>
                  <a:lnTo>
                    <a:pt x="72448" y="5512"/>
                  </a:lnTo>
                  <a:lnTo>
                    <a:pt x="70473" y="7603"/>
                  </a:lnTo>
                  <a:lnTo>
                    <a:pt x="68490" y="9692"/>
                  </a:lnTo>
                  <a:lnTo>
                    <a:pt x="66516" y="11784"/>
                  </a:lnTo>
                  <a:lnTo>
                    <a:pt x="64541" y="13862"/>
                  </a:lnTo>
                  <a:lnTo>
                    <a:pt x="62568" y="15954"/>
                  </a:lnTo>
                  <a:lnTo>
                    <a:pt x="61189" y="17416"/>
                  </a:lnTo>
                  <a:lnTo>
                    <a:pt x="60610" y="18074"/>
                  </a:lnTo>
                  <a:lnTo>
                    <a:pt x="60740" y="18284"/>
                  </a:lnTo>
                  <a:lnTo>
                    <a:pt x="61997" y="17849"/>
                  </a:lnTo>
                  <a:lnTo>
                    <a:pt x="61976" y="17928"/>
                  </a:lnTo>
                  <a:lnTo>
                    <a:pt x="64153" y="18914"/>
                  </a:lnTo>
                  <a:lnTo>
                    <a:pt x="63338" y="23424"/>
                  </a:lnTo>
                  <a:lnTo>
                    <a:pt x="75581" y="28808"/>
                  </a:lnTo>
                  <a:lnTo>
                    <a:pt x="82971" y="33874"/>
                  </a:lnTo>
                  <a:lnTo>
                    <a:pt x="87598" y="34227"/>
                  </a:lnTo>
                  <a:lnTo>
                    <a:pt x="90654" y="34755"/>
                  </a:lnTo>
                  <a:lnTo>
                    <a:pt x="89684" y="38858"/>
                  </a:lnTo>
                  <a:lnTo>
                    <a:pt x="92860" y="40680"/>
                  </a:lnTo>
                  <a:lnTo>
                    <a:pt x="92734" y="44223"/>
                  </a:lnTo>
                  <a:lnTo>
                    <a:pt x="90823" y="46133"/>
                  </a:lnTo>
                  <a:lnTo>
                    <a:pt x="88245" y="50077"/>
                  </a:lnTo>
                  <a:lnTo>
                    <a:pt x="91785" y="50538"/>
                  </a:lnTo>
                  <a:lnTo>
                    <a:pt x="88762" y="54413"/>
                  </a:lnTo>
                  <a:lnTo>
                    <a:pt x="89659" y="57460"/>
                  </a:lnTo>
                  <a:lnTo>
                    <a:pt x="89694" y="57423"/>
                  </a:lnTo>
                  <a:lnTo>
                    <a:pt x="91770" y="58631"/>
                  </a:lnTo>
                  <a:lnTo>
                    <a:pt x="93712" y="55824"/>
                  </a:lnTo>
                  <a:lnTo>
                    <a:pt x="97788" y="53412"/>
                  </a:lnTo>
                  <a:lnTo>
                    <a:pt x="101730" y="49559"/>
                  </a:lnTo>
                  <a:lnTo>
                    <a:pt x="104593" y="49747"/>
                  </a:lnTo>
                  <a:lnTo>
                    <a:pt x="107376" y="49929"/>
                  </a:lnTo>
                  <a:lnTo>
                    <a:pt x="110796" y="53417"/>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51" name="Polygon form 315"/>
            <p:cNvSpPr/>
            <p:nvPr/>
          </p:nvSpPr>
          <p:spPr>
            <a:xfrm>
              <a:off x="2491286" y="3029601"/>
              <a:ext cx="95241" cy="84117"/>
            </a:xfrm>
            <a:custGeom>
              <a:avLst/>
              <a:gdLst/>
              <a:ahLst/>
              <a:cxnLst/>
              <a:rect l="0" t="0" r="0" b="0"/>
              <a:pathLst>
                <a:path w="95241" h="84117">
                  <a:moveTo>
                    <a:pt x="95241" y="35058"/>
                  </a:moveTo>
                  <a:lnTo>
                    <a:pt x="91714" y="39592"/>
                  </a:lnTo>
                  <a:lnTo>
                    <a:pt x="85081" y="32458"/>
                  </a:lnTo>
                  <a:lnTo>
                    <a:pt x="81462" y="38954"/>
                  </a:lnTo>
                  <a:lnTo>
                    <a:pt x="78454" y="41298"/>
                  </a:lnTo>
                  <a:lnTo>
                    <a:pt x="73937" y="44350"/>
                  </a:lnTo>
                  <a:lnTo>
                    <a:pt x="70264" y="47405"/>
                  </a:lnTo>
                  <a:lnTo>
                    <a:pt x="69346" y="46309"/>
                  </a:lnTo>
                  <a:lnTo>
                    <a:pt x="66213" y="49712"/>
                  </a:lnTo>
                  <a:lnTo>
                    <a:pt x="63450" y="52695"/>
                  </a:lnTo>
                  <a:lnTo>
                    <a:pt x="61846" y="54901"/>
                  </a:lnTo>
                  <a:lnTo>
                    <a:pt x="59010" y="55727"/>
                  </a:lnTo>
                  <a:lnTo>
                    <a:pt x="57002" y="53830"/>
                  </a:lnTo>
                  <a:lnTo>
                    <a:pt x="55324" y="51802"/>
                  </a:lnTo>
                  <a:lnTo>
                    <a:pt x="51820" y="57090"/>
                  </a:lnTo>
                  <a:lnTo>
                    <a:pt x="47326" y="61331"/>
                  </a:lnTo>
                  <a:lnTo>
                    <a:pt x="45231" y="64937"/>
                  </a:lnTo>
                  <a:lnTo>
                    <a:pt x="40749" y="67996"/>
                  </a:lnTo>
                  <a:lnTo>
                    <a:pt x="36930" y="72155"/>
                  </a:lnTo>
                  <a:lnTo>
                    <a:pt x="36247" y="75076"/>
                  </a:lnTo>
                  <a:lnTo>
                    <a:pt x="35110" y="77321"/>
                  </a:lnTo>
                  <a:lnTo>
                    <a:pt x="31675" y="79091"/>
                  </a:lnTo>
                  <a:lnTo>
                    <a:pt x="29339" y="78614"/>
                  </a:lnTo>
                  <a:lnTo>
                    <a:pt x="26553" y="80311"/>
                  </a:lnTo>
                  <a:lnTo>
                    <a:pt x="24849" y="79332"/>
                  </a:lnTo>
                  <a:lnTo>
                    <a:pt x="23727" y="81526"/>
                  </a:lnTo>
                  <a:lnTo>
                    <a:pt x="16453" y="83263"/>
                  </a:lnTo>
                  <a:lnTo>
                    <a:pt x="14918" y="81412"/>
                  </a:lnTo>
                  <a:lnTo>
                    <a:pt x="8350" y="84117"/>
                  </a:lnTo>
                  <a:lnTo>
                    <a:pt x="6341" y="81987"/>
                  </a:lnTo>
                  <a:lnTo>
                    <a:pt x="5111" y="79644"/>
                  </a:lnTo>
                  <a:lnTo>
                    <a:pt x="5756" y="75396"/>
                  </a:lnTo>
                  <a:lnTo>
                    <a:pt x="2484" y="74760"/>
                  </a:lnTo>
                  <a:lnTo>
                    <a:pt x="1751" y="71667"/>
                  </a:lnTo>
                  <a:lnTo>
                    <a:pt x="289" y="68322"/>
                  </a:lnTo>
                  <a:lnTo>
                    <a:pt x="744" y="64517"/>
                  </a:lnTo>
                  <a:lnTo>
                    <a:pt x="0" y="60541"/>
                  </a:lnTo>
                  <a:lnTo>
                    <a:pt x="1979" y="55428"/>
                  </a:lnTo>
                  <a:lnTo>
                    <a:pt x="2475" y="53053"/>
                  </a:lnTo>
                  <a:lnTo>
                    <a:pt x="7039" y="52655"/>
                  </a:lnTo>
                  <a:lnTo>
                    <a:pt x="10523" y="49346"/>
                  </a:lnTo>
                  <a:lnTo>
                    <a:pt x="12738" y="43876"/>
                  </a:lnTo>
                  <a:lnTo>
                    <a:pt x="17099" y="38641"/>
                  </a:lnTo>
                  <a:lnTo>
                    <a:pt x="19247" y="39370"/>
                  </a:lnTo>
                  <a:lnTo>
                    <a:pt x="18490" y="42143"/>
                  </a:lnTo>
                  <a:lnTo>
                    <a:pt x="20389" y="41244"/>
                  </a:lnTo>
                  <a:lnTo>
                    <a:pt x="21786" y="38865"/>
                  </a:lnTo>
                  <a:lnTo>
                    <a:pt x="24083" y="34443"/>
                  </a:lnTo>
                  <a:lnTo>
                    <a:pt x="29477" y="30400"/>
                  </a:lnTo>
                  <a:lnTo>
                    <a:pt x="31390" y="31062"/>
                  </a:lnTo>
                  <a:lnTo>
                    <a:pt x="33985" y="30495"/>
                  </a:lnTo>
                  <a:lnTo>
                    <a:pt x="36420" y="29399"/>
                  </a:lnTo>
                  <a:lnTo>
                    <a:pt x="43157" y="24018"/>
                  </a:lnTo>
                  <a:lnTo>
                    <a:pt x="44362" y="21486"/>
                  </a:lnTo>
                  <a:lnTo>
                    <a:pt x="47955" y="16247"/>
                  </a:lnTo>
                  <a:lnTo>
                    <a:pt x="52061" y="9918"/>
                  </a:lnTo>
                  <a:lnTo>
                    <a:pt x="54928" y="4282"/>
                  </a:lnTo>
                  <a:lnTo>
                    <a:pt x="55341" y="1110"/>
                  </a:lnTo>
                  <a:lnTo>
                    <a:pt x="58186" y="0"/>
                  </a:lnTo>
                  <a:lnTo>
                    <a:pt x="49993" y="22705"/>
                  </a:lnTo>
                  <a:lnTo>
                    <a:pt x="68084" y="23660"/>
                  </a:lnTo>
                  <a:lnTo>
                    <a:pt x="63569" y="36175"/>
                  </a:lnTo>
                  <a:lnTo>
                    <a:pt x="67009" y="34107"/>
                  </a:lnTo>
                  <a:lnTo>
                    <a:pt x="70983" y="31414"/>
                  </a:lnTo>
                  <a:lnTo>
                    <a:pt x="74769" y="30613"/>
                  </a:lnTo>
                  <a:lnTo>
                    <a:pt x="77995" y="28149"/>
                  </a:lnTo>
                  <a:lnTo>
                    <a:pt x="82792" y="29406"/>
                  </a:lnTo>
                  <a:lnTo>
                    <a:pt x="85320" y="27676"/>
                  </a:lnTo>
                  <a:lnTo>
                    <a:pt x="89315" y="25982"/>
                  </a:lnTo>
                  <a:lnTo>
                    <a:pt x="94020" y="28214"/>
                  </a:lnTo>
                  <a:lnTo>
                    <a:pt x="94935" y="31844"/>
                  </a:lnTo>
                  <a:lnTo>
                    <a:pt x="95241" y="35058"/>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52" name="Polygon form 316"/>
            <p:cNvSpPr/>
            <p:nvPr/>
          </p:nvSpPr>
          <p:spPr>
            <a:xfrm>
              <a:off x="2614561" y="3053555"/>
              <a:ext cx="16262" cy="34932"/>
            </a:xfrm>
            <a:custGeom>
              <a:avLst/>
              <a:gdLst/>
              <a:ahLst/>
              <a:cxnLst/>
              <a:rect l="0" t="0" r="0" b="0"/>
              <a:pathLst>
                <a:path w="16262" h="34932">
                  <a:moveTo>
                    <a:pt x="10990" y="22110"/>
                  </a:moveTo>
                  <a:lnTo>
                    <a:pt x="13917" y="26701"/>
                  </a:lnTo>
                  <a:lnTo>
                    <a:pt x="11698" y="34932"/>
                  </a:lnTo>
                  <a:lnTo>
                    <a:pt x="0" y="34360"/>
                  </a:lnTo>
                  <a:lnTo>
                    <a:pt x="9019" y="2905"/>
                  </a:lnTo>
                  <a:lnTo>
                    <a:pt x="11004" y="1030"/>
                  </a:lnTo>
                  <a:lnTo>
                    <a:pt x="12939" y="0"/>
                  </a:lnTo>
                  <a:lnTo>
                    <a:pt x="16262" y="1461"/>
                  </a:lnTo>
                  <a:lnTo>
                    <a:pt x="12818" y="3901"/>
                  </a:lnTo>
                  <a:lnTo>
                    <a:pt x="11705" y="8665"/>
                  </a:lnTo>
                  <a:lnTo>
                    <a:pt x="10990" y="22110"/>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53" name="Polygon form 317"/>
            <p:cNvSpPr/>
            <p:nvPr/>
          </p:nvSpPr>
          <p:spPr>
            <a:xfrm>
              <a:off x="2593847" y="3073647"/>
              <a:ext cx="3184" cy="4748"/>
            </a:xfrm>
            <a:custGeom>
              <a:avLst/>
              <a:gdLst/>
              <a:ahLst/>
              <a:cxnLst/>
              <a:rect l="0" t="0" r="0" b="0"/>
              <a:pathLst>
                <a:path w="3184" h="4748">
                  <a:moveTo>
                    <a:pt x="3184" y="2667"/>
                  </a:moveTo>
                  <a:lnTo>
                    <a:pt x="189" y="4748"/>
                  </a:lnTo>
                  <a:lnTo>
                    <a:pt x="752" y="3303"/>
                  </a:lnTo>
                  <a:lnTo>
                    <a:pt x="0" y="1117"/>
                  </a:lnTo>
                  <a:lnTo>
                    <a:pt x="1811" y="0"/>
                  </a:lnTo>
                  <a:lnTo>
                    <a:pt x="3184" y="2667"/>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54" name="Polygon form 318"/>
            <p:cNvSpPr/>
            <p:nvPr/>
          </p:nvSpPr>
          <p:spPr>
            <a:xfrm>
              <a:off x="2554856" y="3053261"/>
              <a:ext cx="71403" cy="47279"/>
            </a:xfrm>
            <a:custGeom>
              <a:avLst/>
              <a:gdLst/>
              <a:ahLst/>
              <a:cxnLst/>
              <a:rect l="0" t="0" r="0" b="0"/>
              <a:pathLst>
                <a:path w="71403" h="47279">
                  <a:moveTo>
                    <a:pt x="71403" y="35226"/>
                  </a:moveTo>
                  <a:lnTo>
                    <a:pt x="70906" y="36319"/>
                  </a:lnTo>
                  <a:lnTo>
                    <a:pt x="62222" y="45634"/>
                  </a:lnTo>
                  <a:lnTo>
                    <a:pt x="58010" y="45819"/>
                  </a:lnTo>
                  <a:lnTo>
                    <a:pt x="55541" y="47279"/>
                  </a:lnTo>
                  <a:lnTo>
                    <a:pt x="49568" y="37424"/>
                  </a:lnTo>
                  <a:lnTo>
                    <a:pt x="54213" y="16844"/>
                  </a:lnTo>
                  <a:lnTo>
                    <a:pt x="47327" y="27336"/>
                  </a:lnTo>
                  <a:lnTo>
                    <a:pt x="45998" y="43162"/>
                  </a:lnTo>
                  <a:lnTo>
                    <a:pt x="35629" y="38740"/>
                  </a:lnTo>
                  <a:lnTo>
                    <a:pt x="35740" y="35217"/>
                  </a:lnTo>
                  <a:lnTo>
                    <a:pt x="32536" y="36148"/>
                  </a:lnTo>
                  <a:lnTo>
                    <a:pt x="30646" y="34689"/>
                  </a:lnTo>
                  <a:lnTo>
                    <a:pt x="34451" y="29290"/>
                  </a:lnTo>
                  <a:lnTo>
                    <a:pt x="38204" y="27115"/>
                  </a:lnTo>
                  <a:lnTo>
                    <a:pt x="39179" y="25134"/>
                  </a:lnTo>
                  <a:lnTo>
                    <a:pt x="42175" y="23053"/>
                  </a:lnTo>
                  <a:lnTo>
                    <a:pt x="40802" y="20386"/>
                  </a:lnTo>
                  <a:lnTo>
                    <a:pt x="38991" y="21503"/>
                  </a:lnTo>
                  <a:lnTo>
                    <a:pt x="36653" y="18588"/>
                  </a:lnTo>
                  <a:lnTo>
                    <a:pt x="33462" y="16916"/>
                  </a:lnTo>
                  <a:lnTo>
                    <a:pt x="35638" y="14331"/>
                  </a:lnTo>
                  <a:lnTo>
                    <a:pt x="33945" y="12362"/>
                  </a:lnTo>
                  <a:lnTo>
                    <a:pt x="31671" y="11398"/>
                  </a:lnTo>
                  <a:lnTo>
                    <a:pt x="31366" y="8185"/>
                  </a:lnTo>
                  <a:lnTo>
                    <a:pt x="30450" y="4554"/>
                  </a:lnTo>
                  <a:lnTo>
                    <a:pt x="25745" y="2322"/>
                  </a:lnTo>
                  <a:lnTo>
                    <a:pt x="21750" y="4016"/>
                  </a:lnTo>
                  <a:lnTo>
                    <a:pt x="19222" y="5746"/>
                  </a:lnTo>
                  <a:lnTo>
                    <a:pt x="14425" y="4490"/>
                  </a:lnTo>
                  <a:lnTo>
                    <a:pt x="11200" y="6953"/>
                  </a:lnTo>
                  <a:lnTo>
                    <a:pt x="7414" y="7754"/>
                  </a:lnTo>
                  <a:lnTo>
                    <a:pt x="3440" y="10447"/>
                  </a:lnTo>
                  <a:lnTo>
                    <a:pt x="0" y="12516"/>
                  </a:lnTo>
                  <a:lnTo>
                    <a:pt x="4515" y="0"/>
                  </a:lnTo>
                  <a:lnTo>
                    <a:pt x="20630" y="864"/>
                  </a:lnTo>
                  <a:lnTo>
                    <a:pt x="26155" y="1109"/>
                  </a:lnTo>
                  <a:lnTo>
                    <a:pt x="38533" y="1634"/>
                  </a:lnTo>
                  <a:lnTo>
                    <a:pt x="53373" y="2502"/>
                  </a:lnTo>
                  <a:lnTo>
                    <a:pt x="68724" y="3199"/>
                  </a:lnTo>
                  <a:lnTo>
                    <a:pt x="59705" y="34655"/>
                  </a:lnTo>
                  <a:lnTo>
                    <a:pt x="71403" y="35226"/>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55" name="Polygon form 319"/>
            <p:cNvSpPr/>
            <p:nvPr/>
          </p:nvSpPr>
          <p:spPr>
            <a:xfrm>
              <a:off x="2626267" y="3017279"/>
              <a:ext cx="40050" cy="59243"/>
            </a:xfrm>
            <a:custGeom>
              <a:avLst/>
              <a:gdLst/>
              <a:ahLst/>
              <a:cxnLst/>
              <a:rect l="0" t="0" r="0" b="0"/>
              <a:pathLst>
                <a:path w="40050" h="59243">
                  <a:moveTo>
                    <a:pt x="40050" y="10370"/>
                  </a:moveTo>
                  <a:lnTo>
                    <a:pt x="37636" y="15483"/>
                  </a:lnTo>
                  <a:lnTo>
                    <a:pt x="30080" y="22042"/>
                  </a:lnTo>
                  <a:lnTo>
                    <a:pt x="34809" y="23416"/>
                  </a:lnTo>
                  <a:lnTo>
                    <a:pt x="25232" y="40901"/>
                  </a:lnTo>
                  <a:lnTo>
                    <a:pt x="6366" y="59243"/>
                  </a:lnTo>
                  <a:lnTo>
                    <a:pt x="7113" y="52846"/>
                  </a:lnTo>
                  <a:lnTo>
                    <a:pt x="3691" y="51384"/>
                  </a:lnTo>
                  <a:lnTo>
                    <a:pt x="0" y="44942"/>
                  </a:lnTo>
                  <a:lnTo>
                    <a:pt x="1112" y="40177"/>
                  </a:lnTo>
                  <a:lnTo>
                    <a:pt x="4556" y="37738"/>
                  </a:lnTo>
                  <a:lnTo>
                    <a:pt x="8871" y="35660"/>
                  </a:lnTo>
                  <a:lnTo>
                    <a:pt x="10635" y="34185"/>
                  </a:lnTo>
                  <a:lnTo>
                    <a:pt x="15842" y="31132"/>
                  </a:lnTo>
                  <a:lnTo>
                    <a:pt x="18970" y="28561"/>
                  </a:lnTo>
                  <a:lnTo>
                    <a:pt x="15645" y="21926"/>
                  </a:lnTo>
                  <a:lnTo>
                    <a:pt x="16223" y="19308"/>
                  </a:lnTo>
                  <a:lnTo>
                    <a:pt x="14606" y="18446"/>
                  </a:lnTo>
                  <a:lnTo>
                    <a:pt x="16035" y="14495"/>
                  </a:lnTo>
                  <a:lnTo>
                    <a:pt x="19083" y="11590"/>
                  </a:lnTo>
                  <a:lnTo>
                    <a:pt x="19256" y="8344"/>
                  </a:lnTo>
                  <a:lnTo>
                    <a:pt x="22757" y="6323"/>
                  </a:lnTo>
                  <a:lnTo>
                    <a:pt x="27661" y="973"/>
                  </a:lnTo>
                  <a:lnTo>
                    <a:pt x="30139" y="0"/>
                  </a:lnTo>
                  <a:lnTo>
                    <a:pt x="40050" y="10370"/>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56" name="Polygon form 320"/>
            <p:cNvSpPr/>
            <p:nvPr/>
          </p:nvSpPr>
          <p:spPr>
            <a:xfrm>
              <a:off x="2574917" y="2927725"/>
              <a:ext cx="136261" cy="108517"/>
            </a:xfrm>
            <a:custGeom>
              <a:avLst/>
              <a:gdLst/>
              <a:ahLst/>
              <a:cxnLst/>
              <a:rect l="0" t="0" r="0" b="0"/>
              <a:pathLst>
                <a:path w="136261" h="108517">
                  <a:moveTo>
                    <a:pt x="81489" y="89554"/>
                  </a:moveTo>
                  <a:lnTo>
                    <a:pt x="79310" y="87672"/>
                  </a:lnTo>
                  <a:lnTo>
                    <a:pt x="76969" y="85820"/>
                  </a:lnTo>
                  <a:lnTo>
                    <a:pt x="77104" y="82189"/>
                  </a:lnTo>
                  <a:lnTo>
                    <a:pt x="78504" y="79508"/>
                  </a:lnTo>
                  <a:lnTo>
                    <a:pt x="77240" y="77181"/>
                  </a:lnTo>
                  <a:lnTo>
                    <a:pt x="74873" y="73129"/>
                  </a:lnTo>
                  <a:lnTo>
                    <a:pt x="51613" y="71878"/>
                  </a:lnTo>
                  <a:lnTo>
                    <a:pt x="26670" y="70564"/>
                  </a:lnTo>
                  <a:lnTo>
                    <a:pt x="0" y="69110"/>
                  </a:lnTo>
                  <a:lnTo>
                    <a:pt x="4657" y="56806"/>
                  </a:lnTo>
                  <a:lnTo>
                    <a:pt x="4872" y="55642"/>
                  </a:lnTo>
                  <a:lnTo>
                    <a:pt x="22023" y="48643"/>
                  </a:lnTo>
                  <a:lnTo>
                    <a:pt x="23308" y="46165"/>
                  </a:lnTo>
                  <a:lnTo>
                    <a:pt x="24650" y="38590"/>
                  </a:lnTo>
                  <a:lnTo>
                    <a:pt x="23779" y="33614"/>
                  </a:lnTo>
                  <a:lnTo>
                    <a:pt x="27222" y="32280"/>
                  </a:lnTo>
                  <a:lnTo>
                    <a:pt x="30404" y="31051"/>
                  </a:lnTo>
                  <a:lnTo>
                    <a:pt x="32921" y="30143"/>
                  </a:lnTo>
                  <a:lnTo>
                    <a:pt x="65082" y="31826"/>
                  </a:lnTo>
                  <a:lnTo>
                    <a:pt x="68615" y="28110"/>
                  </a:lnTo>
                  <a:lnTo>
                    <a:pt x="71777" y="24799"/>
                  </a:lnTo>
                  <a:lnTo>
                    <a:pt x="74110" y="22563"/>
                  </a:lnTo>
                  <a:lnTo>
                    <a:pt x="76943" y="20770"/>
                  </a:lnTo>
                  <a:lnTo>
                    <a:pt x="101437" y="4098"/>
                  </a:lnTo>
                  <a:lnTo>
                    <a:pt x="110726" y="0"/>
                  </a:lnTo>
                  <a:lnTo>
                    <a:pt x="136261" y="1193"/>
                  </a:lnTo>
                  <a:lnTo>
                    <a:pt x="134069" y="6133"/>
                  </a:lnTo>
                  <a:lnTo>
                    <a:pt x="132235" y="9245"/>
                  </a:lnTo>
                  <a:lnTo>
                    <a:pt x="129955" y="16531"/>
                  </a:lnTo>
                  <a:lnTo>
                    <a:pt x="129516" y="20311"/>
                  </a:lnTo>
                  <a:lnTo>
                    <a:pt x="125970" y="25289"/>
                  </a:lnTo>
                  <a:lnTo>
                    <a:pt x="125198" y="31771"/>
                  </a:lnTo>
                  <a:lnTo>
                    <a:pt x="122841" y="35268"/>
                  </a:lnTo>
                  <a:lnTo>
                    <a:pt x="122819" y="36217"/>
                  </a:lnTo>
                  <a:lnTo>
                    <a:pt x="125187" y="36524"/>
                  </a:lnTo>
                  <a:lnTo>
                    <a:pt x="117295" y="56694"/>
                  </a:lnTo>
                  <a:lnTo>
                    <a:pt x="107715" y="73408"/>
                  </a:lnTo>
                  <a:lnTo>
                    <a:pt x="100339" y="92132"/>
                  </a:lnTo>
                  <a:lnTo>
                    <a:pt x="100983" y="94291"/>
                  </a:lnTo>
                  <a:lnTo>
                    <a:pt x="96421" y="96497"/>
                  </a:lnTo>
                  <a:lnTo>
                    <a:pt x="96032" y="99530"/>
                  </a:lnTo>
                  <a:lnTo>
                    <a:pt x="95934" y="100282"/>
                  </a:lnTo>
                  <a:lnTo>
                    <a:pt x="94665" y="100811"/>
                  </a:lnTo>
                  <a:lnTo>
                    <a:pt x="121594" y="97418"/>
                  </a:lnTo>
                  <a:lnTo>
                    <a:pt x="125188" y="102314"/>
                  </a:lnTo>
                  <a:lnTo>
                    <a:pt x="98514" y="108517"/>
                  </a:lnTo>
                  <a:lnTo>
                    <a:pt x="87458" y="108031"/>
                  </a:lnTo>
                  <a:lnTo>
                    <a:pt x="88985" y="105037"/>
                  </a:lnTo>
                  <a:lnTo>
                    <a:pt x="91400" y="99924"/>
                  </a:lnTo>
                  <a:lnTo>
                    <a:pt x="81489" y="89554"/>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357" name="Polygon form 321"/>
            <p:cNvSpPr/>
            <p:nvPr/>
          </p:nvSpPr>
          <p:spPr>
            <a:xfrm>
              <a:off x="2541280" y="2983383"/>
              <a:ext cx="115127" cy="73078"/>
            </a:xfrm>
            <a:custGeom>
              <a:avLst/>
              <a:gdLst/>
              <a:ahLst/>
              <a:cxnLst/>
              <a:rect l="0" t="0" r="0" b="0"/>
              <a:pathLst>
                <a:path w="115127" h="73078">
                  <a:moveTo>
                    <a:pt x="100829" y="65028"/>
                  </a:moveTo>
                  <a:lnTo>
                    <a:pt x="95622" y="68081"/>
                  </a:lnTo>
                  <a:lnTo>
                    <a:pt x="93858" y="69556"/>
                  </a:lnTo>
                  <a:lnTo>
                    <a:pt x="89543" y="71634"/>
                  </a:lnTo>
                  <a:lnTo>
                    <a:pt x="86221" y="70173"/>
                  </a:lnTo>
                  <a:lnTo>
                    <a:pt x="84285" y="71203"/>
                  </a:lnTo>
                  <a:lnTo>
                    <a:pt x="82300" y="73078"/>
                  </a:lnTo>
                  <a:lnTo>
                    <a:pt x="66949" y="72381"/>
                  </a:lnTo>
                  <a:lnTo>
                    <a:pt x="52110" y="71512"/>
                  </a:lnTo>
                  <a:lnTo>
                    <a:pt x="39731" y="70987"/>
                  </a:lnTo>
                  <a:lnTo>
                    <a:pt x="34206" y="70742"/>
                  </a:lnTo>
                  <a:lnTo>
                    <a:pt x="18091" y="69878"/>
                  </a:lnTo>
                  <a:lnTo>
                    <a:pt x="0" y="68924"/>
                  </a:lnTo>
                  <a:lnTo>
                    <a:pt x="8193" y="46219"/>
                  </a:lnTo>
                  <a:lnTo>
                    <a:pt x="23760" y="4751"/>
                  </a:lnTo>
                  <a:lnTo>
                    <a:pt x="23765" y="4738"/>
                  </a:lnTo>
                  <a:lnTo>
                    <a:pt x="28735" y="3978"/>
                  </a:lnTo>
                  <a:lnTo>
                    <a:pt x="38515" y="0"/>
                  </a:lnTo>
                  <a:lnTo>
                    <a:pt x="38295" y="1148"/>
                  </a:lnTo>
                  <a:lnTo>
                    <a:pt x="33638" y="13452"/>
                  </a:lnTo>
                  <a:lnTo>
                    <a:pt x="60308" y="14906"/>
                  </a:lnTo>
                  <a:lnTo>
                    <a:pt x="85251" y="16220"/>
                  </a:lnTo>
                  <a:lnTo>
                    <a:pt x="108510" y="17471"/>
                  </a:lnTo>
                  <a:lnTo>
                    <a:pt x="110878" y="21523"/>
                  </a:lnTo>
                  <a:lnTo>
                    <a:pt x="112142" y="23850"/>
                  </a:lnTo>
                  <a:lnTo>
                    <a:pt x="110742" y="26531"/>
                  </a:lnTo>
                  <a:lnTo>
                    <a:pt x="110606" y="30163"/>
                  </a:lnTo>
                  <a:lnTo>
                    <a:pt x="112948" y="32014"/>
                  </a:lnTo>
                  <a:lnTo>
                    <a:pt x="115127" y="33896"/>
                  </a:lnTo>
                  <a:lnTo>
                    <a:pt x="112648" y="34869"/>
                  </a:lnTo>
                  <a:lnTo>
                    <a:pt x="107744" y="40219"/>
                  </a:lnTo>
                  <a:lnTo>
                    <a:pt x="104244" y="42240"/>
                  </a:lnTo>
                  <a:lnTo>
                    <a:pt x="104070" y="45486"/>
                  </a:lnTo>
                  <a:lnTo>
                    <a:pt x="101022" y="48391"/>
                  </a:lnTo>
                  <a:lnTo>
                    <a:pt x="99593" y="52342"/>
                  </a:lnTo>
                  <a:lnTo>
                    <a:pt x="101211" y="53204"/>
                  </a:lnTo>
                  <a:lnTo>
                    <a:pt x="100632" y="55822"/>
                  </a:lnTo>
                  <a:lnTo>
                    <a:pt x="103957" y="62457"/>
                  </a:lnTo>
                  <a:lnTo>
                    <a:pt x="100829" y="65028"/>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58" name="Polygon form 322"/>
            <p:cNvSpPr/>
            <p:nvPr/>
          </p:nvSpPr>
          <p:spPr>
            <a:xfrm>
              <a:off x="2736739" y="2872901"/>
              <a:ext cx="85566" cy="105417"/>
            </a:xfrm>
            <a:custGeom>
              <a:avLst/>
              <a:gdLst/>
              <a:ahLst/>
              <a:cxnLst/>
              <a:rect l="0" t="0" r="0" b="0"/>
              <a:pathLst>
                <a:path w="85566" h="105417">
                  <a:moveTo>
                    <a:pt x="79902" y="58079"/>
                  </a:moveTo>
                  <a:lnTo>
                    <a:pt x="80094" y="66217"/>
                  </a:lnTo>
                  <a:lnTo>
                    <a:pt x="58050" y="77192"/>
                  </a:lnTo>
                  <a:lnTo>
                    <a:pt x="37779" y="84793"/>
                  </a:lnTo>
                  <a:lnTo>
                    <a:pt x="17379" y="91161"/>
                  </a:lnTo>
                  <a:lnTo>
                    <a:pt x="3389" y="105258"/>
                  </a:lnTo>
                  <a:lnTo>
                    <a:pt x="1510" y="105417"/>
                  </a:lnTo>
                  <a:lnTo>
                    <a:pt x="1886" y="101958"/>
                  </a:lnTo>
                  <a:lnTo>
                    <a:pt x="0" y="98176"/>
                  </a:lnTo>
                  <a:lnTo>
                    <a:pt x="1472" y="95798"/>
                  </a:lnTo>
                  <a:lnTo>
                    <a:pt x="15066" y="50704"/>
                  </a:lnTo>
                  <a:lnTo>
                    <a:pt x="23559" y="47281"/>
                  </a:lnTo>
                  <a:lnTo>
                    <a:pt x="33541" y="36482"/>
                  </a:lnTo>
                  <a:lnTo>
                    <a:pt x="45612" y="17748"/>
                  </a:lnTo>
                  <a:lnTo>
                    <a:pt x="65090" y="0"/>
                  </a:lnTo>
                  <a:lnTo>
                    <a:pt x="68190" y="6690"/>
                  </a:lnTo>
                  <a:lnTo>
                    <a:pt x="80793" y="3113"/>
                  </a:lnTo>
                  <a:lnTo>
                    <a:pt x="85566" y="10508"/>
                  </a:lnTo>
                  <a:lnTo>
                    <a:pt x="73697" y="43758"/>
                  </a:lnTo>
                  <a:lnTo>
                    <a:pt x="79902" y="58079"/>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59" name="Polygon form 323"/>
            <p:cNvSpPr/>
            <p:nvPr/>
          </p:nvSpPr>
          <p:spPr>
            <a:xfrm>
              <a:off x="2445179" y="2833145"/>
              <a:ext cx="115664" cy="167648"/>
            </a:xfrm>
            <a:custGeom>
              <a:avLst/>
              <a:gdLst/>
              <a:ahLst/>
              <a:cxnLst/>
              <a:rect l="0" t="0" r="0" b="0"/>
              <a:pathLst>
                <a:path w="115664" h="167648">
                  <a:moveTo>
                    <a:pt x="578" y="39164"/>
                  </a:moveTo>
                  <a:lnTo>
                    <a:pt x="1958" y="37702"/>
                  </a:lnTo>
                  <a:lnTo>
                    <a:pt x="3930" y="35610"/>
                  </a:lnTo>
                  <a:lnTo>
                    <a:pt x="5905" y="33532"/>
                  </a:lnTo>
                  <a:lnTo>
                    <a:pt x="7879" y="31440"/>
                  </a:lnTo>
                  <a:lnTo>
                    <a:pt x="9862" y="29351"/>
                  </a:lnTo>
                  <a:lnTo>
                    <a:pt x="11838" y="27260"/>
                  </a:lnTo>
                  <a:lnTo>
                    <a:pt x="13814" y="25170"/>
                  </a:lnTo>
                  <a:lnTo>
                    <a:pt x="15793" y="23094"/>
                  </a:lnTo>
                  <a:lnTo>
                    <a:pt x="19801" y="18865"/>
                  </a:lnTo>
                  <a:lnTo>
                    <a:pt x="23805" y="14651"/>
                  </a:lnTo>
                  <a:lnTo>
                    <a:pt x="27804" y="10438"/>
                  </a:lnTo>
                  <a:lnTo>
                    <a:pt x="30992" y="7082"/>
                  </a:lnTo>
                  <a:lnTo>
                    <a:pt x="32204" y="5780"/>
                  </a:lnTo>
                  <a:lnTo>
                    <a:pt x="35744" y="5915"/>
                  </a:lnTo>
                  <a:lnTo>
                    <a:pt x="37487" y="5341"/>
                  </a:lnTo>
                  <a:lnTo>
                    <a:pt x="53603" y="0"/>
                  </a:lnTo>
                  <a:lnTo>
                    <a:pt x="63775" y="9343"/>
                  </a:lnTo>
                  <a:lnTo>
                    <a:pt x="67068" y="12432"/>
                  </a:lnTo>
                  <a:lnTo>
                    <a:pt x="70374" y="15521"/>
                  </a:lnTo>
                  <a:lnTo>
                    <a:pt x="73269" y="18219"/>
                  </a:lnTo>
                  <a:lnTo>
                    <a:pt x="75332" y="20110"/>
                  </a:lnTo>
                  <a:lnTo>
                    <a:pt x="76103" y="20844"/>
                  </a:lnTo>
                  <a:lnTo>
                    <a:pt x="78335" y="23013"/>
                  </a:lnTo>
                  <a:lnTo>
                    <a:pt x="80574" y="25180"/>
                  </a:lnTo>
                  <a:lnTo>
                    <a:pt x="82812" y="27348"/>
                  </a:lnTo>
                  <a:lnTo>
                    <a:pt x="85065" y="29515"/>
                  </a:lnTo>
                  <a:lnTo>
                    <a:pt x="87319" y="31694"/>
                  </a:lnTo>
                  <a:lnTo>
                    <a:pt x="89585" y="33861"/>
                  </a:lnTo>
                  <a:lnTo>
                    <a:pt x="91850" y="36025"/>
                  </a:lnTo>
                  <a:lnTo>
                    <a:pt x="94130" y="38190"/>
                  </a:lnTo>
                  <a:lnTo>
                    <a:pt x="93445" y="41510"/>
                  </a:lnTo>
                  <a:lnTo>
                    <a:pt x="92782" y="44738"/>
                  </a:lnTo>
                  <a:lnTo>
                    <a:pt x="95556" y="47400"/>
                  </a:lnTo>
                  <a:lnTo>
                    <a:pt x="95565" y="47400"/>
                  </a:lnTo>
                  <a:lnTo>
                    <a:pt x="93457" y="49764"/>
                  </a:lnTo>
                  <a:lnTo>
                    <a:pt x="97527" y="50803"/>
                  </a:lnTo>
                  <a:lnTo>
                    <a:pt x="101862" y="48472"/>
                  </a:lnTo>
                  <a:lnTo>
                    <a:pt x="101774" y="49187"/>
                  </a:lnTo>
                  <a:lnTo>
                    <a:pt x="100755" y="51964"/>
                  </a:lnTo>
                  <a:lnTo>
                    <a:pt x="100095" y="54329"/>
                  </a:lnTo>
                  <a:lnTo>
                    <a:pt x="101683" y="58426"/>
                  </a:lnTo>
                  <a:lnTo>
                    <a:pt x="103700" y="58754"/>
                  </a:lnTo>
                  <a:lnTo>
                    <a:pt x="105402" y="58515"/>
                  </a:lnTo>
                  <a:lnTo>
                    <a:pt x="106212" y="58712"/>
                  </a:lnTo>
                  <a:lnTo>
                    <a:pt x="107313" y="61862"/>
                  </a:lnTo>
                  <a:lnTo>
                    <a:pt x="103365" y="66095"/>
                  </a:lnTo>
                  <a:lnTo>
                    <a:pt x="105664" y="68453"/>
                  </a:lnTo>
                  <a:lnTo>
                    <a:pt x="108248" y="71041"/>
                  </a:lnTo>
                  <a:lnTo>
                    <a:pt x="111340" y="74124"/>
                  </a:lnTo>
                  <a:lnTo>
                    <a:pt x="113232" y="76014"/>
                  </a:lnTo>
                  <a:lnTo>
                    <a:pt x="115664" y="78681"/>
                  </a:lnTo>
                  <a:lnTo>
                    <a:pt x="114756" y="82236"/>
                  </a:lnTo>
                  <a:lnTo>
                    <a:pt x="114008" y="85215"/>
                  </a:lnTo>
                  <a:lnTo>
                    <a:pt x="112908" y="89385"/>
                  </a:lnTo>
                  <a:lnTo>
                    <a:pt x="111788" y="93647"/>
                  </a:lnTo>
                  <a:lnTo>
                    <a:pt x="110689" y="97885"/>
                  </a:lnTo>
                  <a:lnTo>
                    <a:pt x="109535" y="102385"/>
                  </a:lnTo>
                  <a:lnTo>
                    <a:pt x="108277" y="107320"/>
                  </a:lnTo>
                  <a:lnTo>
                    <a:pt x="107166" y="111703"/>
                  </a:lnTo>
                  <a:lnTo>
                    <a:pt x="105972" y="116496"/>
                  </a:lnTo>
                  <a:lnTo>
                    <a:pt x="104451" y="122735"/>
                  </a:lnTo>
                  <a:lnTo>
                    <a:pt x="102596" y="125063"/>
                  </a:lnTo>
                  <a:lnTo>
                    <a:pt x="94251" y="136074"/>
                  </a:lnTo>
                  <a:lnTo>
                    <a:pt x="93666" y="136987"/>
                  </a:lnTo>
                  <a:lnTo>
                    <a:pt x="80295" y="150060"/>
                  </a:lnTo>
                  <a:lnTo>
                    <a:pt x="73147" y="158475"/>
                  </a:lnTo>
                  <a:lnTo>
                    <a:pt x="72886" y="158740"/>
                  </a:lnTo>
                  <a:lnTo>
                    <a:pt x="71759" y="161023"/>
                  </a:lnTo>
                  <a:lnTo>
                    <a:pt x="63563" y="167648"/>
                  </a:lnTo>
                  <a:lnTo>
                    <a:pt x="57029" y="167496"/>
                  </a:lnTo>
                  <a:lnTo>
                    <a:pt x="49254" y="167041"/>
                  </a:lnTo>
                  <a:lnTo>
                    <a:pt x="40443" y="166709"/>
                  </a:lnTo>
                  <a:lnTo>
                    <a:pt x="41203" y="164776"/>
                  </a:lnTo>
                  <a:lnTo>
                    <a:pt x="25104" y="163936"/>
                  </a:lnTo>
                  <a:lnTo>
                    <a:pt x="6802" y="162709"/>
                  </a:lnTo>
                  <a:lnTo>
                    <a:pt x="6850" y="162591"/>
                  </a:lnTo>
                  <a:lnTo>
                    <a:pt x="5254" y="162493"/>
                  </a:lnTo>
                  <a:lnTo>
                    <a:pt x="88" y="162177"/>
                  </a:lnTo>
                  <a:lnTo>
                    <a:pt x="2724" y="157701"/>
                  </a:lnTo>
                  <a:lnTo>
                    <a:pt x="5367" y="153225"/>
                  </a:lnTo>
                  <a:lnTo>
                    <a:pt x="8012" y="148765"/>
                  </a:lnTo>
                  <a:lnTo>
                    <a:pt x="10668" y="144292"/>
                  </a:lnTo>
                  <a:lnTo>
                    <a:pt x="12986" y="137105"/>
                  </a:lnTo>
                  <a:lnTo>
                    <a:pt x="14995" y="130946"/>
                  </a:lnTo>
                  <a:lnTo>
                    <a:pt x="17415" y="123593"/>
                  </a:lnTo>
                  <a:lnTo>
                    <a:pt x="20172" y="117577"/>
                  </a:lnTo>
                  <a:lnTo>
                    <a:pt x="21148" y="115442"/>
                  </a:lnTo>
                  <a:lnTo>
                    <a:pt x="24612" y="109780"/>
                  </a:lnTo>
                  <a:lnTo>
                    <a:pt x="27619" y="104881"/>
                  </a:lnTo>
                  <a:lnTo>
                    <a:pt x="32433" y="98345"/>
                  </a:lnTo>
                  <a:lnTo>
                    <a:pt x="36526" y="92796"/>
                  </a:lnTo>
                  <a:lnTo>
                    <a:pt x="41089" y="86636"/>
                  </a:lnTo>
                  <a:lnTo>
                    <a:pt x="46193" y="82027"/>
                  </a:lnTo>
                  <a:lnTo>
                    <a:pt x="49426" y="79920"/>
                  </a:lnTo>
                  <a:lnTo>
                    <a:pt x="52725" y="77765"/>
                  </a:lnTo>
                  <a:lnTo>
                    <a:pt x="50185" y="75165"/>
                  </a:lnTo>
                  <a:lnTo>
                    <a:pt x="46766" y="71677"/>
                  </a:lnTo>
                  <a:lnTo>
                    <a:pt x="43982" y="71495"/>
                  </a:lnTo>
                  <a:lnTo>
                    <a:pt x="41120" y="71307"/>
                  </a:lnTo>
                  <a:lnTo>
                    <a:pt x="37178" y="75160"/>
                  </a:lnTo>
                  <a:lnTo>
                    <a:pt x="33102" y="77572"/>
                  </a:lnTo>
                  <a:lnTo>
                    <a:pt x="31159" y="80379"/>
                  </a:lnTo>
                  <a:lnTo>
                    <a:pt x="29083" y="79171"/>
                  </a:lnTo>
                  <a:lnTo>
                    <a:pt x="29048" y="79208"/>
                  </a:lnTo>
                  <a:lnTo>
                    <a:pt x="28152" y="76161"/>
                  </a:lnTo>
                  <a:lnTo>
                    <a:pt x="31175" y="72286"/>
                  </a:lnTo>
                  <a:lnTo>
                    <a:pt x="27634" y="71825"/>
                  </a:lnTo>
                  <a:lnTo>
                    <a:pt x="30212" y="67881"/>
                  </a:lnTo>
                  <a:lnTo>
                    <a:pt x="32123" y="65970"/>
                  </a:lnTo>
                  <a:lnTo>
                    <a:pt x="32250" y="62428"/>
                  </a:lnTo>
                  <a:lnTo>
                    <a:pt x="29074" y="60606"/>
                  </a:lnTo>
                  <a:lnTo>
                    <a:pt x="30044" y="56503"/>
                  </a:lnTo>
                  <a:lnTo>
                    <a:pt x="26987" y="55975"/>
                  </a:lnTo>
                  <a:lnTo>
                    <a:pt x="22360" y="55622"/>
                  </a:lnTo>
                  <a:lnTo>
                    <a:pt x="14970" y="50556"/>
                  </a:lnTo>
                  <a:lnTo>
                    <a:pt x="2728" y="45172"/>
                  </a:lnTo>
                  <a:lnTo>
                    <a:pt x="3543" y="40661"/>
                  </a:lnTo>
                  <a:lnTo>
                    <a:pt x="1366" y="39676"/>
                  </a:lnTo>
                  <a:lnTo>
                    <a:pt x="1386" y="39597"/>
                  </a:lnTo>
                  <a:lnTo>
                    <a:pt x="130" y="40032"/>
                  </a:lnTo>
                  <a:lnTo>
                    <a:pt x="0" y="39822"/>
                  </a:lnTo>
                  <a:lnTo>
                    <a:pt x="578" y="39164"/>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60" name="Polygon form 324"/>
            <p:cNvSpPr/>
            <p:nvPr/>
          </p:nvSpPr>
          <p:spPr>
            <a:xfrm>
              <a:off x="1902092" y="2767532"/>
              <a:ext cx="154353" cy="86330"/>
            </a:xfrm>
            <a:custGeom>
              <a:avLst/>
              <a:gdLst/>
              <a:ahLst/>
              <a:cxnLst/>
              <a:rect l="0" t="0" r="0" b="0"/>
              <a:pathLst>
                <a:path w="154353" h="86330">
                  <a:moveTo>
                    <a:pt x="111230" y="75634"/>
                  </a:moveTo>
                  <a:lnTo>
                    <a:pt x="110270" y="79562"/>
                  </a:lnTo>
                  <a:lnTo>
                    <a:pt x="107332" y="83965"/>
                  </a:lnTo>
                  <a:lnTo>
                    <a:pt x="74431" y="80861"/>
                  </a:lnTo>
                  <a:lnTo>
                    <a:pt x="67062" y="82874"/>
                  </a:lnTo>
                  <a:lnTo>
                    <a:pt x="63722" y="81369"/>
                  </a:lnTo>
                  <a:lnTo>
                    <a:pt x="59310" y="83079"/>
                  </a:lnTo>
                  <a:lnTo>
                    <a:pt x="51644" y="85216"/>
                  </a:lnTo>
                  <a:lnTo>
                    <a:pt x="44694" y="84148"/>
                  </a:lnTo>
                  <a:lnTo>
                    <a:pt x="39768" y="85791"/>
                  </a:lnTo>
                  <a:lnTo>
                    <a:pt x="35866" y="86330"/>
                  </a:lnTo>
                  <a:lnTo>
                    <a:pt x="34226" y="84765"/>
                  </a:lnTo>
                  <a:lnTo>
                    <a:pt x="29264" y="83106"/>
                  </a:lnTo>
                  <a:lnTo>
                    <a:pt x="25146" y="83521"/>
                  </a:lnTo>
                  <a:lnTo>
                    <a:pt x="17278" y="85516"/>
                  </a:lnTo>
                  <a:lnTo>
                    <a:pt x="13335" y="85185"/>
                  </a:lnTo>
                  <a:lnTo>
                    <a:pt x="10299" y="83848"/>
                  </a:lnTo>
                  <a:lnTo>
                    <a:pt x="11448" y="80227"/>
                  </a:lnTo>
                  <a:lnTo>
                    <a:pt x="13817" y="76003"/>
                  </a:lnTo>
                  <a:lnTo>
                    <a:pt x="14079" y="70933"/>
                  </a:lnTo>
                  <a:lnTo>
                    <a:pt x="10466" y="69019"/>
                  </a:lnTo>
                  <a:lnTo>
                    <a:pt x="8181" y="66342"/>
                  </a:lnTo>
                  <a:lnTo>
                    <a:pt x="3467" y="65704"/>
                  </a:lnTo>
                  <a:lnTo>
                    <a:pt x="0" y="65299"/>
                  </a:lnTo>
                  <a:lnTo>
                    <a:pt x="8678" y="50696"/>
                  </a:lnTo>
                  <a:lnTo>
                    <a:pt x="18658" y="28937"/>
                  </a:lnTo>
                  <a:lnTo>
                    <a:pt x="22386" y="16946"/>
                  </a:lnTo>
                  <a:lnTo>
                    <a:pt x="27729" y="12331"/>
                  </a:lnTo>
                  <a:lnTo>
                    <a:pt x="43961" y="23213"/>
                  </a:lnTo>
                  <a:lnTo>
                    <a:pt x="35918" y="47498"/>
                  </a:lnTo>
                  <a:lnTo>
                    <a:pt x="44278" y="41368"/>
                  </a:lnTo>
                  <a:lnTo>
                    <a:pt x="55975" y="20803"/>
                  </a:lnTo>
                  <a:lnTo>
                    <a:pt x="65208" y="0"/>
                  </a:lnTo>
                  <a:lnTo>
                    <a:pt x="108664" y="4743"/>
                  </a:lnTo>
                  <a:lnTo>
                    <a:pt x="154353" y="9616"/>
                  </a:lnTo>
                  <a:lnTo>
                    <a:pt x="133232" y="41095"/>
                  </a:lnTo>
                  <a:lnTo>
                    <a:pt x="111230" y="75634"/>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61" name="Polygon form 325"/>
            <p:cNvSpPr/>
            <p:nvPr/>
          </p:nvSpPr>
          <p:spPr>
            <a:xfrm>
              <a:off x="1500187" y="2197180"/>
              <a:ext cx="715796" cy="415526"/>
            </a:xfrm>
            <a:custGeom>
              <a:avLst/>
              <a:gdLst/>
              <a:ahLst/>
              <a:cxnLst/>
              <a:rect l="0" t="0" r="0" b="0"/>
              <a:pathLst>
                <a:path w="715796" h="415526">
                  <a:moveTo>
                    <a:pt x="715796" y="58649"/>
                  </a:moveTo>
                  <a:lnTo>
                    <a:pt x="715796" y="58649"/>
                  </a:lnTo>
                  <a:lnTo>
                    <a:pt x="610046" y="138624"/>
                  </a:lnTo>
                  <a:lnTo>
                    <a:pt x="458096" y="266430"/>
                  </a:lnTo>
                  <a:lnTo>
                    <a:pt x="469760" y="268995"/>
                  </a:lnTo>
                  <a:lnTo>
                    <a:pt x="475126" y="277223"/>
                  </a:lnTo>
                  <a:lnTo>
                    <a:pt x="473133" y="288666"/>
                  </a:lnTo>
                  <a:lnTo>
                    <a:pt x="468471" y="305607"/>
                  </a:lnTo>
                  <a:lnTo>
                    <a:pt x="494686" y="294447"/>
                  </a:lnTo>
                  <a:lnTo>
                    <a:pt x="515529" y="288797"/>
                  </a:lnTo>
                  <a:lnTo>
                    <a:pt x="509913" y="301791"/>
                  </a:lnTo>
                  <a:lnTo>
                    <a:pt x="508950" y="312579"/>
                  </a:lnTo>
                  <a:lnTo>
                    <a:pt x="510403" y="324810"/>
                  </a:lnTo>
                  <a:lnTo>
                    <a:pt x="502110" y="342811"/>
                  </a:lnTo>
                  <a:lnTo>
                    <a:pt x="490107" y="371656"/>
                  </a:lnTo>
                  <a:lnTo>
                    <a:pt x="499431" y="389890"/>
                  </a:lnTo>
                  <a:lnTo>
                    <a:pt x="486174" y="404999"/>
                  </a:lnTo>
                  <a:lnTo>
                    <a:pt x="468055" y="415526"/>
                  </a:lnTo>
                  <a:lnTo>
                    <a:pt x="468480" y="405510"/>
                  </a:lnTo>
                  <a:lnTo>
                    <a:pt x="463203" y="396263"/>
                  </a:lnTo>
                  <a:lnTo>
                    <a:pt x="478637" y="374978"/>
                  </a:lnTo>
                  <a:lnTo>
                    <a:pt x="479460" y="353435"/>
                  </a:lnTo>
                  <a:lnTo>
                    <a:pt x="494116" y="330211"/>
                  </a:lnTo>
                  <a:lnTo>
                    <a:pt x="482921" y="326907"/>
                  </a:lnTo>
                  <a:lnTo>
                    <a:pt x="462539" y="323340"/>
                  </a:lnTo>
                  <a:lnTo>
                    <a:pt x="454108" y="314384"/>
                  </a:lnTo>
                  <a:lnTo>
                    <a:pt x="452974" y="286313"/>
                  </a:lnTo>
                  <a:lnTo>
                    <a:pt x="445552" y="280084"/>
                  </a:lnTo>
                  <a:lnTo>
                    <a:pt x="432568" y="268469"/>
                  </a:lnTo>
                  <a:lnTo>
                    <a:pt x="412989" y="267701"/>
                  </a:lnTo>
                  <a:lnTo>
                    <a:pt x="400598" y="253281"/>
                  </a:lnTo>
                  <a:lnTo>
                    <a:pt x="397390" y="241212"/>
                  </a:lnTo>
                  <a:lnTo>
                    <a:pt x="378102" y="243771"/>
                  </a:lnTo>
                  <a:lnTo>
                    <a:pt x="361924" y="259998"/>
                  </a:lnTo>
                  <a:lnTo>
                    <a:pt x="353373" y="260326"/>
                  </a:lnTo>
                  <a:lnTo>
                    <a:pt x="333475" y="262685"/>
                  </a:lnTo>
                  <a:lnTo>
                    <a:pt x="313482" y="268546"/>
                  </a:lnTo>
                  <a:lnTo>
                    <a:pt x="294028" y="271048"/>
                  </a:lnTo>
                  <a:lnTo>
                    <a:pt x="308352" y="257302"/>
                  </a:lnTo>
                  <a:lnTo>
                    <a:pt x="340863" y="236021"/>
                  </a:lnTo>
                  <a:lnTo>
                    <a:pt x="362205" y="231278"/>
                  </a:lnTo>
                  <a:lnTo>
                    <a:pt x="365859" y="225067"/>
                  </a:lnTo>
                  <a:lnTo>
                    <a:pt x="335040" y="234974"/>
                  </a:lnTo>
                  <a:lnTo>
                    <a:pt x="308315" y="248583"/>
                  </a:lnTo>
                  <a:lnTo>
                    <a:pt x="271071" y="261647"/>
                  </a:lnTo>
                  <a:lnTo>
                    <a:pt x="266692" y="274321"/>
                  </a:lnTo>
                  <a:lnTo>
                    <a:pt x="235372" y="288731"/>
                  </a:lnTo>
                  <a:lnTo>
                    <a:pt x="210573" y="295976"/>
                  </a:lnTo>
                  <a:lnTo>
                    <a:pt x="189755" y="300756"/>
                  </a:lnTo>
                  <a:lnTo>
                    <a:pt x="174566" y="310435"/>
                  </a:lnTo>
                  <a:lnTo>
                    <a:pt x="140864" y="318816"/>
                  </a:lnTo>
                  <a:lnTo>
                    <a:pt x="124077" y="329009"/>
                  </a:lnTo>
                  <a:lnTo>
                    <a:pt x="97619" y="336227"/>
                  </a:lnTo>
                  <a:lnTo>
                    <a:pt x="91035" y="332790"/>
                  </a:lnTo>
                  <a:lnTo>
                    <a:pt x="71588" y="337062"/>
                  </a:lnTo>
                  <a:lnTo>
                    <a:pt x="49385" y="342567"/>
                  </a:lnTo>
                  <a:lnTo>
                    <a:pt x="29633" y="348370"/>
                  </a:lnTo>
                  <a:lnTo>
                    <a:pt x="0" y="350799"/>
                  </a:lnTo>
                  <a:lnTo>
                    <a:pt x="2702" y="346456"/>
                  </a:lnTo>
                  <a:lnTo>
                    <a:pt x="29496" y="338239"/>
                  </a:lnTo>
                  <a:lnTo>
                    <a:pt x="50378" y="333438"/>
                  </a:lnTo>
                  <a:lnTo>
                    <a:pt x="78945" y="323284"/>
                  </a:lnTo>
                  <a:lnTo>
                    <a:pt x="97618" y="323636"/>
                  </a:lnTo>
                  <a:lnTo>
                    <a:pt x="115128" y="315281"/>
                  </a:lnTo>
                  <a:lnTo>
                    <a:pt x="148975" y="304675"/>
                  </a:lnTo>
                  <a:lnTo>
                    <a:pt x="157293" y="300569"/>
                  </a:lnTo>
                  <a:lnTo>
                    <a:pt x="176226" y="294132"/>
                  </a:lnTo>
                  <a:lnTo>
                    <a:pt x="199453" y="277124"/>
                  </a:lnTo>
                  <a:lnTo>
                    <a:pt x="222210" y="264797"/>
                  </a:lnTo>
                  <a:lnTo>
                    <a:pt x="199662" y="269098"/>
                  </a:lnTo>
                  <a:lnTo>
                    <a:pt x="200610" y="264451"/>
                  </a:lnTo>
                  <a:lnTo>
                    <a:pt x="183750" y="271495"/>
                  </a:lnTo>
                  <a:lnTo>
                    <a:pt x="190286" y="258466"/>
                  </a:lnTo>
                  <a:lnTo>
                    <a:pt x="176786" y="265995"/>
                  </a:lnTo>
                  <a:lnTo>
                    <a:pt x="186578" y="253827"/>
                  </a:lnTo>
                  <a:lnTo>
                    <a:pt x="163072" y="260580"/>
                  </a:lnTo>
                  <a:lnTo>
                    <a:pt x="155744" y="259129"/>
                  </a:lnTo>
                  <a:lnTo>
                    <a:pt x="172022" y="245485"/>
                  </a:lnTo>
                  <a:lnTo>
                    <a:pt x="184881" y="237662"/>
                  </a:lnTo>
                  <a:lnTo>
                    <a:pt x="187806" y="228208"/>
                  </a:lnTo>
                  <a:lnTo>
                    <a:pt x="166957" y="229476"/>
                  </a:lnTo>
                  <a:lnTo>
                    <a:pt x="171215" y="217064"/>
                  </a:lnTo>
                  <a:lnTo>
                    <a:pt x="170604" y="210158"/>
                  </a:lnTo>
                  <a:lnTo>
                    <a:pt x="187764" y="197673"/>
                  </a:lnTo>
                  <a:lnTo>
                    <a:pt x="192134" y="186573"/>
                  </a:lnTo>
                  <a:lnTo>
                    <a:pt x="214196" y="174949"/>
                  </a:lnTo>
                  <a:lnTo>
                    <a:pt x="240511" y="164702"/>
                  </a:lnTo>
                  <a:lnTo>
                    <a:pt x="260371" y="154436"/>
                  </a:lnTo>
                  <a:lnTo>
                    <a:pt x="271542" y="154636"/>
                  </a:lnTo>
                  <a:lnTo>
                    <a:pt x="274183" y="159577"/>
                  </a:lnTo>
                  <a:lnTo>
                    <a:pt x="297960" y="150928"/>
                  </a:lnTo>
                  <a:lnTo>
                    <a:pt x="303343" y="154334"/>
                  </a:lnTo>
                  <a:lnTo>
                    <a:pt x="321285" y="149268"/>
                  </a:lnTo>
                  <a:lnTo>
                    <a:pt x="333264" y="139080"/>
                  </a:lnTo>
                  <a:lnTo>
                    <a:pt x="332700" y="134067"/>
                  </a:lnTo>
                  <a:lnTo>
                    <a:pt x="352718" y="127385"/>
                  </a:lnTo>
                  <a:lnTo>
                    <a:pt x="345693" y="126361"/>
                  </a:lnTo>
                  <a:lnTo>
                    <a:pt x="327402" y="128780"/>
                  </a:lnTo>
                  <a:lnTo>
                    <a:pt x="317208" y="132833"/>
                  </a:lnTo>
                  <a:lnTo>
                    <a:pt x="315572" y="126489"/>
                  </a:lnTo>
                  <a:lnTo>
                    <a:pt x="296817" y="125863"/>
                  </a:lnTo>
                  <a:lnTo>
                    <a:pt x="288800" y="117682"/>
                  </a:lnTo>
                  <a:lnTo>
                    <a:pt x="297255" y="108369"/>
                  </a:lnTo>
                  <a:lnTo>
                    <a:pt x="302843" y="93633"/>
                  </a:lnTo>
                  <a:lnTo>
                    <a:pt x="331006" y="87940"/>
                  </a:lnTo>
                  <a:lnTo>
                    <a:pt x="369944" y="82418"/>
                  </a:lnTo>
                  <a:lnTo>
                    <a:pt x="378500" y="84065"/>
                  </a:lnTo>
                  <a:lnTo>
                    <a:pt x="361081" y="94139"/>
                  </a:lnTo>
                  <a:lnTo>
                    <a:pt x="384593" y="97577"/>
                  </a:lnTo>
                  <a:lnTo>
                    <a:pt x="395728" y="83088"/>
                  </a:lnTo>
                  <a:lnTo>
                    <a:pt x="395177" y="72820"/>
                  </a:lnTo>
                  <a:lnTo>
                    <a:pt x="404083" y="61216"/>
                  </a:lnTo>
                  <a:lnTo>
                    <a:pt x="408294" y="50722"/>
                  </a:lnTo>
                  <a:lnTo>
                    <a:pt x="404940" y="41728"/>
                  </a:lnTo>
                  <a:lnTo>
                    <a:pt x="427921" y="32342"/>
                  </a:lnTo>
                  <a:lnTo>
                    <a:pt x="446664" y="35015"/>
                  </a:lnTo>
                  <a:lnTo>
                    <a:pt x="474279" y="28236"/>
                  </a:lnTo>
                  <a:lnTo>
                    <a:pt x="492700" y="18975"/>
                  </a:lnTo>
                  <a:lnTo>
                    <a:pt x="518499" y="11359"/>
                  </a:lnTo>
                  <a:lnTo>
                    <a:pt x="531900" y="10782"/>
                  </a:lnTo>
                  <a:lnTo>
                    <a:pt x="565236" y="5202"/>
                  </a:lnTo>
                  <a:lnTo>
                    <a:pt x="572184" y="8070"/>
                  </a:lnTo>
                  <a:lnTo>
                    <a:pt x="604811" y="0"/>
                  </a:lnTo>
                  <a:lnTo>
                    <a:pt x="613125" y="6640"/>
                  </a:lnTo>
                  <a:lnTo>
                    <a:pt x="605969" y="16894"/>
                  </a:lnTo>
                  <a:lnTo>
                    <a:pt x="616634" y="13714"/>
                  </a:lnTo>
                  <a:lnTo>
                    <a:pt x="631888" y="17662"/>
                  </a:lnTo>
                  <a:lnTo>
                    <a:pt x="624027" y="22236"/>
                  </a:lnTo>
                  <a:lnTo>
                    <a:pt x="634417" y="28189"/>
                  </a:lnTo>
                  <a:lnTo>
                    <a:pt x="648060" y="27785"/>
                  </a:lnTo>
                  <a:lnTo>
                    <a:pt x="660255" y="37672"/>
                  </a:lnTo>
                  <a:lnTo>
                    <a:pt x="677631" y="42689"/>
                  </a:lnTo>
                  <a:lnTo>
                    <a:pt x="681874" y="46622"/>
                  </a:lnTo>
                  <a:lnTo>
                    <a:pt x="700868" y="45315"/>
                  </a:lnTo>
                  <a:lnTo>
                    <a:pt x="708185" y="53999"/>
                  </a:lnTo>
                  <a:lnTo>
                    <a:pt x="715796" y="58649"/>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62" name="Polygon form 326"/>
            <p:cNvSpPr/>
            <p:nvPr/>
          </p:nvSpPr>
          <p:spPr>
            <a:xfrm>
              <a:off x="1700379" y="2492211"/>
              <a:ext cx="49399" cy="26884"/>
            </a:xfrm>
            <a:custGeom>
              <a:avLst/>
              <a:gdLst/>
              <a:ahLst/>
              <a:cxnLst/>
              <a:rect l="0" t="0" r="0" b="0"/>
              <a:pathLst>
                <a:path w="49399" h="26884">
                  <a:moveTo>
                    <a:pt x="42893" y="0"/>
                  </a:moveTo>
                  <a:lnTo>
                    <a:pt x="49399" y="3015"/>
                  </a:lnTo>
                  <a:lnTo>
                    <a:pt x="46441" y="11122"/>
                  </a:lnTo>
                  <a:lnTo>
                    <a:pt x="22836" y="20244"/>
                  </a:lnTo>
                  <a:lnTo>
                    <a:pt x="0" y="26884"/>
                  </a:lnTo>
                  <a:lnTo>
                    <a:pt x="417" y="19733"/>
                  </a:lnTo>
                  <a:lnTo>
                    <a:pt x="11096" y="8528"/>
                  </a:lnTo>
                  <a:lnTo>
                    <a:pt x="32092" y="2339"/>
                  </a:lnTo>
                  <a:lnTo>
                    <a:pt x="42893" y="0"/>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63" name="Polygon form 327"/>
            <p:cNvSpPr/>
            <p:nvPr/>
          </p:nvSpPr>
          <p:spPr>
            <a:xfrm>
              <a:off x="1690556" y="2322112"/>
              <a:ext cx="29903" cy="22011"/>
            </a:xfrm>
            <a:custGeom>
              <a:avLst/>
              <a:gdLst/>
              <a:ahLst/>
              <a:cxnLst/>
              <a:rect l="0" t="0" r="0" b="0"/>
              <a:pathLst>
                <a:path w="29903" h="22011">
                  <a:moveTo>
                    <a:pt x="13216" y="0"/>
                  </a:moveTo>
                  <a:lnTo>
                    <a:pt x="13532" y="5394"/>
                  </a:lnTo>
                  <a:lnTo>
                    <a:pt x="23451" y="4644"/>
                  </a:lnTo>
                  <a:lnTo>
                    <a:pt x="23542" y="12032"/>
                  </a:lnTo>
                  <a:lnTo>
                    <a:pt x="29903" y="17102"/>
                  </a:lnTo>
                  <a:lnTo>
                    <a:pt x="25545" y="19230"/>
                  </a:lnTo>
                  <a:lnTo>
                    <a:pt x="10642" y="22011"/>
                  </a:lnTo>
                  <a:lnTo>
                    <a:pt x="9448" y="15660"/>
                  </a:lnTo>
                  <a:lnTo>
                    <a:pt x="11231" y="10958"/>
                  </a:lnTo>
                  <a:lnTo>
                    <a:pt x="0" y="10167"/>
                  </a:lnTo>
                  <a:lnTo>
                    <a:pt x="338" y="7768"/>
                  </a:lnTo>
                  <a:lnTo>
                    <a:pt x="13216" y="0"/>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64" name="Polygon form 328"/>
            <p:cNvSpPr/>
            <p:nvPr/>
          </p:nvSpPr>
          <p:spPr>
            <a:xfrm>
              <a:off x="1636432" y="2407436"/>
              <a:ext cx="24130" cy="14604"/>
            </a:xfrm>
            <a:custGeom>
              <a:avLst/>
              <a:gdLst/>
              <a:ahLst/>
              <a:cxnLst/>
              <a:rect l="0" t="0" r="0" b="0"/>
              <a:pathLst>
                <a:path w="24130" h="14604">
                  <a:moveTo>
                    <a:pt x="17810" y="0"/>
                  </a:moveTo>
                  <a:lnTo>
                    <a:pt x="24130" y="3865"/>
                  </a:lnTo>
                  <a:lnTo>
                    <a:pt x="13646" y="12598"/>
                  </a:lnTo>
                  <a:lnTo>
                    <a:pt x="1881" y="14604"/>
                  </a:lnTo>
                  <a:lnTo>
                    <a:pt x="0" y="8894"/>
                  </a:lnTo>
                  <a:lnTo>
                    <a:pt x="1343" y="1441"/>
                  </a:lnTo>
                  <a:lnTo>
                    <a:pt x="17810" y="0"/>
                  </a:lnTo>
                  <a:close/>
                </a:path>
              </a:pathLst>
            </a:custGeom>
            <a:solidFill>
              <a:srgbClr val="2171B5">
                <a:alpha val="100000"/>
              </a:srgbClr>
            </a:solidFill>
            <a:ln w="5400">
              <a:solidFill>
                <a:srgbClr val="7F7F7F">
                  <a:alpha val="100000"/>
                </a:srgbClr>
              </a:solidFill>
              <a:prstDash val="solid"/>
              <a:round/>
            </a:ln>
          </p:spPr>
          <p:txBody>
            <a:bodyPr/>
            <a:lstStyle/>
            <a:p/>
          </p:txBody>
        </p:sp>
        <p:sp>
          <p:nvSpPr>
            <p:cNvPr id="365" name="Polygon form 329"/>
            <p:cNvSpPr/>
            <p:nvPr/>
          </p:nvSpPr>
          <p:spPr>
            <a:xfrm>
              <a:off x="1866982" y="3082218"/>
              <a:ext cx="151283" cy="150345"/>
            </a:xfrm>
            <a:custGeom>
              <a:avLst/>
              <a:gdLst/>
              <a:ahLst/>
              <a:cxnLst/>
              <a:rect l="0" t="0" r="0" b="0"/>
              <a:pathLst>
                <a:path w="151283" h="150345">
                  <a:moveTo>
                    <a:pt x="151283" y="6505"/>
                  </a:moveTo>
                  <a:lnTo>
                    <a:pt x="91294" y="150345"/>
                  </a:lnTo>
                  <a:lnTo>
                    <a:pt x="55577" y="148214"/>
                  </a:lnTo>
                  <a:lnTo>
                    <a:pt x="21806" y="127407"/>
                  </a:lnTo>
                  <a:lnTo>
                    <a:pt x="0" y="113039"/>
                  </a:lnTo>
                  <a:lnTo>
                    <a:pt x="3767" y="108143"/>
                  </a:lnTo>
                  <a:lnTo>
                    <a:pt x="6058" y="108428"/>
                  </a:lnTo>
                  <a:lnTo>
                    <a:pt x="10176" y="103442"/>
                  </a:lnTo>
                  <a:lnTo>
                    <a:pt x="8541" y="99690"/>
                  </a:lnTo>
                  <a:lnTo>
                    <a:pt x="9548" y="95807"/>
                  </a:lnTo>
                  <a:lnTo>
                    <a:pt x="10565" y="91228"/>
                  </a:lnTo>
                  <a:lnTo>
                    <a:pt x="16548" y="85602"/>
                  </a:lnTo>
                  <a:lnTo>
                    <a:pt x="23052" y="73997"/>
                  </a:lnTo>
                  <a:lnTo>
                    <a:pt x="30702" y="69148"/>
                  </a:lnTo>
                  <a:lnTo>
                    <a:pt x="29547" y="63992"/>
                  </a:lnTo>
                  <a:lnTo>
                    <a:pt x="29413" y="59009"/>
                  </a:lnTo>
                  <a:lnTo>
                    <a:pt x="29971" y="54427"/>
                  </a:lnTo>
                  <a:lnTo>
                    <a:pt x="30567" y="50896"/>
                  </a:lnTo>
                  <a:lnTo>
                    <a:pt x="31248" y="48587"/>
                  </a:lnTo>
                  <a:lnTo>
                    <a:pt x="34601" y="43660"/>
                  </a:lnTo>
                  <a:lnTo>
                    <a:pt x="36027" y="38600"/>
                  </a:lnTo>
                  <a:lnTo>
                    <a:pt x="37941" y="33635"/>
                  </a:lnTo>
                  <a:lnTo>
                    <a:pt x="40494" y="28148"/>
                  </a:lnTo>
                  <a:lnTo>
                    <a:pt x="40567" y="24535"/>
                  </a:lnTo>
                  <a:lnTo>
                    <a:pt x="43224" y="21488"/>
                  </a:lnTo>
                  <a:lnTo>
                    <a:pt x="46883" y="21775"/>
                  </a:lnTo>
                  <a:lnTo>
                    <a:pt x="49370" y="23841"/>
                  </a:lnTo>
                  <a:lnTo>
                    <a:pt x="51274" y="25037"/>
                  </a:lnTo>
                  <a:lnTo>
                    <a:pt x="54232" y="21247"/>
                  </a:lnTo>
                  <a:lnTo>
                    <a:pt x="55373" y="20457"/>
                  </a:lnTo>
                  <a:lnTo>
                    <a:pt x="64925" y="0"/>
                  </a:lnTo>
                  <a:lnTo>
                    <a:pt x="92985" y="1808"/>
                  </a:lnTo>
                  <a:lnTo>
                    <a:pt x="126217" y="4423"/>
                  </a:lnTo>
                  <a:lnTo>
                    <a:pt x="151283" y="6505"/>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66" name="Polygon form 330"/>
            <p:cNvSpPr/>
            <p:nvPr/>
          </p:nvSpPr>
          <p:spPr>
            <a:xfrm>
              <a:off x="1788347" y="2939908"/>
              <a:ext cx="110028" cy="252098"/>
            </a:xfrm>
            <a:custGeom>
              <a:avLst/>
              <a:gdLst/>
              <a:ahLst/>
              <a:cxnLst/>
              <a:rect l="0" t="0" r="0" b="0"/>
              <a:pathLst>
                <a:path w="110028" h="252098">
                  <a:moveTo>
                    <a:pt x="108182" y="206302"/>
                  </a:moveTo>
                  <a:lnTo>
                    <a:pt x="109337" y="211457"/>
                  </a:lnTo>
                  <a:lnTo>
                    <a:pt x="101687" y="216307"/>
                  </a:lnTo>
                  <a:lnTo>
                    <a:pt x="95183" y="227912"/>
                  </a:lnTo>
                  <a:lnTo>
                    <a:pt x="89200" y="233538"/>
                  </a:lnTo>
                  <a:lnTo>
                    <a:pt x="88183" y="238117"/>
                  </a:lnTo>
                  <a:lnTo>
                    <a:pt x="87176" y="242000"/>
                  </a:lnTo>
                  <a:lnTo>
                    <a:pt x="88811" y="245751"/>
                  </a:lnTo>
                  <a:lnTo>
                    <a:pt x="84693" y="250738"/>
                  </a:lnTo>
                  <a:lnTo>
                    <a:pt x="82401" y="250453"/>
                  </a:lnTo>
                  <a:lnTo>
                    <a:pt x="58644" y="251595"/>
                  </a:lnTo>
                  <a:lnTo>
                    <a:pt x="37587" y="252098"/>
                  </a:lnTo>
                  <a:lnTo>
                    <a:pt x="40277" y="238742"/>
                  </a:lnTo>
                  <a:lnTo>
                    <a:pt x="35348" y="223101"/>
                  </a:lnTo>
                  <a:lnTo>
                    <a:pt x="28504" y="219391"/>
                  </a:lnTo>
                  <a:lnTo>
                    <a:pt x="29922" y="211874"/>
                  </a:lnTo>
                  <a:lnTo>
                    <a:pt x="20653" y="209809"/>
                  </a:lnTo>
                  <a:lnTo>
                    <a:pt x="17583" y="202363"/>
                  </a:lnTo>
                  <a:lnTo>
                    <a:pt x="2502" y="198515"/>
                  </a:lnTo>
                  <a:lnTo>
                    <a:pt x="0" y="194005"/>
                  </a:lnTo>
                  <a:lnTo>
                    <a:pt x="4610" y="179750"/>
                  </a:lnTo>
                  <a:lnTo>
                    <a:pt x="498" y="152551"/>
                  </a:lnTo>
                  <a:lnTo>
                    <a:pt x="4548" y="115710"/>
                  </a:lnTo>
                  <a:lnTo>
                    <a:pt x="8290" y="109842"/>
                  </a:lnTo>
                  <a:lnTo>
                    <a:pt x="5307" y="100727"/>
                  </a:lnTo>
                  <a:lnTo>
                    <a:pt x="3943" y="78142"/>
                  </a:lnTo>
                  <a:lnTo>
                    <a:pt x="13328" y="57160"/>
                  </a:lnTo>
                  <a:lnTo>
                    <a:pt x="12450" y="42419"/>
                  </a:lnTo>
                  <a:lnTo>
                    <a:pt x="28460" y="21743"/>
                  </a:lnTo>
                  <a:lnTo>
                    <a:pt x="40946" y="0"/>
                  </a:lnTo>
                  <a:lnTo>
                    <a:pt x="110028" y="6987"/>
                  </a:lnTo>
                  <a:lnTo>
                    <a:pt x="67399" y="82820"/>
                  </a:lnTo>
                  <a:lnTo>
                    <a:pt x="81495" y="119986"/>
                  </a:lnTo>
                  <a:lnTo>
                    <a:pt x="95753" y="156234"/>
                  </a:lnTo>
                  <a:lnTo>
                    <a:pt x="109883" y="190896"/>
                  </a:lnTo>
                  <a:lnTo>
                    <a:pt x="109201" y="193206"/>
                  </a:lnTo>
                  <a:lnTo>
                    <a:pt x="108606" y="196737"/>
                  </a:lnTo>
                  <a:lnTo>
                    <a:pt x="108048" y="201319"/>
                  </a:lnTo>
                  <a:lnTo>
                    <a:pt x="108182" y="206302"/>
                  </a:lnTo>
                  <a:close/>
                </a:path>
              </a:pathLst>
            </a:custGeom>
            <a:solidFill>
              <a:srgbClr val="08306B">
                <a:alpha val="100000"/>
              </a:srgbClr>
            </a:solidFill>
            <a:ln w="5400">
              <a:solidFill>
                <a:srgbClr val="7F7F7F">
                  <a:alpha val="100000"/>
                </a:srgbClr>
              </a:solidFill>
              <a:prstDash val="solid"/>
              <a:round/>
            </a:ln>
          </p:spPr>
          <p:txBody>
            <a:bodyPr/>
            <a:lstStyle/>
            <a:p/>
          </p:txBody>
        </p:sp>
        <p:sp>
          <p:nvSpPr>
            <p:cNvPr id="367" name="Polygon form 331"/>
            <p:cNvSpPr/>
            <p:nvPr/>
          </p:nvSpPr>
          <p:spPr>
            <a:xfrm>
              <a:off x="2018266" y="2987920"/>
              <a:ext cx="166830" cy="109681"/>
            </a:xfrm>
            <a:custGeom>
              <a:avLst/>
              <a:gdLst/>
              <a:ahLst/>
              <a:cxnLst/>
              <a:rect l="0" t="0" r="0" b="0"/>
              <a:pathLst>
                <a:path w="166830" h="109681">
                  <a:moveTo>
                    <a:pt x="155028" y="34215"/>
                  </a:moveTo>
                  <a:lnTo>
                    <a:pt x="137735" y="72820"/>
                  </a:lnTo>
                  <a:lnTo>
                    <a:pt x="121757" y="109681"/>
                  </a:lnTo>
                  <a:lnTo>
                    <a:pt x="105015" y="108454"/>
                  </a:lnTo>
                  <a:lnTo>
                    <a:pt x="84171" y="106982"/>
                  </a:lnTo>
                  <a:lnTo>
                    <a:pt x="54602" y="104862"/>
                  </a:lnTo>
                  <a:lnTo>
                    <a:pt x="27169" y="102810"/>
                  </a:lnTo>
                  <a:lnTo>
                    <a:pt x="0" y="100804"/>
                  </a:lnTo>
                  <a:lnTo>
                    <a:pt x="48610" y="0"/>
                  </a:lnTo>
                  <a:lnTo>
                    <a:pt x="65477" y="1352"/>
                  </a:lnTo>
                  <a:lnTo>
                    <a:pt x="82337" y="2700"/>
                  </a:lnTo>
                  <a:lnTo>
                    <a:pt x="116129" y="5320"/>
                  </a:lnTo>
                  <a:lnTo>
                    <a:pt x="133053" y="6607"/>
                  </a:lnTo>
                  <a:lnTo>
                    <a:pt x="166830" y="9150"/>
                  </a:lnTo>
                  <a:lnTo>
                    <a:pt x="155402" y="33408"/>
                  </a:lnTo>
                  <a:lnTo>
                    <a:pt x="155028" y="34215"/>
                  </a:lnTo>
                  <a:close/>
                </a:path>
              </a:pathLst>
            </a:custGeom>
            <a:solidFill>
              <a:srgbClr val="08519C">
                <a:alpha val="100000"/>
              </a:srgbClr>
            </a:solidFill>
            <a:ln w="5400">
              <a:solidFill>
                <a:srgbClr val="7F7F7F">
                  <a:alpha val="100000"/>
                </a:srgbClr>
              </a:solidFill>
              <a:prstDash val="solid"/>
              <a:round/>
            </a:ln>
          </p:spPr>
          <p:txBody>
            <a:bodyPr/>
            <a:lstStyle/>
            <a:p/>
          </p:txBody>
        </p:sp>
        <p:sp>
          <p:nvSpPr>
            <p:cNvPr id="368" name="Polygon form 332"/>
            <p:cNvSpPr/>
            <p:nvPr/>
          </p:nvSpPr>
          <p:spPr>
            <a:xfrm>
              <a:off x="1855746" y="2946895"/>
              <a:ext cx="141188" cy="183909"/>
            </a:xfrm>
            <a:custGeom>
              <a:avLst/>
              <a:gdLst/>
              <a:ahLst/>
              <a:cxnLst/>
              <a:rect l="0" t="0" r="0" b="0"/>
              <a:pathLst>
                <a:path w="141188" h="183909">
                  <a:moveTo>
                    <a:pt x="76161" y="135322"/>
                  </a:moveTo>
                  <a:lnTo>
                    <a:pt x="66608" y="155780"/>
                  </a:lnTo>
                  <a:lnTo>
                    <a:pt x="65467" y="156570"/>
                  </a:lnTo>
                  <a:lnTo>
                    <a:pt x="62510" y="160359"/>
                  </a:lnTo>
                  <a:lnTo>
                    <a:pt x="60606" y="159164"/>
                  </a:lnTo>
                  <a:lnTo>
                    <a:pt x="58119" y="157098"/>
                  </a:lnTo>
                  <a:lnTo>
                    <a:pt x="54460" y="156810"/>
                  </a:lnTo>
                  <a:lnTo>
                    <a:pt x="51803" y="159857"/>
                  </a:lnTo>
                  <a:lnTo>
                    <a:pt x="51730" y="163470"/>
                  </a:lnTo>
                  <a:lnTo>
                    <a:pt x="49177" y="168957"/>
                  </a:lnTo>
                  <a:lnTo>
                    <a:pt x="47262" y="173923"/>
                  </a:lnTo>
                  <a:lnTo>
                    <a:pt x="45836" y="178983"/>
                  </a:lnTo>
                  <a:lnTo>
                    <a:pt x="42484" y="183909"/>
                  </a:lnTo>
                  <a:lnTo>
                    <a:pt x="28354" y="149246"/>
                  </a:lnTo>
                  <a:lnTo>
                    <a:pt x="14096" y="112999"/>
                  </a:lnTo>
                  <a:lnTo>
                    <a:pt x="0" y="75832"/>
                  </a:lnTo>
                  <a:lnTo>
                    <a:pt x="42628" y="0"/>
                  </a:lnTo>
                  <a:lnTo>
                    <a:pt x="91690" y="4488"/>
                  </a:lnTo>
                  <a:lnTo>
                    <a:pt x="91728" y="4421"/>
                  </a:lnTo>
                  <a:lnTo>
                    <a:pt x="141188" y="9080"/>
                  </a:lnTo>
                  <a:lnTo>
                    <a:pt x="76161" y="135322"/>
                  </a:lnTo>
                  <a:close/>
                </a:path>
              </a:pathLst>
            </a:custGeom>
            <a:solidFill>
              <a:srgbClr val="2171B5">
                <a:alpha val="100000"/>
              </a:srgbClr>
            </a:solidFill>
            <a:ln w="5400">
              <a:solidFill>
                <a:srgbClr val="7F7F7F">
                  <a:alpha val="100000"/>
                </a:srgbClr>
              </a:solidFill>
              <a:prstDash val="solid"/>
              <a:round/>
            </a:ln>
          </p:spPr>
          <p:txBody>
            <a:bodyPr/>
            <a:lstStyle/>
            <a:p/>
          </p:txBody>
        </p:sp>
      </p:grpSp>
      <p:grpSp>
        <p:nvGrpSpPr>
          <p:cNvPr id="3" name="Group 2"/>
          <p:cNvGrpSpPr/>
          <p:nvPr/>
        </p:nvGrpSpPr>
        <p:grpSpPr>
          <a:xfrm>
            <a:off x="2813289" y="5645957"/>
            <a:ext cx="3131761" cy="534578"/>
            <a:chOff x="2819134" y="5702124"/>
            <a:chExt cx="3131761" cy="534578"/>
          </a:xfrm>
        </p:grpSpPr>
        <p:sp>
          <p:nvSpPr>
            <p:cNvPr id="371" name="Rectangle 335"/>
            <p:cNvSpPr/>
            <p:nvPr/>
          </p:nvSpPr>
          <p:spPr>
            <a:xfrm>
              <a:off x="2819134" y="5702124"/>
              <a:ext cx="201727" cy="201727"/>
            </a:xfrm>
            <a:prstGeom prst="rect">
              <a:avLst/>
            </a:prstGeom>
            <a:solidFill>
              <a:srgbClr val="F7FBFF"/>
            </a:solidFill>
            <a:ln w="9525">
              <a:solidFill>
                <a:srgbClr val="7F7F7F">
                  <a:alpha val="100000"/>
                </a:srgbClr>
              </a:solidFill>
              <a:prstDash val="solid"/>
              <a:round/>
            </a:ln>
          </p:spPr>
          <p:txBody>
            <a:bodyPr/>
            <a:lstStyle/>
            <a:p/>
          </p:txBody>
        </p:sp>
        <p:sp>
          <p:nvSpPr>
            <p:cNvPr id="375" name="Rectangle 339"/>
            <p:cNvSpPr/>
            <p:nvPr/>
          </p:nvSpPr>
          <p:spPr>
            <a:xfrm>
              <a:off x="3046077" y="5702124"/>
              <a:ext cx="201727" cy="201727"/>
            </a:xfrm>
            <a:prstGeom prst="rect">
              <a:avLst/>
            </a:prstGeom>
            <a:solidFill>
              <a:srgbClr val="DEEBF7"/>
            </a:solidFill>
            <a:ln w="9525">
              <a:solidFill>
                <a:srgbClr val="7F7F7F">
                  <a:alpha val="100000"/>
                </a:srgbClr>
              </a:solidFill>
              <a:prstDash val="solid"/>
              <a:round/>
            </a:ln>
          </p:spPr>
          <p:txBody>
            <a:bodyPr/>
            <a:lstStyle/>
            <a:p/>
          </p:txBody>
        </p:sp>
        <p:sp>
          <p:nvSpPr>
            <p:cNvPr id="379" name="Rectangle 343"/>
            <p:cNvSpPr/>
            <p:nvPr/>
          </p:nvSpPr>
          <p:spPr>
            <a:xfrm>
              <a:off x="3273019" y="5702124"/>
              <a:ext cx="201727" cy="201727"/>
            </a:xfrm>
            <a:prstGeom prst="rect">
              <a:avLst/>
            </a:prstGeom>
            <a:solidFill>
              <a:srgbClr val="C6DBEF"/>
            </a:solidFill>
            <a:ln w="9525">
              <a:solidFill>
                <a:srgbClr val="7F7F7F">
                  <a:alpha val="100000"/>
                </a:srgbClr>
              </a:solidFill>
              <a:prstDash val="solid"/>
              <a:round/>
            </a:ln>
          </p:spPr>
          <p:txBody>
            <a:bodyPr/>
            <a:lstStyle/>
            <a:p/>
          </p:txBody>
        </p:sp>
        <p:sp>
          <p:nvSpPr>
            <p:cNvPr id="383" name="Rectangle 347"/>
            <p:cNvSpPr/>
            <p:nvPr/>
          </p:nvSpPr>
          <p:spPr>
            <a:xfrm>
              <a:off x="3499962" y="5702124"/>
              <a:ext cx="220914" cy="201727"/>
            </a:xfrm>
            <a:prstGeom prst="rect">
              <a:avLst/>
            </a:prstGeom>
            <a:solidFill>
              <a:srgbClr val="9ECAE1"/>
            </a:solidFill>
            <a:ln w="9525">
              <a:solidFill>
                <a:srgbClr val="7F7F7F">
                  <a:alpha val="100000"/>
                </a:srgbClr>
              </a:solidFill>
              <a:prstDash val="solid"/>
              <a:round/>
            </a:ln>
          </p:spPr>
          <p:txBody>
            <a:bodyPr/>
            <a:lstStyle/>
            <a:p/>
          </p:txBody>
        </p:sp>
        <p:sp>
          <p:nvSpPr>
            <p:cNvPr id="385" name="Rectangle 349"/>
            <p:cNvSpPr/>
            <p:nvPr/>
          </p:nvSpPr>
          <p:spPr>
            <a:xfrm>
              <a:off x="3746092" y="5702124"/>
              <a:ext cx="292756" cy="201727"/>
            </a:xfrm>
            <a:prstGeom prst="rect">
              <a:avLst/>
            </a:prstGeom>
            <a:solidFill>
              <a:srgbClr val="6BAED6"/>
            </a:solidFill>
            <a:ln w="9525">
              <a:solidFill>
                <a:srgbClr val="7F7F7F">
                  <a:alpha val="100000"/>
                </a:srgbClr>
              </a:solidFill>
              <a:prstDash val="solid"/>
              <a:round/>
            </a:ln>
          </p:spPr>
          <p:txBody>
            <a:bodyPr/>
            <a:lstStyle/>
            <a:p/>
          </p:txBody>
        </p:sp>
        <p:sp>
          <p:nvSpPr>
            <p:cNvPr id="391" name="Rectangle 355"/>
            <p:cNvSpPr/>
            <p:nvPr/>
          </p:nvSpPr>
          <p:spPr>
            <a:xfrm>
              <a:off x="4064064" y="5702124"/>
              <a:ext cx="337658" cy="201727"/>
            </a:xfrm>
            <a:prstGeom prst="rect">
              <a:avLst/>
            </a:prstGeom>
            <a:solidFill>
              <a:srgbClr val="4292C6"/>
            </a:solidFill>
            <a:ln w="9525">
              <a:solidFill>
                <a:srgbClr val="7F7F7F">
                  <a:alpha val="100000"/>
                </a:srgbClr>
              </a:solidFill>
              <a:prstDash val="solid"/>
              <a:round/>
            </a:ln>
          </p:spPr>
          <p:txBody>
            <a:bodyPr/>
            <a:lstStyle/>
            <a:p/>
          </p:txBody>
        </p:sp>
        <p:sp>
          <p:nvSpPr>
            <p:cNvPr id="395" name="Rectangle 359"/>
            <p:cNvSpPr/>
            <p:nvPr/>
          </p:nvSpPr>
          <p:spPr>
            <a:xfrm>
              <a:off x="4426938" y="5702124"/>
              <a:ext cx="382559" cy="201727"/>
            </a:xfrm>
            <a:prstGeom prst="rect">
              <a:avLst/>
            </a:prstGeom>
            <a:solidFill>
              <a:srgbClr val="2171B5"/>
            </a:solidFill>
            <a:ln w="9525">
              <a:solidFill>
                <a:srgbClr val="7F7F7F">
                  <a:alpha val="100000"/>
                </a:srgbClr>
              </a:solidFill>
              <a:prstDash val="solid"/>
              <a:round/>
            </a:ln>
          </p:spPr>
          <p:txBody>
            <a:bodyPr/>
            <a:lstStyle/>
            <a:p/>
          </p:txBody>
        </p:sp>
        <p:sp>
          <p:nvSpPr>
            <p:cNvPr id="399" name="Rectangle 363"/>
            <p:cNvSpPr/>
            <p:nvPr/>
          </p:nvSpPr>
          <p:spPr>
            <a:xfrm>
              <a:off x="4834713" y="5702124"/>
              <a:ext cx="454401" cy="201727"/>
            </a:xfrm>
            <a:prstGeom prst="rect">
              <a:avLst/>
            </a:prstGeom>
            <a:solidFill>
              <a:srgbClr val="08519C"/>
            </a:solidFill>
            <a:ln w="9525">
              <a:solidFill>
                <a:srgbClr val="7F7F7F">
                  <a:alpha val="100000"/>
                </a:srgbClr>
              </a:solidFill>
              <a:prstDash val="solid"/>
              <a:round/>
            </a:ln>
          </p:spPr>
          <p:txBody>
            <a:bodyPr/>
            <a:lstStyle/>
            <a:p/>
          </p:txBody>
        </p:sp>
        <p:sp>
          <p:nvSpPr>
            <p:cNvPr id="403" name="Rectangle 367"/>
            <p:cNvSpPr/>
            <p:nvPr/>
          </p:nvSpPr>
          <p:spPr>
            <a:xfrm>
              <a:off x="5314329" y="5702124"/>
              <a:ext cx="499302" cy="201727"/>
            </a:xfrm>
            <a:prstGeom prst="rect">
              <a:avLst/>
            </a:prstGeom>
            <a:solidFill>
              <a:srgbClr val="08306B"/>
            </a:solidFill>
            <a:ln w="9525">
              <a:solidFill>
                <a:srgbClr val="7F7F7F">
                  <a:alpha val="100000"/>
                </a:srgbClr>
              </a:solidFill>
              <a:prstDash val="solid"/>
              <a:round/>
            </a:ln>
          </p:spPr>
          <p:txBody>
            <a:bodyPr/>
            <a:lstStyle/>
            <a:p/>
          </p:txBody>
        </p:sp>
        <p:sp>
          <p:nvSpPr>
            <p:cNvPr id="405" name="Text 369"/>
            <p:cNvSpPr/>
            <p:nvPr/>
          </p:nvSpPr>
          <p:spPr>
            <a:xfrm rot="18900000">
              <a:off x="2863682" y="6135102"/>
              <a:ext cx="1270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0</a:t>
              </a:r>
              <a:endParaRPr sz="800">
                <a:solidFill>
                  <a:srgbClr val="000000">
                    <a:alpha val="100000"/>
                  </a:srgbClr>
                </a:solidFill>
                <a:latin typeface="Helvetica"/>
                <a:cs typeface="Helvetica"/>
              </a:endParaRPr>
            </a:p>
          </p:txBody>
        </p:sp>
        <p:sp>
          <p:nvSpPr>
            <p:cNvPr id="406" name="Text 370"/>
            <p:cNvSpPr/>
            <p:nvPr/>
          </p:nvSpPr>
          <p:spPr>
            <a:xfrm rot="18900000">
              <a:off x="3090624" y="6135102"/>
              <a:ext cx="1270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1</a:t>
              </a:r>
              <a:endParaRPr sz="800">
                <a:solidFill>
                  <a:srgbClr val="000000">
                    <a:alpha val="100000"/>
                  </a:srgbClr>
                </a:solidFill>
                <a:latin typeface="Helvetica"/>
                <a:cs typeface="Helvetica"/>
              </a:endParaRPr>
            </a:p>
          </p:txBody>
        </p:sp>
        <p:sp>
          <p:nvSpPr>
            <p:cNvPr id="407" name="Text 371"/>
            <p:cNvSpPr/>
            <p:nvPr/>
          </p:nvSpPr>
          <p:spPr>
            <a:xfrm rot="18900000">
              <a:off x="3285817" y="6135102"/>
              <a:ext cx="1905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10</a:t>
              </a:r>
              <a:endParaRPr sz="800">
                <a:solidFill>
                  <a:srgbClr val="000000">
                    <a:alpha val="100000"/>
                  </a:srgbClr>
                </a:solidFill>
                <a:latin typeface="Helvetica"/>
                <a:cs typeface="Helvetica"/>
              </a:endParaRPr>
            </a:p>
          </p:txBody>
        </p:sp>
        <p:sp>
          <p:nvSpPr>
            <p:cNvPr id="408" name="Text 372"/>
            <p:cNvSpPr/>
            <p:nvPr/>
          </p:nvSpPr>
          <p:spPr>
            <a:xfrm rot="18900000">
              <a:off x="3427103" y="6135102"/>
              <a:ext cx="3810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100</a:t>
              </a:r>
              <a:endParaRPr sz="800">
                <a:solidFill>
                  <a:srgbClr val="000000">
                    <a:alpha val="100000"/>
                  </a:srgbClr>
                </a:solidFill>
                <a:latin typeface="Helvetica"/>
                <a:cs typeface="Helvetica"/>
              </a:endParaRPr>
            </a:p>
          </p:txBody>
        </p:sp>
        <p:sp>
          <p:nvSpPr>
            <p:cNvPr id="409" name="Text 373"/>
            <p:cNvSpPr/>
            <p:nvPr/>
          </p:nvSpPr>
          <p:spPr>
            <a:xfrm rot="18900000">
              <a:off x="3665975" y="6135102"/>
              <a:ext cx="46736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1,000</a:t>
              </a:r>
              <a:endParaRPr sz="800">
                <a:solidFill>
                  <a:srgbClr val="000000">
                    <a:alpha val="100000"/>
                  </a:srgbClr>
                </a:solidFill>
                <a:latin typeface="Helvetica"/>
                <a:cs typeface="Helvetica"/>
              </a:endParaRPr>
            </a:p>
          </p:txBody>
        </p:sp>
        <p:sp>
          <p:nvSpPr>
            <p:cNvPr id="410" name="Text 374"/>
            <p:cNvSpPr/>
            <p:nvPr/>
          </p:nvSpPr>
          <p:spPr>
            <a:xfrm rot="18900000">
              <a:off x="3973377" y="6135102"/>
              <a:ext cx="53340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10,000</a:t>
              </a:r>
              <a:endParaRPr sz="800">
                <a:solidFill>
                  <a:srgbClr val="000000">
                    <a:alpha val="100000"/>
                  </a:srgbClr>
                </a:solidFill>
                <a:latin typeface="Helvetica"/>
                <a:cs typeface="Helvetica"/>
              </a:endParaRPr>
            </a:p>
          </p:txBody>
        </p:sp>
        <p:sp>
          <p:nvSpPr>
            <p:cNvPr id="411" name="Text 375"/>
            <p:cNvSpPr/>
            <p:nvPr/>
          </p:nvSpPr>
          <p:spPr>
            <a:xfrm rot="18900000">
              <a:off x="4326044" y="6135102"/>
              <a:ext cx="598714"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100,000</a:t>
              </a:r>
              <a:endParaRPr sz="800">
                <a:solidFill>
                  <a:srgbClr val="000000">
                    <a:alpha val="100000"/>
                  </a:srgbClr>
                </a:solidFill>
                <a:latin typeface="Helvetica"/>
                <a:cs typeface="Helvetica"/>
              </a:endParaRPr>
            </a:p>
          </p:txBody>
        </p:sp>
        <p:sp>
          <p:nvSpPr>
            <p:cNvPr id="412" name="Text 376"/>
            <p:cNvSpPr/>
            <p:nvPr/>
          </p:nvSpPr>
          <p:spPr>
            <a:xfrm rot="18900000">
              <a:off x="4721964" y="6135102"/>
              <a:ext cx="694267"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1,000,000</a:t>
              </a:r>
              <a:endParaRPr sz="800">
                <a:solidFill>
                  <a:srgbClr val="000000">
                    <a:alpha val="100000"/>
                  </a:srgbClr>
                </a:solidFill>
                <a:latin typeface="Helvetica"/>
                <a:cs typeface="Helvetica"/>
              </a:endParaRPr>
            </a:p>
          </p:txBody>
        </p:sp>
        <p:sp>
          <p:nvSpPr>
            <p:cNvPr id="413" name="Text 377"/>
            <p:cNvSpPr/>
            <p:nvPr/>
          </p:nvSpPr>
          <p:spPr>
            <a:xfrm rot="18900000">
              <a:off x="5191435" y="6135102"/>
              <a:ext cx="759460" cy="101600"/>
            </a:xfrm>
            <a:prstGeom prst="rect">
              <a:avLst/>
            </a:prstGeom>
            <a:noFill/>
          </p:spPr>
          <p:txBody>
            <a:bodyPr lIns="0" tIns="0" rIns="0" bIns="0" anchor="b">
              <a:spAutoFit/>
            </a:bodyPr>
            <a:lstStyle/>
            <a:p>
              <a:pPr marL="0" marR="0" indent="0" algn="ctr">
                <a:lnSpc>
                  <a:spcPts val="800"/>
                </a:lnSpc>
                <a:spcBef>
                  <a:spcPts val="0"/>
                </a:spcBef>
                <a:spcAft>
                  <a:spcPts val="0"/>
                </a:spcAft>
              </a:pPr>
              <a:r>
                <a:rPr sz="800">
                  <a:solidFill>
                    <a:srgbClr val="000000">
                      <a:alpha val="100000"/>
                    </a:srgbClr>
                  </a:solidFill>
                  <a:latin typeface="Helvetica"/>
                  <a:cs typeface="Helvetica"/>
                </a:rPr>
                <a:t>10,000,000</a:t>
              </a:r>
              <a:endParaRPr sz="800">
                <a:solidFill>
                  <a:srgbClr val="000000">
                    <a:alpha val="100000"/>
                  </a:srgbClr>
                </a:solidFill>
                <a:latin typeface="Helvetica"/>
                <a:cs typeface="Helvetica"/>
              </a:endParaRPr>
            </a:p>
          </p:txBody>
        </p:sp>
      </p:grpSp>
      <p:sp>
        <p:nvSpPr>
          <p:cNvPr id="415" name="Title Texts6"/>
          <p:cNvSpPr>
            <a:spLocks noGrp="1"/>
          </p:cNvSpPr>
          <p:nvPr>
            <p:ph idx="4294967295"/>
          </p:nvPr>
        </p:nvSpPr>
        <p:spPr>
          <a:xfrm>
            <a:off x="-64061" y="4135149"/>
            <a:ext cx="1992618" cy="1823961"/>
          </a:xfrm>
          <a:solidFill>
            <a:schemeClr val="accent2"/>
          </a:solidFill>
        </p:spPr>
        <p:txBody>
          <a:bodyPr lIns="274320" tIns="182880" rIns="182880" bIns="91440">
            <a:normAutofit/>
          </a:bodyPr>
          <a:lstStyle>
            <a:lvl1pPr marL="0" indent="0" algn="l">
              <a:buNone/>
              <a:defRPr sz="1200" b="0"/>
            </a:lvl1pPr>
          </a:lstStyle>
          <a:p>
            <a:r>
              <a:rPr lang="zh-CN" altLang="en-US" dirty="0">
                <a:solidFill>
                  <a:schemeClr val="bg1"/>
                </a:solidFill>
              </a:rPr>
              <a:t>过去</a:t>
            </a:r>
            <a:r>
              <a:rPr lang="en-US" altLang="zh-CN" dirty="0">
                <a:solidFill>
                  <a:schemeClr val="bg1"/>
                </a:solidFill>
              </a:rPr>
              <a:t>5</a:t>
            </a:r>
            <a:r>
              <a:rPr lang="zh-CN" altLang="en-US" dirty="0">
                <a:solidFill>
                  <a:schemeClr val="bg1"/>
                </a:solidFill>
              </a:rPr>
              <a:t>年，来自世界的研究成果被</a:t>
            </a:r>
            <a:r>
              <a:rPr lang="en-US" altLang="zh-CN" dirty="0">
                <a:solidFill>
                  <a:schemeClr val="bg1"/>
                </a:solidFill>
              </a:rPr>
              <a:t>244</a:t>
            </a:r>
            <a:r>
              <a:rPr lang="zh-CN" altLang="en-US" dirty="0">
                <a:solidFill>
                  <a:schemeClr val="bg1"/>
                </a:solidFill>
              </a:rPr>
              <a:t>个国家的研究人员，下载</a:t>
            </a:r>
            <a:r>
              <a:rPr dirty="0">
                <a:solidFill>
                  <a:schemeClr val="bg1"/>
                </a:solidFill>
              </a:rPr>
              <a:t>64,734,635</a:t>
            </a:r>
            <a:r>
              <a:rPr lang="zh-CN" altLang="en-US" dirty="0">
                <a:solidFill>
                  <a:schemeClr val="bg1"/>
                </a:solidFill>
              </a:rPr>
              <a:t>次</a:t>
            </a:r>
            <a:endParaRPr dirty="0">
              <a:solidFill>
                <a:schemeClr val="bg1"/>
              </a:solidFill>
            </a:endParaRPr>
          </a:p>
        </p:txBody>
      </p:sp>
      <p:graphicFrame>
        <p:nvGraphicFramePr>
          <p:cNvPr id="416" name="nvGraphicFrame 7"/>
          <p:cNvGraphicFramePr>
            <a:graphicFrameLocks noGrp="1"/>
          </p:cNvGraphicFramePr>
          <p:nvPr/>
        </p:nvGraphicFramePr>
        <p:xfrm>
          <a:off x="7086600" y="2021074"/>
          <a:ext cx="1828800" cy="3913801"/>
        </p:xfrm>
        <a:graphic>
          <a:graphicData uri="http://schemas.openxmlformats.org/drawingml/2006/table">
            <a:tbl>
              <a:tblPr/>
              <a:tblGrid>
                <a:gridCol w="1143000"/>
                <a:gridCol w="685800"/>
              </a:tblGrid>
              <a:tr h="358801">
                <a:tc gridSpan="2">
                  <a:txBody>
                    <a:bodyPr/>
                    <a:lstStyle/>
                    <a:p>
                      <a:pPr marL="25400" marR="25400" indent="0" algn="ctr">
                        <a:spcBef>
                          <a:spcPts val="200"/>
                        </a:spcBef>
                        <a:spcAft>
                          <a:spcPts val="200"/>
                        </a:spcAft>
                        <a:buNone/>
                      </a:pPr>
                      <a:r>
                        <a:rPr sz="1100" b="1" dirty="0">
                          <a:solidFill>
                            <a:srgbClr val="FFFFFF"/>
                          </a:solidFill>
                          <a:latin typeface="Helvetica"/>
                          <a:ea typeface="Helvetica"/>
                          <a:cs typeface="Helvetica"/>
                        </a:rPr>
                        <a:t>Top 20 Citing Countries</a:t>
                      </a:r>
                      <a:endParaRPr sz="1100" b="1" dirty="0">
                        <a:solidFill>
                          <a:srgbClr val="FFFFFF"/>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FF8C00"/>
                    </a:solidFill>
                  </a:tcPr>
                </a:tc>
                <a:tc hMerge="1">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United States</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a:solidFill>
                            <a:schemeClr val="tx1"/>
                          </a:solidFill>
                          <a:latin typeface="Helvetica"/>
                          <a:ea typeface="Helvetica"/>
                          <a:cs typeface="Helvetica"/>
                        </a:rPr>
                        <a:t>20.46 %</a:t>
                      </a:r>
                      <a:endParaRPr sz="110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China</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5.50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United Kingdom</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a:solidFill>
                            <a:schemeClr val="tx1"/>
                          </a:solidFill>
                          <a:latin typeface="Helvetica"/>
                          <a:ea typeface="Helvetica"/>
                          <a:cs typeface="Helvetica"/>
                        </a:rPr>
                        <a:t>4.82 %</a:t>
                      </a:r>
                      <a:endParaRPr sz="110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Germany</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4.53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India</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4.03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Italy</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64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France</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64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Japan</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58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Spain</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23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Canada</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3.06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77750">
                <a:tc>
                  <a:txBody>
                    <a:bodyPr/>
                    <a:lstStyle/>
                    <a:p>
                      <a:pPr marL="25400" marR="25400" indent="0" algn="r">
                        <a:spcBef>
                          <a:spcPts val="200"/>
                        </a:spcBef>
                        <a:spcAft>
                          <a:spcPts val="200"/>
                        </a:spcAft>
                        <a:buNone/>
                      </a:pPr>
                      <a:r>
                        <a:rPr sz="1100">
                          <a:solidFill>
                            <a:schemeClr val="tx1"/>
                          </a:solidFill>
                          <a:latin typeface="Helvetica"/>
                          <a:ea typeface="Helvetica"/>
                          <a:cs typeface="Helvetica"/>
                        </a:rPr>
                        <a:t>Australia</a:t>
                      </a:r>
                      <a:endParaRPr sz="110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2.68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Korea</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2.52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77750">
                <a:tc>
                  <a:txBody>
                    <a:bodyPr/>
                    <a:lstStyle/>
                    <a:p>
                      <a:pPr marL="25400" marR="25400" indent="0" algn="r">
                        <a:spcBef>
                          <a:spcPts val="200"/>
                        </a:spcBef>
                        <a:spcAft>
                          <a:spcPts val="200"/>
                        </a:spcAft>
                        <a:buNone/>
                      </a:pPr>
                      <a:r>
                        <a:rPr sz="1100">
                          <a:solidFill>
                            <a:schemeClr val="tx1"/>
                          </a:solidFill>
                          <a:latin typeface="Helvetica"/>
                          <a:ea typeface="Helvetica"/>
                          <a:cs typeface="Helvetica"/>
                        </a:rPr>
                        <a:t>Brazil</a:t>
                      </a:r>
                      <a:endParaRPr sz="110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2.24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Iran</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2.19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77750">
                <a:tc>
                  <a:txBody>
                    <a:bodyPr/>
                    <a:lstStyle/>
                    <a:p>
                      <a:pPr marL="25400" marR="25400" indent="0" algn="r">
                        <a:spcBef>
                          <a:spcPts val="200"/>
                        </a:spcBef>
                        <a:spcAft>
                          <a:spcPts val="200"/>
                        </a:spcAft>
                        <a:buNone/>
                      </a:pPr>
                      <a:r>
                        <a:rPr sz="1100">
                          <a:solidFill>
                            <a:schemeClr val="tx1"/>
                          </a:solidFill>
                          <a:latin typeface="Helvetica"/>
                          <a:ea typeface="Helvetica"/>
                          <a:cs typeface="Helvetica"/>
                        </a:rPr>
                        <a:t>Netherlands</a:t>
                      </a:r>
                      <a:endParaRPr sz="110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67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Taiwan</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59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Turkey</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55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Poland</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26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r h="177750">
                <a:tc>
                  <a:txBody>
                    <a:bodyPr/>
                    <a:lstStyle/>
                    <a:p>
                      <a:pPr marL="25400" marR="25400" indent="0" algn="r">
                        <a:spcBef>
                          <a:spcPts val="200"/>
                        </a:spcBef>
                        <a:spcAft>
                          <a:spcPts val="200"/>
                        </a:spcAft>
                        <a:buNone/>
                      </a:pPr>
                      <a:r>
                        <a:rPr sz="1100">
                          <a:solidFill>
                            <a:schemeClr val="tx1"/>
                          </a:solidFill>
                          <a:latin typeface="Helvetica"/>
                          <a:ea typeface="Helvetica"/>
                          <a:cs typeface="Helvetica"/>
                        </a:rPr>
                        <a:t>Switzerland</a:t>
                      </a:r>
                      <a:endParaRPr sz="110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1.06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solidFill>
                  </a:tcPr>
                </a:tc>
              </a:tr>
              <a:tr h="177750">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Sweden</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25400" marR="25400" indent="0" algn="r">
                        <a:spcBef>
                          <a:spcPts val="200"/>
                        </a:spcBef>
                        <a:spcAft>
                          <a:spcPts val="200"/>
                        </a:spcAft>
                        <a:buNone/>
                      </a:pPr>
                      <a:r>
                        <a:rPr sz="1100" dirty="0">
                          <a:solidFill>
                            <a:schemeClr val="tx1"/>
                          </a:solidFill>
                          <a:latin typeface="Helvetica"/>
                          <a:ea typeface="Helvetica"/>
                          <a:cs typeface="Helvetica"/>
                        </a:rPr>
                        <a:t>0.95 %</a:t>
                      </a:r>
                      <a:endParaRPr sz="1100" dirty="0">
                        <a:solidFill>
                          <a:schemeClr val="tx1"/>
                        </a:solidFill>
                        <a:latin typeface="Helvetica"/>
                        <a:ea typeface="Helvetica"/>
                        <a:cs typeface="Helvetica"/>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r>
            </a:tbl>
          </a:graphicData>
        </a:graphic>
      </p:graphicFrame>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childTnLst>
                                    <p:set>
                                      <p:cBhvr>
                                        <p:cTn id="6" dur="1" fill="hold">
                                          <p:stCondLst>
                                            <p:cond delay="0"/>
                                          </p:stCondLst>
                                        </p:cTn>
                                        <p:tgtEl>
                                          <p:spTgt spid="415">
                                            <p:bg/>
                                          </p:spTgt>
                                        </p:tgtEl>
                                        <p:attrNameLst>
                                          <p:attrName>style.visibility</p:attrName>
                                        </p:attrNameLst>
                                      </p:cBhvr>
                                      <p:to>
                                        <p:strVal val="visible"/>
                                      </p:to>
                                    </p:set>
                                    <p:animEffect transition="in" filter="fade">
                                      <p:cBhvr>
                                        <p:cTn id="7" dur="1000"/>
                                        <p:tgtEl>
                                          <p:spTgt spid="415">
                                            <p:bg/>
                                          </p:spTgt>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415">
                                            <p:txEl>
                                              <p:pRg st="0" end="0"/>
                                            </p:txEl>
                                          </p:spTgt>
                                        </p:tgtEl>
                                        <p:attrNameLst>
                                          <p:attrName>style.visibility</p:attrName>
                                        </p:attrNameLst>
                                      </p:cBhvr>
                                      <p:to>
                                        <p:strVal val="visible"/>
                                      </p:to>
                                    </p:set>
                                    <p:animEffect transition="in" filter="fade">
                                      <p:cBhvr>
                                        <p:cTn id="10" dur="1000"/>
                                        <p:tgtEl>
                                          <p:spTgt spid="41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5" grpId="0" animBg="1" build="p"/>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754880" y="-48260"/>
            <a:ext cx="4389120" cy="12435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itle 2"/>
          <p:cNvSpPr>
            <a:spLocks noGrp="1"/>
          </p:cNvSpPr>
          <p:nvPr>
            <p:ph type="title" idx="4294967295"/>
          </p:nvPr>
        </p:nvSpPr>
        <p:spPr>
          <a:xfrm>
            <a:off x="4752895" y="253568"/>
            <a:ext cx="4509977" cy="640080"/>
          </a:xfrm>
          <a:prstGeom prst="rect">
            <a:avLst/>
          </a:prstGeom>
        </p:spPr>
        <p:txBody>
          <a:bodyPr/>
          <a:lstStyle/>
          <a:p>
            <a:r>
              <a:rPr lang="nl-NL" sz="2400" b="1" dirty="0">
                <a:solidFill>
                  <a:schemeClr val="bg1"/>
                </a:solidFill>
              </a:rPr>
              <a:t>The Value of ScienceDirect</a:t>
            </a:r>
            <a:endParaRPr lang="en-US" sz="2400" b="1" dirty="0">
              <a:solidFill>
                <a:schemeClr val="bg1"/>
              </a:solidFill>
            </a:endParaRPr>
          </a:p>
        </p:txBody>
      </p:sp>
      <p:sp>
        <p:nvSpPr>
          <p:cNvPr id="11" name="Rounded Rectangle 10"/>
          <p:cNvSpPr/>
          <p:nvPr/>
        </p:nvSpPr>
        <p:spPr>
          <a:xfrm>
            <a:off x="5337469" y="440729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bg2">
                    <a:lumMod val="95000"/>
                  </a:schemeClr>
                </a:solidFill>
              </a:rPr>
              <a:t>提升可见性</a:t>
            </a:r>
            <a:endParaRPr lang="en-GB" sz="1600" dirty="0">
              <a:solidFill>
                <a:schemeClr val="bg2">
                  <a:lumMod val="95000"/>
                </a:schemeClr>
              </a:solidFill>
            </a:endParaRPr>
          </a:p>
        </p:txBody>
      </p:sp>
      <p:sp>
        <p:nvSpPr>
          <p:cNvPr id="13" name="Rounded Rectangle 12"/>
          <p:cNvSpPr/>
          <p:nvPr/>
        </p:nvSpPr>
        <p:spPr>
          <a:xfrm>
            <a:off x="5337470" y="1568196"/>
            <a:ext cx="3200401" cy="457200"/>
          </a:xfrm>
          <a:prstGeom prst="roundRect">
            <a:avLst>
              <a:gd name="adj" fmla="val 0"/>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bg2">
                    <a:lumMod val="95000"/>
                  </a:schemeClr>
                </a:solidFill>
              </a:rPr>
              <a:t>Elsevier</a:t>
            </a:r>
            <a:r>
              <a:rPr lang="zh-CN" altLang="en-US" sz="1600" dirty="0">
                <a:solidFill>
                  <a:schemeClr val="bg2">
                    <a:lumMod val="95000"/>
                  </a:schemeClr>
                </a:solidFill>
              </a:rPr>
              <a:t>的历史及传承</a:t>
            </a:r>
            <a:endParaRPr lang="en-GB" sz="1600" dirty="0">
              <a:solidFill>
                <a:schemeClr val="bg2">
                  <a:lumMod val="95000"/>
                </a:schemeClr>
              </a:solidFill>
            </a:endParaRPr>
          </a:p>
        </p:txBody>
      </p:sp>
      <p:sp>
        <p:nvSpPr>
          <p:cNvPr id="14" name="Rounded Rectangle 13"/>
          <p:cNvSpPr/>
          <p:nvPr/>
        </p:nvSpPr>
        <p:spPr>
          <a:xfrm>
            <a:off x="5337471" y="2986700"/>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bg2">
                    <a:lumMod val="95000"/>
                  </a:schemeClr>
                </a:solidFill>
              </a:rPr>
              <a:t>ScienceDirect全文数据库</a:t>
            </a:r>
            <a:endParaRPr lang="zh-CN" altLang="en-US" sz="1600" dirty="0">
              <a:solidFill>
                <a:schemeClr val="bg2">
                  <a:lumMod val="95000"/>
                </a:schemeClr>
              </a:solidFill>
            </a:endParaRPr>
          </a:p>
        </p:txBody>
      </p:sp>
      <p:sp>
        <p:nvSpPr>
          <p:cNvPr id="15" name="Rounded Rectangle 14"/>
          <p:cNvSpPr/>
          <p:nvPr/>
        </p:nvSpPr>
        <p:spPr>
          <a:xfrm>
            <a:off x="5337471" y="2287456"/>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zh-CN" altLang="en-US" sz="1600" dirty="0">
                <a:solidFill>
                  <a:schemeClr val="bg2">
                    <a:lumMod val="95000"/>
                  </a:schemeClr>
                </a:solidFill>
              </a:rPr>
              <a:t>科学研究流程</a:t>
            </a:r>
            <a:endParaRPr lang="en-GB" sz="1600" dirty="0">
              <a:solidFill>
                <a:schemeClr val="bg2">
                  <a:lumMod val="95000"/>
                </a:schemeClr>
              </a:solidFill>
            </a:endParaRPr>
          </a:p>
        </p:txBody>
      </p:sp>
      <p:sp>
        <p:nvSpPr>
          <p:cNvPr id="16" name="Rounded Rectangle 15"/>
          <p:cNvSpPr/>
          <p:nvPr/>
        </p:nvSpPr>
        <p:spPr>
          <a:xfrm>
            <a:off x="5337471" y="3685944"/>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marL="1270" lvl="1" algn="ctr" eaLnBrk="0" hangingPunct="0">
              <a:spcBef>
                <a:spcPct val="20000"/>
              </a:spcBef>
              <a:buClr>
                <a:schemeClr val="accent1"/>
              </a:buClr>
            </a:pPr>
            <a:r>
              <a:rPr lang="en-GB" sz="1600" dirty="0">
                <a:solidFill>
                  <a:schemeClr val="bg2">
                    <a:lumMod val="95000"/>
                  </a:schemeClr>
                </a:solidFill>
              </a:rPr>
              <a:t>SD</a:t>
            </a:r>
            <a:r>
              <a:rPr lang="zh-CN" altLang="en-US" sz="1600" dirty="0">
                <a:solidFill>
                  <a:schemeClr val="bg2">
                    <a:lumMod val="95000"/>
                  </a:schemeClr>
                </a:solidFill>
              </a:rPr>
              <a:t>上线新功能</a:t>
            </a:r>
            <a:endParaRPr lang="en-GB" sz="1600" dirty="0">
              <a:solidFill>
                <a:schemeClr val="bg2">
                  <a:lumMod val="95000"/>
                </a:schemeClr>
              </a:solidFill>
            </a:endParaRPr>
          </a:p>
        </p:txBody>
      </p:sp>
      <p:sp>
        <p:nvSpPr>
          <p:cNvPr id="2" name="Rounded Rectangle 10"/>
          <p:cNvSpPr/>
          <p:nvPr/>
        </p:nvSpPr>
        <p:spPr>
          <a:xfrm>
            <a:off x="5349534" y="5082295"/>
            <a:ext cx="3200401" cy="437184"/>
          </a:xfrm>
          <a:prstGeom prst="roundRect">
            <a:avLst/>
          </a:prstGeom>
          <a:noFill/>
          <a:ln>
            <a:noFill/>
          </a:ln>
        </p:spPr>
        <p:style>
          <a:lnRef idx="2">
            <a:schemeClr val="accent1"/>
          </a:lnRef>
          <a:fillRef idx="1">
            <a:schemeClr val="lt1"/>
          </a:fillRef>
          <a:effectRef idx="0">
            <a:schemeClr val="accent1"/>
          </a:effectRef>
          <a:fontRef idx="minor">
            <a:schemeClr val="dk1"/>
          </a:fontRef>
        </p:style>
        <p:txBody>
          <a:bodyPr rtlCol="0" anchor="ctr"/>
          <a:p>
            <a:pPr marL="1270" lvl="1" algn="ctr" eaLnBrk="0" hangingPunct="0">
              <a:spcBef>
                <a:spcPct val="20000"/>
              </a:spcBef>
              <a:buClr>
                <a:schemeClr val="accent1"/>
              </a:buClr>
            </a:pPr>
            <a:r>
              <a:rPr lang="zh-CN" altLang="en-US" sz="1600" dirty="0">
                <a:solidFill>
                  <a:schemeClr val="tx2"/>
                </a:solidFill>
              </a:rPr>
              <a:t>科研论文写作</a:t>
            </a:r>
            <a:endParaRPr lang="zh-CN" altLang="en-US" sz="1600" dirty="0">
              <a:solidFill>
                <a:schemeClr val="tx2"/>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p:txBody>
          <a:bodyPr/>
          <a:lstStyle/>
          <a:p>
            <a:r>
              <a:rPr lang="zh-CN" altLang="en-US" dirty="0"/>
              <a:t>关注成功</a:t>
            </a:r>
            <a:endParaRPr lang="en-US" altLang="zh-CN" dirty="0"/>
          </a:p>
          <a:p>
            <a:pPr lvl="1"/>
            <a:r>
              <a:rPr lang="zh-CN" altLang="en-US" i="1" dirty="0"/>
              <a:t>什么样的研究能够发表？</a:t>
            </a:r>
            <a:endParaRPr lang="en-US" altLang="zh-CN" i="1" dirty="0"/>
          </a:p>
          <a:p>
            <a:r>
              <a:rPr lang="zh-CN" altLang="en-US" dirty="0"/>
              <a:t>及时处理数据</a:t>
            </a:r>
            <a:endParaRPr lang="en-US" altLang="zh-CN" dirty="0"/>
          </a:p>
          <a:p>
            <a:r>
              <a:rPr lang="zh-CN" altLang="en-US" dirty="0"/>
              <a:t>整理文献</a:t>
            </a:r>
            <a:endParaRPr lang="en-US" altLang="zh-CN" dirty="0"/>
          </a:p>
          <a:p>
            <a:r>
              <a:rPr lang="zh-CN" altLang="en-US" dirty="0"/>
              <a:t>牢记目的</a:t>
            </a:r>
            <a:endParaRPr lang="en-US" altLang="zh-CN" dirty="0"/>
          </a:p>
          <a:p>
            <a:pPr lvl="1"/>
            <a:r>
              <a:rPr lang="zh-CN" altLang="en-US" i="1" dirty="0"/>
              <a:t>工作的安排需要围绕中心</a:t>
            </a:r>
            <a:endParaRPr lang="en-US" altLang="zh-CN" i="1" dirty="0"/>
          </a:p>
          <a:p>
            <a:pPr lvl="1"/>
            <a:r>
              <a:rPr lang="zh-CN" altLang="en-US" b="1" i="1" dirty="0">
                <a:solidFill>
                  <a:srgbClr val="C00000"/>
                </a:solidFill>
              </a:rPr>
              <a:t>补数据</a:t>
            </a:r>
            <a:endParaRPr lang="en-US" altLang="zh-CN" b="1" i="1" dirty="0">
              <a:solidFill>
                <a:srgbClr val="C00000"/>
              </a:solidFill>
            </a:endParaRPr>
          </a:p>
          <a:p>
            <a:r>
              <a:rPr lang="zh-CN" altLang="en-US" dirty="0"/>
              <a:t>走出实验室</a:t>
            </a:r>
            <a:endParaRPr lang="en-US" altLang="zh-CN" dirty="0"/>
          </a:p>
          <a:p>
            <a:pPr lvl="1"/>
            <a:r>
              <a:rPr lang="zh-CN" altLang="en-US" dirty="0">
                <a:solidFill>
                  <a:srgbClr val="C00000"/>
                </a:solidFill>
              </a:rPr>
              <a:t>竞争</a:t>
            </a:r>
            <a:r>
              <a:rPr lang="en-US" altLang="zh-CN" dirty="0">
                <a:solidFill>
                  <a:srgbClr val="C00000"/>
                </a:solidFill>
              </a:rPr>
              <a:t>&amp;</a:t>
            </a:r>
            <a:r>
              <a:rPr lang="zh-CN" altLang="en-US" dirty="0">
                <a:solidFill>
                  <a:srgbClr val="C00000"/>
                </a:solidFill>
              </a:rPr>
              <a:t>合作</a:t>
            </a:r>
            <a:endParaRPr lang="en-US" altLang="zh-CN" dirty="0">
              <a:solidFill>
                <a:srgbClr val="C00000"/>
              </a:solidFill>
            </a:endParaRPr>
          </a:p>
          <a:p>
            <a:pPr lvl="1"/>
            <a:r>
              <a:rPr lang="zh-CN" altLang="en-US" dirty="0"/>
              <a:t>其他人的观点</a:t>
            </a:r>
            <a:endParaRPr lang="en-US" altLang="zh-CN" dirty="0"/>
          </a:p>
          <a:p>
            <a:r>
              <a:rPr lang="zh-CN" altLang="en-US" dirty="0"/>
              <a:t>设置最终期限</a:t>
            </a:r>
            <a:endParaRPr lang="en-US" dirty="0"/>
          </a:p>
        </p:txBody>
      </p:sp>
      <p:sp>
        <p:nvSpPr>
          <p:cNvPr id="3" name="Title 2"/>
          <p:cNvSpPr>
            <a:spLocks noGrp="1"/>
          </p:cNvSpPr>
          <p:nvPr>
            <p:ph type="title"/>
          </p:nvPr>
        </p:nvSpPr>
        <p:spPr/>
        <p:txBody>
          <a:bodyPr/>
          <a:lstStyle/>
          <a:p>
            <a:r>
              <a:rPr lang="zh-CN" altLang="en-US" dirty="0">
                <a:solidFill>
                  <a:srgbClr val="C00000"/>
                </a:solidFill>
              </a:rPr>
              <a:t>高效能</a:t>
            </a:r>
            <a:r>
              <a:rPr lang="zh-CN" altLang="en-US" dirty="0"/>
              <a:t>的论文写作注意以下事项</a:t>
            </a:r>
            <a:endParaRPr lang="en-US" dirty="0"/>
          </a:p>
        </p:txBody>
      </p:sp>
      <p:pic>
        <p:nvPicPr>
          <p:cNvPr id="6" name="图片 8"/>
          <p:cNvPicPr>
            <a:picLocks noChangeAspect="1"/>
          </p:cNvPicPr>
          <p:nvPr/>
        </p:nvPicPr>
        <p:blipFill>
          <a:blip r:embed="rId1">
            <a:clrChange>
              <a:clrFrom>
                <a:srgbClr val="FAFBF1"/>
              </a:clrFrom>
              <a:clrTo>
                <a:srgbClr val="FAFBF1">
                  <a:alpha val="0"/>
                </a:srgbClr>
              </a:clrTo>
            </a:clrChange>
            <a:extLst>
              <a:ext uri="{BEBA8EAE-BF5A-486C-A8C5-ECC9F3942E4B}">
                <a14:imgProps xmlns:a14="http://schemas.microsoft.com/office/drawing/2010/main">
                  <a14:imgLayer r:embed="rId2">
                    <a14:imgEffect>
                      <a14:sharpenSoften amount="25000"/>
                    </a14:imgEffect>
                  </a14:imgLayer>
                </a14:imgProps>
              </a:ext>
            </a:extLst>
          </a:blip>
          <a:srcRect/>
          <a:stretch>
            <a:fillRect/>
          </a:stretch>
        </p:blipFill>
        <p:spPr bwMode="auto">
          <a:xfrm>
            <a:off x="5277891" y="4846999"/>
            <a:ext cx="3586097" cy="723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图片 1"/>
          <p:cNvPicPr>
            <a:picLocks noChangeAspect="1"/>
          </p:cNvPicPr>
          <p:nvPr/>
        </p:nvPicPr>
        <p:blipFill>
          <a:blip r:embed="rId3" cstate="screen"/>
          <a:stretch>
            <a:fillRect/>
          </a:stretch>
        </p:blipFill>
        <p:spPr>
          <a:xfrm>
            <a:off x="6408842" y="2412584"/>
            <a:ext cx="2455146" cy="336911"/>
          </a:xfrm>
          <a:prstGeom prst="rect">
            <a:avLst/>
          </a:prstGeom>
        </p:spPr>
      </p:pic>
      <p:pic>
        <p:nvPicPr>
          <p:cNvPr id="8" name="Picture 2"/>
          <p:cNvPicPr>
            <a:picLocks noChangeAspect="1" noChangeArrowheads="1"/>
          </p:cNvPicPr>
          <p:nvPr/>
        </p:nvPicPr>
        <p:blipFill>
          <a:blip r:embed="rId4" cstate="screen"/>
          <a:srcRect/>
          <a:stretch>
            <a:fillRect/>
          </a:stretch>
        </p:blipFill>
        <p:spPr bwMode="auto">
          <a:xfrm>
            <a:off x="7320503" y="4334172"/>
            <a:ext cx="1543485" cy="5128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图片 4"/>
          <p:cNvPicPr>
            <a:picLocks noChangeAspect="1"/>
          </p:cNvPicPr>
          <p:nvPr/>
        </p:nvPicPr>
        <p:blipFill>
          <a:blip r:embed="rId5" cstate="screen"/>
          <a:stretch>
            <a:fillRect/>
          </a:stretch>
        </p:blipFill>
        <p:spPr>
          <a:xfrm>
            <a:off x="7324466" y="3049628"/>
            <a:ext cx="1371052" cy="1085873"/>
          </a:xfrm>
          <a:prstGeom prst="rect">
            <a:avLst/>
          </a:prstGeom>
        </p:spPr>
      </p:pic>
      <p:pic>
        <p:nvPicPr>
          <p:cNvPr id="11" name="图片 9"/>
          <p:cNvPicPr>
            <a:picLocks noChangeAspect="1"/>
          </p:cNvPicPr>
          <p:nvPr/>
        </p:nvPicPr>
        <p:blipFill>
          <a:blip r:embed="rId6" cstate="screen"/>
          <a:stretch>
            <a:fillRect/>
          </a:stretch>
        </p:blipFill>
        <p:spPr>
          <a:xfrm>
            <a:off x="5346048" y="4443034"/>
            <a:ext cx="1724891" cy="295102"/>
          </a:xfrm>
          <a:prstGeom prst="rect">
            <a:avLst/>
          </a:prstGeom>
        </p:spPr>
      </p:pic>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462226" y="1012409"/>
            <a:ext cx="1401762" cy="1400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1"/>
          <p:cNvSpPr>
            <a:spLocks noGrp="1"/>
          </p:cNvSpPr>
          <p:nvPr>
            <p:ph type="title" idx="4294967295"/>
          </p:nvPr>
        </p:nvSpPr>
        <p:spPr>
          <a:xfrm>
            <a:off x="0" y="274638"/>
            <a:ext cx="8229600" cy="778098"/>
          </a:xfrm>
        </p:spPr>
        <p:txBody>
          <a:bodyPr/>
          <a:lstStyle/>
          <a:p>
            <a:r>
              <a:rPr lang="en-US" altLang="zh-CN" dirty="0">
                <a:latin typeface="Arial" panose="020B0604020202020204" pitchFamily="34" charset="0"/>
                <a:ea typeface="微软雅黑" panose="020B0503020204020204" charset="-122"/>
                <a:cs typeface="Arial" panose="020B0604020202020204" pitchFamily="34" charset="0"/>
              </a:rPr>
              <a:t>   a.</a:t>
            </a:r>
            <a:r>
              <a:rPr lang="zh-CN" altLang="en-US" dirty="0">
                <a:latin typeface="Arial" panose="020B0604020202020204" pitchFamily="34" charset="0"/>
                <a:ea typeface="微软雅黑" panose="020B0503020204020204" charset="-122"/>
                <a:cs typeface="Arial" panose="020B0604020202020204" pitchFamily="34" charset="0"/>
              </a:rPr>
              <a:t>寻找合适的期刊</a:t>
            </a:r>
            <a:endParaRPr lang="zh-CN" altLang="en-US" dirty="0">
              <a:latin typeface="Arial" panose="020B0604020202020204" pitchFamily="34" charset="0"/>
              <a:ea typeface="微软雅黑" panose="020B0503020204020204" charset="-122"/>
              <a:cs typeface="Arial" panose="020B0604020202020204" pitchFamily="34" charset="0"/>
            </a:endParaRPr>
          </a:p>
        </p:txBody>
      </p:sp>
      <p:sp>
        <p:nvSpPr>
          <p:cNvPr id="3" name="内容占位符 2"/>
          <p:cNvSpPr>
            <a:spLocks noGrp="1"/>
          </p:cNvSpPr>
          <p:nvPr>
            <p:ph idx="4294967295"/>
          </p:nvPr>
        </p:nvSpPr>
        <p:spPr>
          <a:xfrm>
            <a:off x="270296" y="1343025"/>
            <a:ext cx="5957888" cy="5038725"/>
          </a:xfrm>
        </p:spPr>
        <p:txBody>
          <a:bodyPr>
            <a:noAutofit/>
          </a:bodyPr>
          <a:lstStyle/>
          <a:p>
            <a:pPr marL="0" indent="0">
              <a:lnSpc>
                <a:spcPts val="3000"/>
              </a:lnSpc>
              <a:spcBef>
                <a:spcPts val="0"/>
              </a:spcBef>
              <a:buNone/>
            </a:pPr>
            <a:r>
              <a:rPr lang="zh-CN" altLang="en-US" sz="1800" dirty="0">
                <a:solidFill>
                  <a:schemeClr val="accent2"/>
                </a:solidFill>
                <a:latin typeface="Arial" panose="020B0604020202020204" pitchFamily="34" charset="0"/>
                <a:ea typeface="宋体" panose="02010600030101010101" pitchFamily="2" charset="-122"/>
                <a:cs typeface="Arial" panose="020B0604020202020204" pitchFamily="34" charset="0"/>
              </a:rPr>
              <a:t>期刊寻找：</a:t>
            </a:r>
            <a:endParaRPr lang="en-US" altLang="zh-CN" sz="1800" dirty="0">
              <a:solidFill>
                <a:schemeClr val="accent2"/>
              </a:solidFill>
              <a:latin typeface="Arial" panose="020B0604020202020204" pitchFamily="34" charset="0"/>
              <a:ea typeface="宋体" panose="02010600030101010101" pitchFamily="2" charset="-122"/>
              <a:cs typeface="Arial" panose="020B0604020202020204" pitchFamily="34" charset="0"/>
            </a:endParaRPr>
          </a:p>
          <a:p>
            <a:pPr marL="539750" indent="-180975">
              <a:lnSpc>
                <a:spcPts val="3000"/>
              </a:lnSpc>
              <a:spcBef>
                <a:spcPts val="0"/>
              </a:spcBef>
              <a:buFont typeface="Arial" panose="020B0604020202020204" pitchFamily="34" charset="0"/>
              <a:buChar char="•"/>
            </a:pPr>
            <a:r>
              <a:rPr lang="zh-CN" altLang="en-US" sz="1800" dirty="0">
                <a:latin typeface="Arial" panose="020B0604020202020204" pitchFamily="34" charset="0"/>
                <a:ea typeface="宋体" panose="02010600030101010101" pitchFamily="2" charset="-122"/>
                <a:cs typeface="Arial" panose="020B0604020202020204" pitchFamily="34" charset="0"/>
              </a:rPr>
              <a:t>参考文献的期刊</a:t>
            </a:r>
            <a:endParaRPr lang="en-US" altLang="zh-CN" sz="1800" dirty="0">
              <a:latin typeface="Arial" panose="020B0604020202020204" pitchFamily="34" charset="0"/>
              <a:ea typeface="宋体" panose="02010600030101010101" pitchFamily="2" charset="-122"/>
              <a:cs typeface="Arial" panose="020B0604020202020204" pitchFamily="34" charset="0"/>
            </a:endParaRPr>
          </a:p>
          <a:p>
            <a:pPr marL="539750" indent="-180975">
              <a:lnSpc>
                <a:spcPts val="3000"/>
              </a:lnSpc>
              <a:spcBef>
                <a:spcPts val="0"/>
              </a:spcBef>
              <a:buFont typeface="Arial" panose="020B0604020202020204" pitchFamily="34" charset="0"/>
              <a:buChar char="•"/>
            </a:pPr>
            <a:r>
              <a:rPr lang="zh-CN" altLang="en-US" sz="1800" dirty="0">
                <a:latin typeface="Arial" panose="020B0604020202020204" pitchFamily="34" charset="0"/>
                <a:ea typeface="宋体" panose="02010600030101010101" pitchFamily="2" charset="-122"/>
                <a:cs typeface="Arial" panose="020B0604020202020204" pitchFamily="34" charset="0"/>
              </a:rPr>
              <a:t>期刊</a:t>
            </a:r>
            <a:r>
              <a:rPr lang="zh-TW" altLang="en-US" sz="1800" dirty="0">
                <a:latin typeface="Arial" panose="020B0604020202020204" pitchFamily="34" charset="0"/>
                <a:ea typeface="宋体" panose="02010600030101010101" pitchFamily="2" charset="-122"/>
                <a:cs typeface="Arial" panose="020B0604020202020204" pitchFamily="34" charset="0"/>
              </a:rPr>
              <a:t>排名</a:t>
            </a:r>
            <a:r>
              <a:rPr lang="zh-CN" altLang="en-US" sz="1800" dirty="0">
                <a:latin typeface="Arial" panose="020B0604020202020204" pitchFamily="34" charset="0"/>
                <a:ea typeface="宋体" panose="02010600030101010101" pitchFamily="2" charset="-122"/>
                <a:cs typeface="Arial" panose="020B0604020202020204" pitchFamily="34" charset="0"/>
              </a:rPr>
              <a:t>与影响力 </a:t>
            </a:r>
            <a:r>
              <a:rPr lang="en-US" altLang="zh-CN" sz="1800" dirty="0">
                <a:solidFill>
                  <a:srgbClr val="FF9900"/>
                </a:solidFill>
                <a:latin typeface="Arial" panose="020B0604020202020204" pitchFamily="34" charset="0"/>
                <a:ea typeface="宋体" panose="02010600030101010101" pitchFamily="2" charset="-122"/>
                <a:cs typeface="Arial" panose="020B0604020202020204" pitchFamily="34" charset="0"/>
              </a:rPr>
              <a:t>Journal Ranking</a:t>
            </a:r>
            <a:endParaRPr lang="en-US" altLang="zh-CN" sz="1800" dirty="0">
              <a:solidFill>
                <a:srgbClr val="FF9900"/>
              </a:solidFill>
              <a:latin typeface="Arial" panose="020B0604020202020204" pitchFamily="34" charset="0"/>
              <a:ea typeface="宋体" panose="02010600030101010101" pitchFamily="2" charset="-122"/>
              <a:cs typeface="Arial" panose="020B0604020202020204" pitchFamily="34" charset="0"/>
            </a:endParaRPr>
          </a:p>
          <a:p>
            <a:pPr marL="539750" indent="-180975">
              <a:lnSpc>
                <a:spcPts val="3000"/>
              </a:lnSpc>
              <a:spcBef>
                <a:spcPts val="0"/>
              </a:spcBef>
              <a:buFont typeface="Arial" panose="020B0604020202020204" pitchFamily="34" charset="0"/>
              <a:buChar char="•"/>
            </a:pPr>
            <a:r>
              <a:rPr lang="zh-CN" altLang="en-US" sz="1800" dirty="0">
                <a:latin typeface="Arial" panose="020B0604020202020204" pitchFamily="34" charset="0"/>
                <a:ea typeface="宋体" panose="02010600030101010101" pitchFamily="2" charset="-122"/>
                <a:cs typeface="Arial" panose="020B0604020202020204" pitchFamily="34" charset="0"/>
              </a:rPr>
              <a:t>寻求导师或同事的帮助</a:t>
            </a:r>
            <a:endParaRPr lang="en-US" altLang="zh-CN" sz="1800" dirty="0">
              <a:latin typeface="Arial" panose="020B0604020202020204" pitchFamily="34" charset="0"/>
              <a:ea typeface="宋体" panose="02010600030101010101" pitchFamily="2" charset="-122"/>
              <a:cs typeface="Arial" panose="020B0604020202020204" pitchFamily="34" charset="0"/>
            </a:endParaRPr>
          </a:p>
          <a:p>
            <a:pPr marL="539750" indent="-180975">
              <a:lnSpc>
                <a:spcPts val="3000"/>
              </a:lnSpc>
              <a:spcBef>
                <a:spcPts val="0"/>
              </a:spcBef>
              <a:buNone/>
            </a:pPr>
            <a:r>
              <a:rPr lang="zh-CN" altLang="en-US" sz="1600" dirty="0">
                <a:latin typeface="Arial" panose="020B0604020202020204" pitchFamily="34" charset="0"/>
                <a:ea typeface="宋体" panose="02010600030101010101" pitchFamily="2" charset="-122"/>
                <a:cs typeface="Arial" panose="020B0604020202020204" pitchFamily="34" charset="0"/>
              </a:rPr>
              <a:t>   </a:t>
            </a:r>
            <a:r>
              <a:rPr lang="zh-CN" altLang="en-US" sz="1800" dirty="0">
                <a:latin typeface="Arial" panose="020B0604020202020204" pitchFamily="34" charset="0"/>
                <a:ea typeface="宋体" panose="02010600030101010101" pitchFamily="2" charset="-122"/>
                <a:cs typeface="Arial" panose="020B0604020202020204" pitchFamily="34" charset="0"/>
              </a:rPr>
              <a:t>导师或同事通常也是合作作者，对论文负</a:t>
            </a:r>
            <a:r>
              <a:rPr lang="zh-CN" altLang="en-US" sz="1800" dirty="0">
                <a:latin typeface="Arial" panose="020B0604020202020204" pitchFamily="34" charset="0"/>
                <a:cs typeface="Arial" panose="020B0604020202020204" pitchFamily="34" charset="0"/>
              </a:rPr>
              <a:t>共同责任</a:t>
            </a:r>
            <a:endParaRPr lang="en-US" altLang="zh-CN" sz="1800" dirty="0">
              <a:latin typeface="Arial" panose="020B0604020202020204" pitchFamily="34" charset="0"/>
              <a:cs typeface="Arial" panose="020B0604020202020204" pitchFamily="34" charset="0"/>
            </a:endParaRPr>
          </a:p>
          <a:p>
            <a:pPr marL="539750" indent="-180975">
              <a:lnSpc>
                <a:spcPts val="3000"/>
              </a:lnSpc>
              <a:spcBef>
                <a:spcPts val="0"/>
              </a:spcBef>
              <a:buFont typeface="Arial" panose="020B0604020202020204" pitchFamily="34" charset="0"/>
              <a:buChar char="•"/>
            </a:pPr>
            <a:r>
              <a:rPr lang="zh-CN" altLang="en-US" sz="1800" dirty="0">
                <a:latin typeface="Arial" panose="020B0604020202020204" pitchFamily="34" charset="0"/>
                <a:ea typeface="宋体" panose="02010600030101010101" pitchFamily="2" charset="-122"/>
                <a:cs typeface="Arial" panose="020B0604020202020204" pitchFamily="34" charset="0"/>
              </a:rPr>
              <a:t>寻找热点主题   </a:t>
            </a:r>
            <a:r>
              <a:rPr lang="en-US" altLang="zh-CN" sz="1800" dirty="0">
                <a:solidFill>
                  <a:srgbClr val="FF9900"/>
                </a:solidFill>
                <a:latin typeface="Arial" panose="020B0604020202020204" pitchFamily="34" charset="0"/>
                <a:ea typeface="宋体" panose="02010600030101010101" pitchFamily="2" charset="-122"/>
                <a:cs typeface="Arial" panose="020B0604020202020204" pitchFamily="34" charset="0"/>
              </a:rPr>
              <a:t>top25.sciencedirect.com</a:t>
            </a:r>
            <a:endParaRPr lang="en-US" altLang="zh-CN" sz="1800" dirty="0">
              <a:solidFill>
                <a:srgbClr val="FF9900"/>
              </a:solidFill>
              <a:latin typeface="Arial" panose="020B0604020202020204" pitchFamily="34" charset="0"/>
              <a:ea typeface="宋体" panose="02010600030101010101" pitchFamily="2" charset="-122"/>
              <a:cs typeface="Arial" panose="020B0604020202020204" pitchFamily="34" charset="0"/>
            </a:endParaRPr>
          </a:p>
          <a:p>
            <a:pPr marL="539750" indent="-180975">
              <a:lnSpc>
                <a:spcPts val="3000"/>
              </a:lnSpc>
              <a:spcBef>
                <a:spcPts val="0"/>
              </a:spcBef>
              <a:buFont typeface="Arial" panose="020B0604020202020204" pitchFamily="34" charset="0"/>
              <a:buChar char="•"/>
            </a:pPr>
            <a:r>
              <a:rPr lang="en-US" altLang="zh-CN" sz="1800" dirty="0">
                <a:solidFill>
                  <a:srgbClr val="FF9900"/>
                </a:solidFill>
                <a:latin typeface="Arial" panose="020B0604020202020204" pitchFamily="34" charset="0"/>
                <a:ea typeface="宋体" panose="02010600030101010101" pitchFamily="2" charset="-122"/>
                <a:cs typeface="Arial" panose="020B0604020202020204" pitchFamily="34" charset="0"/>
              </a:rPr>
              <a:t>Elsevier Journal Finder</a:t>
            </a:r>
            <a:endParaRPr lang="en-US" altLang="zh-CN" sz="1800" dirty="0">
              <a:solidFill>
                <a:srgbClr val="FF9900"/>
              </a:solidFill>
              <a:latin typeface="Arial" panose="020B0604020202020204" pitchFamily="34" charset="0"/>
              <a:ea typeface="宋体" panose="02010600030101010101" pitchFamily="2" charset="-122"/>
              <a:cs typeface="Arial" panose="020B0604020202020204" pitchFamily="34" charset="0"/>
            </a:endParaRPr>
          </a:p>
          <a:p>
            <a:pPr marL="0" indent="0">
              <a:lnSpc>
                <a:spcPts val="3000"/>
              </a:lnSpc>
              <a:spcBef>
                <a:spcPts val="0"/>
              </a:spcBef>
              <a:buNone/>
            </a:pPr>
            <a:r>
              <a:rPr lang="zh-CN" altLang="en-US" sz="1800" dirty="0">
                <a:solidFill>
                  <a:schemeClr val="accent2"/>
                </a:solidFill>
                <a:latin typeface="Arial" panose="020B0604020202020204" pitchFamily="34" charset="0"/>
                <a:ea typeface="宋体" panose="02010600030101010101" pitchFamily="2" charset="-122"/>
                <a:cs typeface="Arial" panose="020B0604020202020204" pitchFamily="34" charset="0"/>
              </a:rPr>
              <a:t>对于目标期刊：</a:t>
            </a:r>
            <a:endParaRPr lang="en-US" altLang="zh-CN" sz="1800" dirty="0">
              <a:solidFill>
                <a:schemeClr val="accent2"/>
              </a:solidFill>
              <a:latin typeface="Arial" panose="020B0604020202020204" pitchFamily="34" charset="0"/>
              <a:ea typeface="宋体" panose="02010600030101010101" pitchFamily="2" charset="-122"/>
              <a:cs typeface="Arial" panose="020B0604020202020204" pitchFamily="34" charset="0"/>
            </a:endParaRPr>
          </a:p>
          <a:p>
            <a:pPr marL="539750" indent="-180975">
              <a:lnSpc>
                <a:spcPts val="3000"/>
              </a:lnSpc>
              <a:spcBef>
                <a:spcPts val="0"/>
              </a:spcBef>
              <a:buFont typeface="Arial" panose="020B0604020202020204" pitchFamily="34" charset="0"/>
              <a:buChar char="•"/>
            </a:pPr>
            <a:r>
              <a:rPr lang="zh-CN" altLang="en-US" sz="1800" dirty="0">
                <a:solidFill>
                  <a:schemeClr val="tx1"/>
                </a:solidFill>
                <a:latin typeface="Arial" panose="020B0604020202020204" pitchFamily="34" charset="0"/>
                <a:ea typeface="宋体" panose="02010600030101010101" pitchFamily="2" charset="-122"/>
                <a:cs typeface="Arial" panose="020B0604020202020204" pitchFamily="34" charset="0"/>
              </a:rPr>
              <a:t>研读期刊的 </a:t>
            </a:r>
            <a:r>
              <a:rPr lang="en-US" altLang="zh-CN" sz="1800" dirty="0">
                <a:solidFill>
                  <a:srgbClr val="FF9900"/>
                </a:solidFill>
                <a:latin typeface="Arial" panose="020B0604020202020204" pitchFamily="34" charset="0"/>
                <a:cs typeface="Arial" panose="020B0604020202020204" pitchFamily="34" charset="0"/>
              </a:rPr>
              <a:t>Aims &amp; Scope</a:t>
            </a:r>
            <a:r>
              <a:rPr lang="zh-CN" altLang="en-US" sz="1800" dirty="0">
                <a:solidFill>
                  <a:schemeClr val="tx1"/>
                </a:solidFill>
                <a:latin typeface="Arial" panose="020B0604020202020204" pitchFamily="34" charset="0"/>
                <a:ea typeface="宋体" panose="02010600030101010101" pitchFamily="2" charset="-122"/>
                <a:cs typeface="Arial" panose="020B0604020202020204" pitchFamily="34" charset="0"/>
              </a:rPr>
              <a:t>及</a:t>
            </a:r>
            <a:r>
              <a:rPr lang="en-US" altLang="zh-CN" sz="1800" dirty="0">
                <a:solidFill>
                  <a:srgbClr val="FF9900"/>
                </a:solidFill>
                <a:latin typeface="Arial" panose="020B0604020202020204" pitchFamily="34" charset="0"/>
                <a:cs typeface="Arial" panose="020B0604020202020204" pitchFamily="34" charset="0"/>
              </a:rPr>
              <a:t>Guides for Authors</a:t>
            </a:r>
            <a:endParaRPr lang="en-US" altLang="zh-CN" sz="1800" dirty="0">
              <a:solidFill>
                <a:srgbClr val="FF9900"/>
              </a:solidFill>
              <a:latin typeface="Arial" panose="020B0604020202020204" pitchFamily="34" charset="0"/>
              <a:ea typeface="宋体" panose="02010600030101010101" pitchFamily="2" charset="-122"/>
              <a:cs typeface="Arial" panose="020B0604020202020204" pitchFamily="34" charset="0"/>
            </a:endParaRPr>
          </a:p>
          <a:p>
            <a:pPr marL="358775" indent="0">
              <a:lnSpc>
                <a:spcPts val="3000"/>
              </a:lnSpc>
              <a:spcBef>
                <a:spcPts val="0"/>
              </a:spcBef>
              <a:buNone/>
            </a:pPr>
            <a:r>
              <a:rPr lang="zh-CN" altLang="en-US" sz="1800" dirty="0">
                <a:solidFill>
                  <a:schemeClr val="tx1"/>
                </a:solidFill>
                <a:latin typeface="Arial" panose="020B0604020202020204" pitchFamily="34" charset="0"/>
                <a:ea typeface="宋体" panose="02010600030101010101" pitchFamily="2" charset="-122"/>
                <a:cs typeface="Arial" panose="020B0604020202020204" pitchFamily="34" charset="0"/>
              </a:rPr>
              <a:t>   并检查文章是否符合期刊要求</a:t>
            </a:r>
            <a:endParaRPr lang="en-US" altLang="zh-CN" sz="1800" dirty="0">
              <a:solidFill>
                <a:schemeClr val="tx1"/>
              </a:solidFill>
              <a:latin typeface="Arial" panose="020B0604020202020204" pitchFamily="34" charset="0"/>
              <a:ea typeface="宋体" panose="02010600030101010101" pitchFamily="2" charset="-122"/>
              <a:cs typeface="Arial" panose="020B0604020202020204" pitchFamily="34" charset="0"/>
            </a:endParaRPr>
          </a:p>
          <a:p>
            <a:pPr marL="539750" indent="-180975">
              <a:lnSpc>
                <a:spcPts val="3000"/>
              </a:lnSpc>
              <a:spcBef>
                <a:spcPts val="0"/>
              </a:spcBef>
              <a:buFont typeface="Arial" panose="020B0604020202020204" pitchFamily="34" charset="0"/>
              <a:buChar char="•"/>
            </a:pPr>
            <a:r>
              <a:rPr lang="zh-CN" altLang="en-US" sz="1800" dirty="0">
                <a:solidFill>
                  <a:schemeClr val="tx1"/>
                </a:solidFill>
                <a:latin typeface="Arial" panose="020B0604020202020204" pitchFamily="34" charset="0"/>
                <a:ea typeface="宋体" panose="02010600030101010101" pitchFamily="2" charset="-122"/>
                <a:cs typeface="Arial" panose="020B0604020202020204" pitchFamily="34" charset="0"/>
              </a:rPr>
              <a:t>查看期刊是否只接受</a:t>
            </a:r>
            <a:r>
              <a:rPr lang="zh-CN" altLang="en-US" sz="1800" dirty="0">
                <a:latin typeface="Arial" panose="020B0604020202020204" pitchFamily="34" charset="0"/>
                <a:cs typeface="Arial" panose="020B0604020202020204" pitchFamily="34" charset="0"/>
              </a:rPr>
              <a:t>邀请投稿</a:t>
            </a:r>
            <a:endParaRPr lang="en-US" altLang="zh-CN" sz="1800" dirty="0">
              <a:latin typeface="Arial" panose="020B0604020202020204" pitchFamily="34" charset="0"/>
              <a:cs typeface="Arial" panose="020B0604020202020204" pitchFamily="34" charset="0"/>
            </a:endParaRPr>
          </a:p>
          <a:p>
            <a:pPr marL="539750" indent="-180975">
              <a:lnSpc>
                <a:spcPts val="3000"/>
              </a:lnSpc>
              <a:spcBef>
                <a:spcPts val="0"/>
              </a:spcBef>
              <a:buFont typeface="Arial" panose="020B0604020202020204" pitchFamily="34" charset="0"/>
              <a:buChar char="•"/>
            </a:pPr>
            <a:r>
              <a:rPr lang="zh-CN" altLang="en-US" sz="1800" dirty="0">
                <a:latin typeface="Arial" panose="020B0604020202020204" pitchFamily="34" charset="0"/>
                <a:cs typeface="Arial" panose="020B0604020202020204" pitchFamily="34" charset="0"/>
              </a:rPr>
              <a:t>查看期刊的出版是否满足需求</a:t>
            </a:r>
            <a:endParaRPr lang="en-US" altLang="zh-CN" sz="1800" dirty="0">
              <a:latin typeface="Arial" panose="020B0604020202020204" pitchFamily="34" charset="0"/>
              <a:cs typeface="Arial" panose="020B0604020202020204" pitchFamily="34" charset="0"/>
            </a:endParaRPr>
          </a:p>
          <a:p>
            <a:pPr marL="539750" indent="-180975">
              <a:lnSpc>
                <a:spcPts val="3000"/>
              </a:lnSpc>
              <a:spcBef>
                <a:spcPts val="0"/>
              </a:spcBef>
              <a:buFont typeface="Arial" panose="020B0604020202020204" pitchFamily="34" charset="0"/>
              <a:buChar char="•"/>
            </a:pPr>
            <a:r>
              <a:rPr lang="zh-CN" altLang="en-US" sz="1800" dirty="0">
                <a:latin typeface="Arial" panose="020B0604020202020204" pitchFamily="34" charset="0"/>
                <a:cs typeface="Arial" panose="020B0604020202020204" pitchFamily="34" charset="0"/>
              </a:rPr>
              <a:t>查看期刊是否符合资助机构的要求</a:t>
            </a:r>
            <a:endParaRPr lang="en-US" altLang="zh-CN" sz="1400" dirty="0">
              <a:latin typeface="Arial" panose="020B0604020202020204" pitchFamily="34" charset="0"/>
              <a:ea typeface="宋体" panose="02010600030101010101" pitchFamily="2" charset="-122"/>
              <a:cs typeface="Arial" panose="020B0604020202020204" pitchFamily="34" charset="0"/>
            </a:endParaRPr>
          </a:p>
          <a:p>
            <a:pPr>
              <a:buFont typeface="Arial" panose="020B0604020202020204" pitchFamily="34" charset="0"/>
              <a:buChar char="•"/>
            </a:pPr>
            <a:endParaRPr lang="en-US" altLang="zh-CN" sz="1400" dirty="0">
              <a:latin typeface="Arial" panose="020B0604020202020204" pitchFamily="34" charset="0"/>
              <a:ea typeface="宋体" panose="02010600030101010101" pitchFamily="2" charset="-122"/>
              <a:cs typeface="Arial" panose="020B0604020202020204" pitchFamily="34" charset="0"/>
            </a:endParaRPr>
          </a:p>
        </p:txBody>
      </p:sp>
      <p:pic>
        <p:nvPicPr>
          <p:cNvPr id="5" name="Picture 4" descr="C:\Program Files (x86)\Microsoft Office\MEDIA\CAGCAT10\j0233018.wmf"/>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l="12152" r="20402"/>
          <a:stretch>
            <a:fillRect/>
          </a:stretch>
        </p:blipFill>
        <p:spPr bwMode="auto">
          <a:xfrm>
            <a:off x="6280784" y="1627321"/>
            <a:ext cx="2561434" cy="4609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Effect transition="in" filter="fade">
                                      <p:cBhvr>
                                        <p:cTn id="11" dur="500"/>
                                        <p:tgtEl>
                                          <p:spTgt spid="3">
                                            <p:txEl>
                                              <p:pRg st="1" end="1"/>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Effect transition="in" filter="fade">
                                      <p:cBhvr>
                                        <p:cTn id="19" dur="500"/>
                                        <p:tgtEl>
                                          <p:spTgt spid="3">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animEffect transition="in" filter="fade">
                                      <p:cBhvr>
                                        <p:cTn id="22" dur="500"/>
                                        <p:tgtEl>
                                          <p:spTgt spid="3">
                                            <p:txEl>
                                              <p:pRg st="4" end="4"/>
                                            </p:txEl>
                                          </p:spTgt>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3">
                                            <p:txEl>
                                              <p:pRg st="5" end="5"/>
                                            </p:txEl>
                                          </p:spTgt>
                                        </p:tgtEl>
                                        <p:attrNameLst>
                                          <p:attrName>style.visibility</p:attrName>
                                        </p:attrNameLst>
                                      </p:cBhvr>
                                      <p:to>
                                        <p:strVal val="visible"/>
                                      </p:to>
                                    </p:set>
                                    <p:animEffect transition="in" filter="fade">
                                      <p:cBhvr>
                                        <p:cTn id="26" dur="500"/>
                                        <p:tgtEl>
                                          <p:spTgt spid="3">
                                            <p:txEl>
                                              <p:pRg st="5" end="5"/>
                                            </p:txEl>
                                          </p:spTgt>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3">
                                            <p:txEl>
                                              <p:pRg st="6" end="6"/>
                                            </p:txEl>
                                          </p:spTgt>
                                        </p:tgtEl>
                                        <p:attrNameLst>
                                          <p:attrName>style.visibility</p:attrName>
                                        </p:attrNameLst>
                                      </p:cBhvr>
                                      <p:to>
                                        <p:strVal val="visible"/>
                                      </p:to>
                                    </p:set>
                                    <p:animEffect transition="in" filter="fade">
                                      <p:cBhvr>
                                        <p:cTn id="30" dur="500"/>
                                        <p:tgtEl>
                                          <p:spTgt spid="3">
                                            <p:txEl>
                                              <p:pRg st="6" end="6"/>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animEffect transition="in" filter="fade">
                                      <p:cBhvr>
                                        <p:cTn id="35" dur="500"/>
                                        <p:tgtEl>
                                          <p:spTgt spid="3">
                                            <p:txEl>
                                              <p:pRg st="7" end="7"/>
                                            </p:txEl>
                                          </p:spTgt>
                                        </p:tgtEl>
                                      </p:cBhvr>
                                    </p:animEffect>
                                  </p:childTnLst>
                                </p:cTn>
                              </p:par>
                            </p:childTnLst>
                          </p:cTn>
                        </p:par>
                        <p:par>
                          <p:cTn id="36" fill="hold">
                            <p:stCondLst>
                              <p:cond delay="500"/>
                            </p:stCondLst>
                            <p:childTnLst>
                              <p:par>
                                <p:cTn id="37" presetID="10" presetClass="entr" presetSubtype="0" fill="hold" grpId="0" nodeType="after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animEffect transition="in" filter="fade">
                                      <p:cBhvr>
                                        <p:cTn id="39" dur="500"/>
                                        <p:tgtEl>
                                          <p:spTgt spid="3">
                                            <p:txEl>
                                              <p:pRg st="8" end="8"/>
                                            </p:txEl>
                                          </p:spTgt>
                                        </p:tgtEl>
                                      </p:cBhvr>
                                    </p:animEffect>
                                  </p:childTnLst>
                                </p:cTn>
                              </p:par>
                            </p:childTnLst>
                          </p:cTn>
                        </p:par>
                        <p:par>
                          <p:cTn id="40" fill="hold">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animEffect transition="in" filter="fade">
                                      <p:cBhvr>
                                        <p:cTn id="43" dur="500"/>
                                        <p:tgtEl>
                                          <p:spTgt spid="3">
                                            <p:txEl>
                                              <p:pRg st="9" end="9"/>
                                            </p:txEl>
                                          </p:spTgt>
                                        </p:tgtEl>
                                      </p:cBhvr>
                                    </p:animEffect>
                                  </p:childTnLst>
                                </p:cTn>
                              </p:par>
                            </p:childTnLst>
                          </p:cTn>
                        </p:par>
                        <p:par>
                          <p:cTn id="44" fill="hold">
                            <p:stCondLst>
                              <p:cond delay="1500"/>
                            </p:stCondLst>
                            <p:childTnLst>
                              <p:par>
                                <p:cTn id="45" presetID="10" presetClass="entr" presetSubtype="0" fill="hold" grpId="0" nodeType="after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animEffect transition="in" filter="fade">
                                      <p:cBhvr>
                                        <p:cTn id="47" dur="500"/>
                                        <p:tgtEl>
                                          <p:spTgt spid="3">
                                            <p:txEl>
                                              <p:pRg st="10" end="10"/>
                                            </p:txEl>
                                          </p:spTgt>
                                        </p:tgtEl>
                                      </p:cBhvr>
                                    </p:animEffect>
                                  </p:childTnLst>
                                </p:cTn>
                              </p:par>
                            </p:childTnLst>
                          </p:cTn>
                        </p:par>
                        <p:par>
                          <p:cTn id="48" fill="hold">
                            <p:stCondLst>
                              <p:cond delay="2000"/>
                            </p:stCondLst>
                            <p:childTnLst>
                              <p:par>
                                <p:cTn id="49" presetID="10" presetClass="entr" presetSubtype="0" fill="hold" grpId="0" nodeType="afterEffect">
                                  <p:stCondLst>
                                    <p:cond delay="0"/>
                                  </p:stCondLst>
                                  <p:childTnLst>
                                    <p:set>
                                      <p:cBhvr>
                                        <p:cTn id="50" dur="1" fill="hold">
                                          <p:stCondLst>
                                            <p:cond delay="0"/>
                                          </p:stCondLst>
                                        </p:cTn>
                                        <p:tgtEl>
                                          <p:spTgt spid="3">
                                            <p:txEl>
                                              <p:pRg st="11" end="11"/>
                                            </p:txEl>
                                          </p:spTgt>
                                        </p:tgtEl>
                                        <p:attrNameLst>
                                          <p:attrName>style.visibility</p:attrName>
                                        </p:attrNameLst>
                                      </p:cBhvr>
                                      <p:to>
                                        <p:strVal val="visible"/>
                                      </p:to>
                                    </p:set>
                                    <p:animEffect transition="in" filter="fade">
                                      <p:cBhvr>
                                        <p:cTn id="51" dur="500"/>
                                        <p:tgtEl>
                                          <p:spTgt spid="3">
                                            <p:txEl>
                                              <p:pRg st="11" end="11"/>
                                            </p:txEl>
                                          </p:spTgt>
                                        </p:tgtEl>
                                      </p:cBhvr>
                                    </p:animEffect>
                                  </p:childTnLst>
                                </p:cTn>
                              </p:par>
                            </p:childTnLst>
                          </p:cTn>
                        </p:par>
                        <p:par>
                          <p:cTn id="52" fill="hold">
                            <p:stCondLst>
                              <p:cond delay="2500"/>
                            </p:stCondLst>
                            <p:childTnLst>
                              <p:par>
                                <p:cTn id="53" presetID="10" presetClass="entr" presetSubtype="0" fill="hold" grpId="0" nodeType="afterEffect">
                                  <p:stCondLst>
                                    <p:cond delay="0"/>
                                  </p:stCondLst>
                                  <p:childTnLst>
                                    <p:set>
                                      <p:cBhvr>
                                        <p:cTn id="54" dur="1" fill="hold">
                                          <p:stCondLst>
                                            <p:cond delay="0"/>
                                          </p:stCondLst>
                                        </p:cTn>
                                        <p:tgtEl>
                                          <p:spTgt spid="3">
                                            <p:txEl>
                                              <p:pRg st="12" end="12"/>
                                            </p:txEl>
                                          </p:spTgt>
                                        </p:tgtEl>
                                        <p:attrNameLst>
                                          <p:attrName>style.visibility</p:attrName>
                                        </p:attrNameLst>
                                      </p:cBhvr>
                                      <p:to>
                                        <p:strVal val="visible"/>
                                      </p:to>
                                    </p:set>
                                    <p:animEffect transition="in" filter="fade">
                                      <p:cBhvr>
                                        <p:cTn id="55" dur="500"/>
                                        <p:tgtEl>
                                          <p:spTgt spid="3">
                                            <p:txEl>
                                              <p:pRg st="12" end="1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1689948" y="3642098"/>
            <a:ext cx="9144000" cy="2999232"/>
          </a:xfrm>
          <a:prstGeom prst="rect">
            <a:avLst/>
          </a:prstGeom>
          <a:solidFill>
            <a:schemeClr val="bg1">
              <a:lumMod val="95000"/>
              <a:alpha val="42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256056" y="434301"/>
            <a:ext cx="9042400" cy="675378"/>
          </a:xfrm>
        </p:spPr>
        <p:txBody>
          <a:bodyPr/>
          <a:lstStyle/>
          <a:p>
            <a:r>
              <a:rPr lang="zh-CN" altLang="en-US" sz="2000" b="1" dirty="0">
                <a:latin typeface="+mj-lt"/>
              </a:rPr>
              <a:t>爱思唯尔拥有最具影响力的作者</a:t>
            </a:r>
            <a:endParaRPr lang="en-US" sz="2000" b="1" dirty="0">
              <a:latin typeface="+mj-lt"/>
            </a:endParaRPr>
          </a:p>
        </p:txBody>
      </p:sp>
      <p:graphicFrame>
        <p:nvGraphicFramePr>
          <p:cNvPr id="11" name="Chart 10"/>
          <p:cNvGraphicFramePr/>
          <p:nvPr/>
        </p:nvGraphicFramePr>
        <p:xfrm>
          <a:off x="142238" y="4289128"/>
          <a:ext cx="5265628" cy="2388919"/>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12" name="Table 11"/>
          <p:cNvGraphicFramePr>
            <a:graphicFrameLocks noGrp="1"/>
          </p:cNvGraphicFramePr>
          <p:nvPr/>
        </p:nvGraphicFramePr>
        <p:xfrm>
          <a:off x="5498291" y="1527047"/>
          <a:ext cx="3302974" cy="1411025"/>
        </p:xfrm>
        <a:graphic>
          <a:graphicData uri="http://schemas.openxmlformats.org/drawingml/2006/table">
            <a:tbl>
              <a:tblPr>
                <a:tableStyleId>{5C22544A-7EE6-4342-B048-85BDC9FD1C3A}</a:tableStyleId>
              </a:tblPr>
              <a:tblGrid>
                <a:gridCol w="933720"/>
                <a:gridCol w="978774"/>
                <a:gridCol w="1390480"/>
              </a:tblGrid>
              <a:tr h="451370">
                <a:tc>
                  <a:txBody>
                    <a:bodyPr/>
                    <a:lstStyle/>
                    <a:p>
                      <a:pPr algn="ctr" fontAlgn="b"/>
                      <a:r>
                        <a:rPr lang="nl-NL" sz="1100" b="1" u="none" strike="noStrike" dirty="0">
                          <a:solidFill>
                            <a:schemeClr val="bg1"/>
                          </a:solidFill>
                          <a:effectLst/>
                        </a:rPr>
                        <a:t>Publisher</a:t>
                      </a:r>
                      <a:endParaRPr lang="nl-NL" sz="1100" b="1" u="none" strike="noStrike" dirty="0">
                        <a:solidFill>
                          <a:schemeClr val="bg1"/>
                        </a:solidFill>
                        <a:effectLst/>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nl-NL" sz="1100" b="1" u="none" strike="noStrike" dirty="0">
                          <a:solidFill>
                            <a:schemeClr val="bg1"/>
                          </a:solidFill>
                          <a:effectLst/>
                        </a:rPr>
                        <a:t>Authors</a:t>
                      </a:r>
                      <a:endParaRPr lang="nl-NL" sz="1100" b="1" i="0" u="none" strike="noStrike" dirty="0">
                        <a:solidFill>
                          <a:schemeClr val="bg1"/>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fontAlgn="b"/>
                      <a:r>
                        <a:rPr lang="nl-NL" sz="1100" b="1" u="none" strike="noStrike" dirty="0">
                          <a:solidFill>
                            <a:schemeClr val="bg1"/>
                          </a:solidFill>
                          <a:effectLst/>
                        </a:rPr>
                        <a:t>Average Author FWCI</a:t>
                      </a:r>
                      <a:endParaRPr lang="nl-NL" sz="1100" b="1" i="0" u="none" strike="noStrike" dirty="0">
                        <a:solidFill>
                          <a:schemeClr val="bg1"/>
                        </a:solidFill>
                        <a:effectLst/>
                        <a:latin typeface="Calibri" panose="020F0502020204030204" pitchFamily="34" charset="0"/>
                      </a:endParaRP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r>
              <a:tr h="312097">
                <a:tc>
                  <a:txBody>
                    <a:bodyPr/>
                    <a:lstStyle/>
                    <a:p>
                      <a:pPr algn="ctr" fontAlgn="b"/>
                      <a:r>
                        <a:rPr lang="nl-NL" sz="1100" b="0" u="none" strike="noStrike" dirty="0">
                          <a:solidFill>
                            <a:schemeClr val="bg1"/>
                          </a:solidFill>
                          <a:effectLst/>
                        </a:rPr>
                        <a:t>Elsevier</a:t>
                      </a:r>
                      <a:endParaRPr lang="nl-NL" sz="1100" b="0" i="0" u="none" strike="noStrike" dirty="0">
                        <a:solidFill>
                          <a:schemeClr val="bg1"/>
                        </a:solidFill>
                        <a:effectLst/>
                        <a:latin typeface="Calibri" panose="020F050202020403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algn="ctr" fontAlgn="b"/>
                      <a:r>
                        <a:rPr lang="nl-NL" sz="1100" b="0" u="none" strike="noStrike" dirty="0">
                          <a:solidFill>
                            <a:schemeClr val="bg1"/>
                          </a:solidFill>
                          <a:effectLst/>
                        </a:rPr>
                        <a:t>2,719,232 </a:t>
                      </a:r>
                      <a:endParaRPr lang="nl-NL" sz="1100" b="0" i="0" u="none" strike="noStrike" dirty="0">
                        <a:solidFill>
                          <a:schemeClr val="bg1"/>
                        </a:solidFill>
                        <a:effectLst/>
                        <a:latin typeface="Calibri" panose="020F050202020403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c>
                  <a:txBody>
                    <a:bodyPr/>
                    <a:lstStyle/>
                    <a:p>
                      <a:pPr algn="ctr" fontAlgn="b"/>
                      <a:r>
                        <a:rPr lang="nl-NL" sz="1100" b="0" u="none" strike="noStrike" dirty="0">
                          <a:solidFill>
                            <a:schemeClr val="bg1"/>
                          </a:solidFill>
                          <a:effectLst/>
                        </a:rPr>
                        <a:t>1.506</a:t>
                      </a:r>
                      <a:endParaRPr lang="nl-NL" sz="1100" b="0" i="0" u="none" strike="noStrike" dirty="0">
                        <a:solidFill>
                          <a:schemeClr val="bg1"/>
                        </a:solidFill>
                        <a:effectLst/>
                        <a:latin typeface="Calibri" panose="020F050202020403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2"/>
                    </a:solidFill>
                  </a:tcPr>
                </a:tc>
              </a:tr>
              <a:tr h="313967">
                <a:tc>
                  <a:txBody>
                    <a:bodyPr/>
                    <a:lstStyle/>
                    <a:p>
                      <a:pPr marL="0" algn="ctr" defTabSz="457200" rtl="0" eaLnBrk="1" fontAlgn="b" latinLnBrk="0" hangingPunct="1"/>
                      <a:r>
                        <a:rPr lang="nl-NL" sz="1100" b="0" u="none" strike="noStrike" kern="1200" dirty="0">
                          <a:solidFill>
                            <a:schemeClr val="bg1"/>
                          </a:solidFill>
                          <a:effectLst/>
                          <a:latin typeface="+mn-lt"/>
                          <a:ea typeface="+mn-ea"/>
                          <a:cs typeface="+mn-cs"/>
                        </a:rPr>
                        <a:t>Publisher A</a:t>
                      </a:r>
                      <a:endParaRPr lang="nl-NL" sz="1100" b="0" u="none" strike="noStrike" kern="1200" dirty="0">
                        <a:solidFill>
                          <a:schemeClr val="bg1"/>
                        </a:solidFill>
                        <a:effectLst/>
                        <a:latin typeface="+mn-lt"/>
                        <a:ea typeface="+mn-ea"/>
                        <a:cs typeface="+mn-cs"/>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a:txBody>
                    <a:bodyPr/>
                    <a:lstStyle/>
                    <a:p>
                      <a:pPr marL="0" algn="ctr" defTabSz="457200" rtl="0" eaLnBrk="1" fontAlgn="b" latinLnBrk="0" hangingPunct="1"/>
                      <a:r>
                        <a:rPr lang="nl-NL" sz="1100" b="0" u="none" strike="noStrike" kern="1200" dirty="0">
                          <a:solidFill>
                            <a:schemeClr val="bg1"/>
                          </a:solidFill>
                          <a:effectLst/>
                          <a:latin typeface="+mn-lt"/>
                          <a:ea typeface="+mn-ea"/>
                          <a:cs typeface="+mn-cs"/>
                        </a:rPr>
                        <a:t>1,716,325 </a:t>
                      </a:r>
                      <a:endParaRPr lang="nl-NL" sz="1100" b="0" u="none" strike="noStrike" kern="1200" dirty="0">
                        <a:solidFill>
                          <a:schemeClr val="bg1"/>
                        </a:solidFill>
                        <a:effectLst/>
                        <a:latin typeface="+mn-lt"/>
                        <a:ea typeface="+mn-ea"/>
                        <a:cs typeface="+mn-cs"/>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c>
                  <a:txBody>
                    <a:bodyPr/>
                    <a:lstStyle/>
                    <a:p>
                      <a:pPr marL="0" algn="ctr" defTabSz="457200" rtl="0" eaLnBrk="1" fontAlgn="b" latinLnBrk="0" hangingPunct="1"/>
                      <a:r>
                        <a:rPr lang="nl-NL" sz="1100" b="0" u="none" strike="noStrike" kern="1200" dirty="0">
                          <a:solidFill>
                            <a:schemeClr val="bg1"/>
                          </a:solidFill>
                          <a:effectLst/>
                          <a:latin typeface="+mn-lt"/>
                          <a:ea typeface="+mn-ea"/>
                          <a:cs typeface="+mn-cs"/>
                        </a:rPr>
                        <a:t>1.489</a:t>
                      </a:r>
                      <a:endParaRPr lang="nl-NL" sz="1100" b="0" u="none" strike="noStrike" kern="1200" dirty="0">
                        <a:solidFill>
                          <a:schemeClr val="bg1"/>
                        </a:solidFill>
                        <a:effectLst/>
                        <a:latin typeface="+mn-lt"/>
                        <a:ea typeface="+mn-ea"/>
                        <a:cs typeface="+mn-cs"/>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solidFill>
                  </a:tcPr>
                </a:tc>
              </a:tr>
              <a:tr h="333591">
                <a:tc>
                  <a:txBody>
                    <a:bodyPr/>
                    <a:lstStyle/>
                    <a:p>
                      <a:pPr algn="ctr" fontAlgn="b"/>
                      <a:r>
                        <a:rPr lang="nl-NL" sz="1100" b="0" u="none" strike="noStrike" dirty="0">
                          <a:solidFill>
                            <a:schemeClr val="bg1"/>
                          </a:solidFill>
                          <a:effectLst/>
                        </a:rPr>
                        <a:t>Publisher B</a:t>
                      </a:r>
                      <a:endParaRPr lang="nl-NL" sz="1100" b="0" i="0" u="none" strike="noStrike" dirty="0">
                        <a:solidFill>
                          <a:schemeClr val="bg1"/>
                        </a:solidFill>
                        <a:effectLst/>
                        <a:latin typeface="Calibri" panose="020F0502020204030204" pitchFamily="34" charset="0"/>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algn="ctr" defTabSz="457200" rtl="0" eaLnBrk="1" fontAlgn="b" latinLnBrk="0" hangingPunct="1"/>
                      <a:r>
                        <a:rPr lang="nl-NL" sz="1100" b="0" u="none" strike="noStrike" kern="1200" dirty="0">
                          <a:solidFill>
                            <a:schemeClr val="bg1"/>
                          </a:solidFill>
                          <a:effectLst/>
                          <a:latin typeface="+mn-lt"/>
                          <a:ea typeface="+mn-ea"/>
                          <a:cs typeface="+mn-cs"/>
                        </a:rPr>
                        <a:t>1,034,646 </a:t>
                      </a:r>
                      <a:endParaRPr lang="nl-NL" sz="1100" b="0" u="none" strike="noStrike" kern="1200" dirty="0">
                        <a:solidFill>
                          <a:schemeClr val="bg1"/>
                        </a:solidFill>
                        <a:effectLst/>
                        <a:latin typeface="+mn-lt"/>
                        <a:ea typeface="+mn-ea"/>
                        <a:cs typeface="+mn-cs"/>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lumMod val="60000"/>
                        <a:lumOff val="40000"/>
                      </a:schemeClr>
                    </a:solidFill>
                  </a:tcPr>
                </a:tc>
                <a:tc>
                  <a:txBody>
                    <a:bodyPr/>
                    <a:lstStyle/>
                    <a:p>
                      <a:pPr marL="0" algn="ctr" defTabSz="457200" rtl="0" eaLnBrk="1" fontAlgn="b" latinLnBrk="0" hangingPunct="1"/>
                      <a:r>
                        <a:rPr lang="nl-NL" sz="1100" b="0" u="none" strike="noStrike" kern="1200" dirty="0">
                          <a:solidFill>
                            <a:schemeClr val="bg1"/>
                          </a:solidFill>
                          <a:effectLst/>
                          <a:latin typeface="+mn-lt"/>
                          <a:ea typeface="+mn-ea"/>
                          <a:cs typeface="+mn-cs"/>
                        </a:rPr>
                        <a:t>1.453</a:t>
                      </a:r>
                      <a:endParaRPr lang="nl-NL" sz="1100" b="0" u="none" strike="noStrike" kern="1200" dirty="0">
                        <a:solidFill>
                          <a:schemeClr val="bg1"/>
                        </a:solidFill>
                        <a:effectLst/>
                        <a:latin typeface="+mn-lt"/>
                        <a:ea typeface="+mn-ea"/>
                        <a:cs typeface="+mn-cs"/>
                      </a:endParaRPr>
                    </a:p>
                  </a:txBody>
                  <a:tcPr marL="9525" marR="9525" marT="9525"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tx1">
                        <a:lumMod val="60000"/>
                        <a:lumOff val="40000"/>
                      </a:schemeClr>
                    </a:solidFill>
                  </a:tcPr>
                </a:tc>
              </a:tr>
            </a:tbl>
          </a:graphicData>
        </a:graphic>
      </p:graphicFrame>
      <p:graphicFrame>
        <p:nvGraphicFramePr>
          <p:cNvPr id="13" name="Chart 12"/>
          <p:cNvGraphicFramePr/>
          <p:nvPr/>
        </p:nvGraphicFramePr>
        <p:xfrm>
          <a:off x="256056" y="1326349"/>
          <a:ext cx="5137296" cy="225875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Table 13"/>
          <p:cNvGraphicFramePr>
            <a:graphicFrameLocks noGrp="1"/>
          </p:cNvGraphicFramePr>
          <p:nvPr/>
        </p:nvGraphicFramePr>
        <p:xfrm>
          <a:off x="5498291" y="4682068"/>
          <a:ext cx="3434042" cy="1589992"/>
        </p:xfrm>
        <a:graphic>
          <a:graphicData uri="http://schemas.openxmlformats.org/drawingml/2006/table">
            <a:tbl>
              <a:tblPr>
                <a:tableStyleId>{5C22544A-7EE6-4342-B048-85BDC9FD1C3A}</a:tableStyleId>
              </a:tblPr>
              <a:tblGrid>
                <a:gridCol w="946333"/>
                <a:gridCol w="1319132"/>
                <a:gridCol w="1168577"/>
              </a:tblGrid>
              <a:tr h="402598">
                <a:tc>
                  <a:txBody>
                    <a:bodyPr/>
                    <a:lstStyle/>
                    <a:p>
                      <a:pPr algn="ctr" fontAlgn="b"/>
                      <a:r>
                        <a:rPr lang="nl-NL" sz="1100" b="1" u="none" strike="noStrike" dirty="0">
                          <a:solidFill>
                            <a:schemeClr val="bg1"/>
                          </a:solidFill>
                          <a:effectLst/>
                        </a:rPr>
                        <a:t>Publisher</a:t>
                      </a:r>
                      <a:endParaRPr lang="nl-NL" sz="1100" b="1" i="0" u="none" strike="noStrike" dirty="0">
                        <a:solidFill>
                          <a:schemeClr val="bg1"/>
                        </a:solidFill>
                        <a:effectLst/>
                        <a:latin typeface="Calibri" panose="020F0502020204030204" pitchFamily="34" charset="0"/>
                      </a:endParaRPr>
                    </a:p>
                  </a:txBody>
                  <a:tcPr marT="91440" marB="91440" anchor="b">
                    <a:solidFill>
                      <a:schemeClr val="accent1"/>
                    </a:solidFill>
                  </a:tcPr>
                </a:tc>
                <a:tc>
                  <a:txBody>
                    <a:bodyPr/>
                    <a:lstStyle/>
                    <a:p>
                      <a:pPr algn="ctr" fontAlgn="b"/>
                      <a:r>
                        <a:rPr lang="nl-NL" sz="1100" b="1" u="none" strike="noStrike" dirty="0">
                          <a:solidFill>
                            <a:schemeClr val="bg1"/>
                          </a:solidFill>
                          <a:effectLst/>
                        </a:rPr>
                        <a:t>Authors</a:t>
                      </a:r>
                      <a:endParaRPr lang="nl-NL" sz="1100" b="1" i="0" u="none" strike="noStrike" dirty="0">
                        <a:solidFill>
                          <a:schemeClr val="bg1"/>
                        </a:solidFill>
                        <a:effectLst/>
                        <a:latin typeface="Calibri" panose="020F0502020204030204" pitchFamily="34" charset="0"/>
                      </a:endParaRPr>
                    </a:p>
                  </a:txBody>
                  <a:tcPr marT="91440" marB="91440" anchor="b">
                    <a:solidFill>
                      <a:schemeClr val="accent1"/>
                    </a:solidFill>
                  </a:tcPr>
                </a:tc>
                <a:tc>
                  <a:txBody>
                    <a:bodyPr/>
                    <a:lstStyle/>
                    <a:p>
                      <a:pPr algn="ctr" fontAlgn="b"/>
                      <a:r>
                        <a:rPr lang="nl-NL" sz="1100" b="1" u="none" strike="noStrike" dirty="0">
                          <a:solidFill>
                            <a:schemeClr val="bg1"/>
                          </a:solidFill>
                          <a:effectLst/>
                        </a:rPr>
                        <a:t>Average Author H-Index</a:t>
                      </a:r>
                      <a:endParaRPr lang="nl-NL" sz="1100" b="1" i="0" u="none" strike="noStrike" dirty="0">
                        <a:solidFill>
                          <a:schemeClr val="bg1"/>
                        </a:solidFill>
                        <a:effectLst/>
                        <a:latin typeface="Calibri" panose="020F0502020204030204" pitchFamily="34" charset="0"/>
                      </a:endParaRPr>
                    </a:p>
                  </a:txBody>
                  <a:tcPr marL="9525" marR="9525" marT="9525" marB="0" anchor="b">
                    <a:solidFill>
                      <a:schemeClr val="accent1"/>
                    </a:solidFill>
                  </a:tcPr>
                </a:tc>
              </a:tr>
              <a:tr h="395798">
                <a:tc>
                  <a:txBody>
                    <a:bodyPr/>
                    <a:lstStyle/>
                    <a:p>
                      <a:pPr algn="ctr" fontAlgn="b"/>
                      <a:r>
                        <a:rPr lang="nl-NL" sz="1100" b="0" u="none" strike="noStrike" dirty="0">
                          <a:solidFill>
                            <a:schemeClr val="bg1"/>
                          </a:solidFill>
                          <a:effectLst/>
                        </a:rPr>
                        <a:t>Elsevier</a:t>
                      </a:r>
                      <a:endParaRPr lang="nl-NL" sz="1100" b="0" i="0" u="none" strike="noStrike" dirty="0">
                        <a:solidFill>
                          <a:schemeClr val="bg1"/>
                        </a:solidFill>
                        <a:effectLst/>
                        <a:latin typeface="Calibri" panose="020F0502020204030204" pitchFamily="34" charset="0"/>
                      </a:endParaRPr>
                    </a:p>
                  </a:txBody>
                  <a:tcPr marT="91440" marB="91440" anchor="b">
                    <a:solidFill>
                      <a:schemeClr val="tx2"/>
                    </a:solidFill>
                  </a:tcPr>
                </a:tc>
                <a:tc>
                  <a:txBody>
                    <a:bodyPr/>
                    <a:lstStyle/>
                    <a:p>
                      <a:pPr algn="ctr" fontAlgn="b"/>
                      <a:r>
                        <a:rPr lang="nl-NL" sz="1100" b="0" u="none" strike="noStrike" dirty="0">
                          <a:solidFill>
                            <a:schemeClr val="bg1"/>
                          </a:solidFill>
                          <a:effectLst/>
                        </a:rPr>
                        <a:t>   2,719,232 </a:t>
                      </a:r>
                      <a:endParaRPr lang="nl-NL" sz="1100" b="0" i="0" u="none" strike="noStrike" dirty="0">
                        <a:solidFill>
                          <a:schemeClr val="bg1"/>
                        </a:solidFill>
                        <a:effectLst/>
                        <a:latin typeface="Calibri" panose="020F0502020204030204" pitchFamily="34" charset="0"/>
                      </a:endParaRPr>
                    </a:p>
                  </a:txBody>
                  <a:tcPr marT="91440" marB="91440" anchor="b">
                    <a:solidFill>
                      <a:schemeClr val="tx2"/>
                    </a:solidFill>
                  </a:tcPr>
                </a:tc>
                <a:tc>
                  <a:txBody>
                    <a:bodyPr/>
                    <a:lstStyle/>
                    <a:p>
                      <a:pPr algn="ctr" fontAlgn="b"/>
                      <a:r>
                        <a:rPr lang="nl-NL" sz="1100" b="0" u="none" strike="noStrike" dirty="0">
                          <a:solidFill>
                            <a:schemeClr val="bg1"/>
                          </a:solidFill>
                          <a:effectLst/>
                        </a:rPr>
                        <a:t>15.609</a:t>
                      </a:r>
                      <a:endParaRPr lang="nl-NL" sz="1100" b="0" i="0" u="none" strike="noStrike" dirty="0">
                        <a:solidFill>
                          <a:schemeClr val="bg1"/>
                        </a:solidFill>
                        <a:effectLst/>
                        <a:latin typeface="Calibri" panose="020F0502020204030204" pitchFamily="34" charset="0"/>
                      </a:endParaRPr>
                    </a:p>
                  </a:txBody>
                  <a:tcPr marT="91440" marB="91440" anchor="b">
                    <a:solidFill>
                      <a:schemeClr val="tx2"/>
                    </a:solidFill>
                  </a:tcPr>
                </a:tc>
              </a:tr>
              <a:tr h="395798">
                <a:tc>
                  <a:txBody>
                    <a:bodyPr/>
                    <a:lstStyle/>
                    <a:p>
                      <a:pPr algn="ctr" fontAlgn="b"/>
                      <a:r>
                        <a:rPr lang="nl-NL" sz="1100" b="0" u="none" strike="noStrike" dirty="0">
                          <a:solidFill>
                            <a:schemeClr val="bg1"/>
                          </a:solidFill>
                          <a:effectLst/>
                        </a:rPr>
                        <a:t>Publisher A</a:t>
                      </a:r>
                      <a:endParaRPr lang="nl-NL" sz="1100" b="0" i="0" u="none" strike="noStrike" dirty="0">
                        <a:solidFill>
                          <a:schemeClr val="bg1"/>
                        </a:solidFill>
                        <a:effectLst/>
                        <a:latin typeface="Calibri" panose="020F0502020204030204" pitchFamily="34" charset="0"/>
                      </a:endParaRPr>
                    </a:p>
                  </a:txBody>
                  <a:tcPr marT="91440" marB="91440" anchor="b">
                    <a:solidFill>
                      <a:schemeClr val="tx1"/>
                    </a:solidFill>
                  </a:tcPr>
                </a:tc>
                <a:tc>
                  <a:txBody>
                    <a:bodyPr/>
                    <a:lstStyle/>
                    <a:p>
                      <a:pPr algn="ctr" fontAlgn="b"/>
                      <a:r>
                        <a:rPr lang="nl-NL" sz="1100" b="0" u="none" strike="noStrike" dirty="0">
                          <a:solidFill>
                            <a:schemeClr val="bg1"/>
                          </a:solidFill>
                          <a:effectLst/>
                        </a:rPr>
                        <a:t>   1,716,325 </a:t>
                      </a:r>
                      <a:endParaRPr lang="nl-NL" sz="1100" b="0" i="0" u="none" strike="noStrike" dirty="0">
                        <a:solidFill>
                          <a:schemeClr val="bg1"/>
                        </a:solidFill>
                        <a:effectLst/>
                        <a:latin typeface="Calibri" panose="020F0502020204030204" pitchFamily="34" charset="0"/>
                      </a:endParaRPr>
                    </a:p>
                  </a:txBody>
                  <a:tcPr marT="91440" marB="91440" anchor="b">
                    <a:solidFill>
                      <a:schemeClr val="tx1"/>
                    </a:solidFill>
                  </a:tcPr>
                </a:tc>
                <a:tc>
                  <a:txBody>
                    <a:bodyPr/>
                    <a:lstStyle/>
                    <a:p>
                      <a:pPr algn="ctr" fontAlgn="b"/>
                      <a:r>
                        <a:rPr lang="nl-NL" sz="1100" b="0" u="none" strike="noStrike" dirty="0">
                          <a:solidFill>
                            <a:schemeClr val="bg1"/>
                          </a:solidFill>
                          <a:effectLst/>
                        </a:rPr>
                        <a:t>13.078</a:t>
                      </a:r>
                      <a:endParaRPr lang="nl-NL" sz="1100" b="0" i="0" u="none" strike="noStrike" dirty="0">
                        <a:solidFill>
                          <a:schemeClr val="bg1"/>
                        </a:solidFill>
                        <a:effectLst/>
                        <a:latin typeface="Calibri" panose="020F0502020204030204" pitchFamily="34" charset="0"/>
                      </a:endParaRPr>
                    </a:p>
                  </a:txBody>
                  <a:tcPr marT="91440" marB="91440" anchor="b">
                    <a:solidFill>
                      <a:schemeClr val="tx1"/>
                    </a:solidFill>
                  </a:tcPr>
                </a:tc>
              </a:tr>
              <a:tr h="395798">
                <a:tc>
                  <a:txBody>
                    <a:bodyPr/>
                    <a:lstStyle/>
                    <a:p>
                      <a:pPr algn="ctr" fontAlgn="b"/>
                      <a:r>
                        <a:rPr lang="nl-NL" sz="1100" b="0" u="none" strike="noStrike" dirty="0">
                          <a:solidFill>
                            <a:schemeClr val="bg1"/>
                          </a:solidFill>
                          <a:effectLst/>
                        </a:rPr>
                        <a:t>Publisher B</a:t>
                      </a:r>
                      <a:endParaRPr lang="nl-NL" sz="1100" b="0" i="0" u="none" strike="noStrike" dirty="0">
                        <a:solidFill>
                          <a:schemeClr val="bg1"/>
                        </a:solidFill>
                        <a:effectLst/>
                        <a:latin typeface="Calibri" panose="020F0502020204030204" pitchFamily="34" charset="0"/>
                      </a:endParaRPr>
                    </a:p>
                  </a:txBody>
                  <a:tcPr marT="91440" marB="91440" anchor="b">
                    <a:solidFill>
                      <a:schemeClr val="tx1">
                        <a:lumMod val="60000"/>
                        <a:lumOff val="40000"/>
                      </a:schemeClr>
                    </a:solidFill>
                  </a:tcPr>
                </a:tc>
                <a:tc>
                  <a:txBody>
                    <a:bodyPr/>
                    <a:lstStyle/>
                    <a:p>
                      <a:pPr marL="0" algn="ctr" defTabSz="457200" rtl="0" eaLnBrk="1" fontAlgn="b" latinLnBrk="0" hangingPunct="1"/>
                      <a:r>
                        <a:rPr lang="nl-NL" sz="1100" b="0" u="none" strike="noStrike" dirty="0">
                          <a:solidFill>
                            <a:schemeClr val="bg1"/>
                          </a:solidFill>
                          <a:effectLst/>
                        </a:rPr>
                        <a:t>   </a:t>
                      </a:r>
                      <a:r>
                        <a:rPr lang="nl-NL" sz="1100" b="0" u="none" strike="noStrike" kern="1200" dirty="0">
                          <a:solidFill>
                            <a:schemeClr val="bg1"/>
                          </a:solidFill>
                          <a:effectLst/>
                          <a:latin typeface="+mn-lt"/>
                          <a:ea typeface="+mn-ea"/>
                          <a:cs typeface="+mn-cs"/>
                        </a:rPr>
                        <a:t>1,034,646</a:t>
                      </a:r>
                      <a:endParaRPr lang="nl-NL" sz="1100" b="0" u="none" strike="noStrike" kern="1200" dirty="0">
                        <a:solidFill>
                          <a:schemeClr val="bg1"/>
                        </a:solidFill>
                        <a:effectLst/>
                        <a:latin typeface="+mn-lt"/>
                        <a:ea typeface="+mn-ea"/>
                        <a:cs typeface="+mn-cs"/>
                      </a:endParaRPr>
                    </a:p>
                  </a:txBody>
                  <a:tcPr marT="91440" marB="91440" anchor="b">
                    <a:solidFill>
                      <a:schemeClr val="tx1">
                        <a:lumMod val="60000"/>
                        <a:lumOff val="40000"/>
                      </a:schemeClr>
                    </a:solidFill>
                  </a:tcPr>
                </a:tc>
                <a:tc>
                  <a:txBody>
                    <a:bodyPr/>
                    <a:lstStyle/>
                    <a:p>
                      <a:pPr algn="ctr" fontAlgn="b"/>
                      <a:r>
                        <a:rPr lang="nl-NL" sz="1100" b="0" u="none" strike="noStrike" dirty="0">
                          <a:solidFill>
                            <a:schemeClr val="bg1"/>
                          </a:solidFill>
                          <a:effectLst/>
                        </a:rPr>
                        <a:t>13.228</a:t>
                      </a:r>
                      <a:endParaRPr lang="nl-NL" sz="1100" b="0" i="0" u="none" strike="noStrike" dirty="0">
                        <a:solidFill>
                          <a:schemeClr val="bg1"/>
                        </a:solidFill>
                        <a:effectLst/>
                        <a:latin typeface="Calibri" panose="020F0502020204030204" pitchFamily="34" charset="0"/>
                      </a:endParaRPr>
                    </a:p>
                  </a:txBody>
                  <a:tcPr marT="91440" marB="91440" anchor="b">
                    <a:solidFill>
                      <a:schemeClr val="tx1">
                        <a:lumMod val="60000"/>
                        <a:lumOff val="40000"/>
                      </a:schemeClr>
                    </a:solidFill>
                  </a:tcPr>
                </a:tc>
              </a:tr>
            </a:tbl>
          </a:graphicData>
        </a:graphic>
      </p:graphicFrame>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500"/>
                                        <p:tgtEl>
                                          <p:spTgt spid="11"/>
                                        </p:tgtEl>
                                      </p:cBhvr>
                                    </p:animEffect>
                                  </p:childTnLst>
                                </p:cTn>
                              </p:par>
                            </p:childTnLst>
                          </p:cTn>
                        </p:par>
                        <p:par>
                          <p:cTn id="17" fill="hold">
                            <p:stCondLst>
                              <p:cond delay="500"/>
                            </p:stCondLst>
                            <p:childTnLst>
                              <p:par>
                                <p:cTn id="18" presetID="10" presetClass="entr" presetSubtype="0" fill="hold" nodeType="after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1" grpId="0">
        <p:bldAsOne/>
      </p:bldGraphic>
      <p:bldGraphic spid="13" grpId="0">
        <p:bldAsOne/>
      </p:bldGraphic>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a:t>文章撰写与投稿的实用工具</a:t>
            </a:r>
            <a:endParaRPr lang="en-US" dirty="0"/>
          </a:p>
        </p:txBody>
      </p:sp>
      <p:sp>
        <p:nvSpPr>
          <p:cNvPr id="4" name="Rectangle 3"/>
          <p:cNvSpPr/>
          <p:nvPr/>
        </p:nvSpPr>
        <p:spPr>
          <a:xfrm>
            <a:off x="239841" y="1308724"/>
            <a:ext cx="4970787" cy="4478149"/>
          </a:xfrm>
          <a:prstGeom prst="rect">
            <a:avLst/>
          </a:prstGeom>
        </p:spPr>
        <p:txBody>
          <a:bodyPr wrap="square">
            <a:spAutoFit/>
          </a:bodyPr>
          <a:lstStyle/>
          <a:p>
            <a:pPr>
              <a:lnSpc>
                <a:spcPts val="3765"/>
              </a:lnSpc>
              <a:defRPr/>
            </a:pPr>
            <a:r>
              <a:rPr lang="zh-CN" altLang="en-US" sz="1400" b="1" u="sng" dirty="0">
                <a:solidFill>
                  <a:srgbClr val="FF0000"/>
                </a:solidFill>
              </a:rPr>
              <a:t>期刊寻找：</a:t>
            </a:r>
            <a:endParaRPr lang="en-US" altLang="zh-CN" sz="1400" b="1" u="sng" dirty="0">
              <a:solidFill>
                <a:srgbClr val="FF0000"/>
              </a:solidFill>
            </a:endParaRPr>
          </a:p>
          <a:p>
            <a:pPr marL="735965" indent="-285750">
              <a:lnSpc>
                <a:spcPts val="3765"/>
              </a:lnSpc>
              <a:buFont typeface="Wingdings" panose="05000000000000000000" pitchFamily="2" charset="2"/>
              <a:buChar char="§"/>
              <a:defRPr/>
            </a:pPr>
            <a:r>
              <a:rPr lang="en-US" altLang="zh-CN" sz="1400" dirty="0">
                <a:solidFill>
                  <a:srgbClr val="53565A"/>
                </a:solidFill>
              </a:rPr>
              <a:t>Scopus</a:t>
            </a:r>
            <a:r>
              <a:rPr lang="zh-CN" altLang="en-US" sz="1400" dirty="0">
                <a:solidFill>
                  <a:srgbClr val="53565A"/>
                </a:solidFill>
              </a:rPr>
              <a:t>分析出的相关期刊</a:t>
            </a:r>
            <a:endParaRPr lang="en-US" altLang="zh-CN" sz="1400" dirty="0">
              <a:solidFill>
                <a:srgbClr val="53565A"/>
              </a:solidFill>
            </a:endParaRPr>
          </a:p>
          <a:p>
            <a:pPr marL="735965" indent="-285750">
              <a:lnSpc>
                <a:spcPts val="3765"/>
              </a:lnSpc>
              <a:buFont typeface="Wingdings" panose="05000000000000000000" pitchFamily="2" charset="2"/>
              <a:buChar char="§"/>
              <a:defRPr/>
            </a:pPr>
            <a:r>
              <a:rPr lang="zh-CN" altLang="en-US" sz="1400" dirty="0">
                <a:solidFill>
                  <a:srgbClr val="53565A"/>
                </a:solidFill>
              </a:rPr>
              <a:t>参考文献的期刊</a:t>
            </a:r>
            <a:endParaRPr lang="en-US" altLang="zh-CN" sz="1400" dirty="0">
              <a:solidFill>
                <a:srgbClr val="53565A"/>
              </a:solidFill>
            </a:endParaRPr>
          </a:p>
          <a:p>
            <a:pPr marL="735965" indent="-285750">
              <a:lnSpc>
                <a:spcPts val="3765"/>
              </a:lnSpc>
              <a:buFont typeface="Wingdings" panose="05000000000000000000" pitchFamily="2" charset="2"/>
              <a:buChar char="§"/>
              <a:defRPr/>
            </a:pPr>
            <a:r>
              <a:rPr lang="zh-CN" altLang="en-US" sz="1400" dirty="0">
                <a:solidFill>
                  <a:srgbClr val="53565A"/>
                </a:solidFill>
              </a:rPr>
              <a:t>期刊</a:t>
            </a:r>
            <a:r>
              <a:rPr lang="zh-TW" altLang="en-US" sz="1400" dirty="0">
                <a:solidFill>
                  <a:srgbClr val="53565A"/>
                </a:solidFill>
              </a:rPr>
              <a:t>排名</a:t>
            </a:r>
            <a:r>
              <a:rPr lang="zh-CN" altLang="en-US" sz="1400" dirty="0">
                <a:solidFill>
                  <a:srgbClr val="53565A"/>
                </a:solidFill>
              </a:rPr>
              <a:t>与影响力 </a:t>
            </a:r>
            <a:r>
              <a:rPr lang="en-US" altLang="zh-CN" sz="1400" dirty="0">
                <a:solidFill>
                  <a:srgbClr val="FF9900"/>
                </a:solidFill>
              </a:rPr>
              <a:t>Journal Ranking</a:t>
            </a:r>
            <a:endParaRPr lang="en-US" altLang="zh-CN" sz="1400" dirty="0">
              <a:solidFill>
                <a:srgbClr val="FF9900"/>
              </a:solidFill>
            </a:endParaRPr>
          </a:p>
          <a:p>
            <a:pPr marL="735965" indent="-285750">
              <a:lnSpc>
                <a:spcPts val="3765"/>
              </a:lnSpc>
              <a:buFont typeface="Wingdings" panose="05000000000000000000" pitchFamily="2" charset="2"/>
              <a:buChar char="§"/>
              <a:defRPr/>
            </a:pPr>
            <a:r>
              <a:rPr lang="en-US" altLang="zh-CN" sz="1400" dirty="0">
                <a:solidFill>
                  <a:srgbClr val="FF9900"/>
                </a:solidFill>
              </a:rPr>
              <a:t>Elsevier Journal Finder</a:t>
            </a:r>
            <a:endParaRPr lang="en-US" altLang="zh-CN" sz="1400" dirty="0">
              <a:solidFill>
                <a:srgbClr val="FF9900"/>
              </a:solidFill>
            </a:endParaRPr>
          </a:p>
          <a:p>
            <a:pPr>
              <a:lnSpc>
                <a:spcPts val="3765"/>
              </a:lnSpc>
              <a:defRPr/>
            </a:pPr>
            <a:r>
              <a:rPr lang="zh-CN" altLang="en-US" sz="1400" b="1" u="sng" dirty="0">
                <a:solidFill>
                  <a:srgbClr val="FF0000"/>
                </a:solidFill>
              </a:rPr>
              <a:t>对于目标期刊：</a:t>
            </a:r>
            <a:endParaRPr lang="en-US" altLang="zh-CN" sz="1400" b="1" u="sng" dirty="0">
              <a:solidFill>
                <a:srgbClr val="FF0000"/>
              </a:solidFill>
            </a:endParaRPr>
          </a:p>
          <a:p>
            <a:pPr marL="735965" indent="-285750">
              <a:lnSpc>
                <a:spcPts val="3765"/>
              </a:lnSpc>
              <a:buFont typeface="Wingdings" panose="05000000000000000000" pitchFamily="2" charset="2"/>
              <a:buChar char="§"/>
              <a:defRPr/>
            </a:pPr>
            <a:r>
              <a:rPr lang="zh-CN" altLang="en-US" sz="1400" dirty="0">
                <a:solidFill>
                  <a:srgbClr val="53565A"/>
                </a:solidFill>
              </a:rPr>
              <a:t>研读期刊的 </a:t>
            </a:r>
            <a:r>
              <a:rPr lang="en-US" altLang="zh-CN" sz="1400" dirty="0">
                <a:solidFill>
                  <a:srgbClr val="FF9900"/>
                </a:solidFill>
              </a:rPr>
              <a:t>Aims &amp; Scope</a:t>
            </a:r>
            <a:r>
              <a:rPr lang="zh-CN" altLang="en-US" sz="1400" dirty="0">
                <a:solidFill>
                  <a:srgbClr val="53565A"/>
                </a:solidFill>
              </a:rPr>
              <a:t>及</a:t>
            </a:r>
            <a:r>
              <a:rPr lang="en-US" altLang="zh-CN" sz="1400" dirty="0">
                <a:solidFill>
                  <a:srgbClr val="FF9900"/>
                </a:solidFill>
              </a:rPr>
              <a:t>Guides for Authors</a:t>
            </a:r>
            <a:endParaRPr lang="en-US" altLang="zh-CN" sz="1400" dirty="0">
              <a:solidFill>
                <a:srgbClr val="FF9900"/>
              </a:solidFill>
            </a:endParaRPr>
          </a:p>
          <a:p>
            <a:pPr marL="735965" indent="-285750">
              <a:lnSpc>
                <a:spcPts val="3765"/>
              </a:lnSpc>
              <a:buFont typeface="Wingdings" panose="05000000000000000000" pitchFamily="2" charset="2"/>
              <a:buChar char="§"/>
              <a:defRPr/>
            </a:pPr>
            <a:r>
              <a:rPr lang="zh-CN" altLang="en-US" sz="1400" dirty="0">
                <a:solidFill>
                  <a:srgbClr val="53565A"/>
                </a:solidFill>
              </a:rPr>
              <a:t>并检查文章是否符合期刊要求</a:t>
            </a:r>
            <a:endParaRPr lang="en-US" altLang="zh-CN" sz="1400" dirty="0">
              <a:solidFill>
                <a:srgbClr val="53565A"/>
              </a:solidFill>
            </a:endParaRPr>
          </a:p>
          <a:p>
            <a:pPr marL="735965" indent="-285750">
              <a:lnSpc>
                <a:spcPts val="3765"/>
              </a:lnSpc>
              <a:buFont typeface="Wingdings" panose="05000000000000000000" pitchFamily="2" charset="2"/>
              <a:buChar char="§"/>
              <a:defRPr/>
            </a:pPr>
            <a:r>
              <a:rPr lang="zh-CN" altLang="en-US" sz="1400" dirty="0">
                <a:solidFill>
                  <a:srgbClr val="53565A"/>
                </a:solidFill>
              </a:rPr>
              <a:t>查看期刊是否只接受邀请投稿</a:t>
            </a:r>
            <a:endParaRPr lang="en-US" altLang="zh-CN" sz="1400" dirty="0">
              <a:solidFill>
                <a:srgbClr val="53565A"/>
              </a:solidFill>
            </a:endParaRPr>
          </a:p>
        </p:txBody>
      </p:sp>
      <p:pic>
        <p:nvPicPr>
          <p:cNvPr id="6" name="Picture 2"/>
          <p:cNvPicPr>
            <a:picLocks noChangeAspect="1" noChangeArrowheads="1"/>
          </p:cNvPicPr>
          <p:nvPr/>
        </p:nvPicPr>
        <p:blipFill>
          <a:blip r:embed="rId1">
            <a:extLst>
              <a:ext uri="{28A0092B-C50C-407E-A947-70E740481C1C}">
                <a14:useLocalDpi xmlns:a14="http://schemas.microsoft.com/office/drawing/2010/main" val="0"/>
              </a:ext>
            </a:extLst>
          </a:blip>
          <a:srcRect/>
          <a:stretch>
            <a:fillRect/>
          </a:stretch>
        </p:blipFill>
        <p:spPr bwMode="auto">
          <a:xfrm>
            <a:off x="0" y="2336066"/>
            <a:ext cx="9144000" cy="40985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p:nvPicPr>
        <p:blipFill>
          <a:blip r:embed="rId2"/>
          <a:srcRect/>
          <a:stretch>
            <a:fillRect/>
          </a:stretch>
        </p:blipFill>
        <p:spPr bwMode="auto">
          <a:xfrm>
            <a:off x="1574618" y="2336066"/>
            <a:ext cx="7569382" cy="452193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descr="http://s13.sinaimg.cn/middle/5cf073c0x7c455ad98d6c&amp;69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060148" y="705204"/>
            <a:ext cx="1847381" cy="13681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74618" y="2655107"/>
            <a:ext cx="7597140" cy="3779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additive="base">
                                        <p:cTn id="13" dur="500" fill="hold"/>
                                        <p:tgtEl>
                                          <p:spTgt spid="5"/>
                                        </p:tgtEl>
                                        <p:attrNameLst>
                                          <p:attrName>ppt_x</p:attrName>
                                        </p:attrNameLst>
                                      </p:cBhvr>
                                      <p:tavLst>
                                        <p:tav tm="0">
                                          <p:val>
                                            <p:strVal val="#ppt_x"/>
                                          </p:val>
                                        </p:tav>
                                        <p:tav tm="100000">
                                          <p:val>
                                            <p:strVal val="#ppt_x"/>
                                          </p:val>
                                        </p:tav>
                                      </p:tavLst>
                                    </p:anim>
                                    <p:anim calcmode="lin" valueType="num">
                                      <p:cBhvr additive="base">
                                        <p:cTn id="14"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0" y="274638"/>
            <a:ext cx="8229600" cy="778098"/>
          </a:xfrm>
        </p:spPr>
        <p:txBody>
          <a:bodyPr/>
          <a:lstStyle/>
          <a:p>
            <a:r>
              <a:rPr lang="en-US" altLang="zh-CN" dirty="0">
                <a:latin typeface="Arial" panose="020B0604020202020204" pitchFamily="34" charset="0"/>
                <a:ea typeface="微软雅黑" panose="020B0503020204020204" charset="-122"/>
                <a:cs typeface="Arial" panose="020B0604020202020204" pitchFamily="34" charset="0"/>
              </a:rPr>
              <a:t>   b.</a:t>
            </a:r>
            <a:r>
              <a:rPr lang="zh-CN" altLang="en-US" dirty="0">
                <a:latin typeface="Arial" panose="020B0604020202020204" pitchFamily="34" charset="0"/>
                <a:ea typeface="微软雅黑" panose="020B0503020204020204" charset="-122"/>
                <a:cs typeface="Arial" panose="020B0604020202020204" pitchFamily="34" charset="0"/>
              </a:rPr>
              <a:t>准备论文</a:t>
            </a:r>
            <a:endParaRPr lang="zh-CN" altLang="en-US" dirty="0">
              <a:latin typeface="Arial" panose="020B0604020202020204" pitchFamily="34" charset="0"/>
              <a:ea typeface="微软雅黑" panose="020B0503020204020204" charset="-122"/>
              <a:cs typeface="Arial" panose="020B0604020202020204" pitchFamily="34" charset="0"/>
            </a:endParaRPr>
          </a:p>
        </p:txBody>
      </p:sp>
      <p:sp>
        <p:nvSpPr>
          <p:cNvPr id="3" name="内容占位符 2"/>
          <p:cNvSpPr>
            <a:spLocks noGrp="1"/>
          </p:cNvSpPr>
          <p:nvPr>
            <p:ph idx="4294967295"/>
          </p:nvPr>
        </p:nvSpPr>
        <p:spPr>
          <a:xfrm>
            <a:off x="1727200" y="1196975"/>
            <a:ext cx="7416800" cy="5327650"/>
          </a:xfrm>
        </p:spPr>
        <p:txBody>
          <a:bodyPr/>
          <a:lstStyle/>
          <a:p>
            <a:r>
              <a:rPr lang="zh-CN" altLang="en-US" sz="2400" dirty="0"/>
              <a:t>文章结构及语言</a:t>
            </a:r>
            <a:endParaRPr lang="en-US" altLang="zh-CN" sz="2400" dirty="0"/>
          </a:p>
          <a:p>
            <a:r>
              <a:rPr lang="zh-CN" altLang="en-US" sz="2400" dirty="0"/>
              <a:t>严格按照</a:t>
            </a:r>
            <a:r>
              <a:rPr lang="en-US" altLang="zh-CN" sz="2400" dirty="0">
                <a:solidFill>
                  <a:schemeClr val="accent2"/>
                </a:solidFill>
              </a:rPr>
              <a:t>Guide for Authors</a:t>
            </a:r>
            <a:r>
              <a:rPr lang="zh-CN" altLang="en-US" sz="2400" dirty="0"/>
              <a:t>的要求修改</a:t>
            </a:r>
            <a:endParaRPr lang="en-US" altLang="zh-CN" sz="2400" dirty="0"/>
          </a:p>
          <a:p>
            <a:pPr lvl="1"/>
            <a:r>
              <a:rPr lang="zh-CN" altLang="en-US" sz="2000" b="1" dirty="0"/>
              <a:t>文章字数</a:t>
            </a:r>
            <a:endParaRPr lang="en-US" altLang="zh-CN" sz="2000" b="1" dirty="0"/>
          </a:p>
          <a:p>
            <a:pPr lvl="1"/>
            <a:r>
              <a:rPr lang="zh-CN" altLang="en-US" sz="2000" b="1" dirty="0"/>
              <a:t>文字处理软件</a:t>
            </a:r>
            <a:endParaRPr lang="en-US" altLang="zh-CN" sz="2000" b="1" dirty="0"/>
          </a:p>
          <a:p>
            <a:pPr lvl="1"/>
            <a:r>
              <a:rPr lang="zh-CN" altLang="en-US" sz="2000" b="1" dirty="0"/>
              <a:t>标题、摘要、关键词的具体要求</a:t>
            </a:r>
            <a:endParaRPr lang="en-US" altLang="zh-CN" sz="2000" b="1" dirty="0"/>
          </a:p>
          <a:p>
            <a:pPr lvl="1"/>
            <a:r>
              <a:rPr lang="zh-CN" altLang="en-US" sz="2000" b="1" dirty="0"/>
              <a:t>图片格式、分辨率、尺寸、文档大小、彩图</a:t>
            </a:r>
            <a:endParaRPr lang="en-US" altLang="zh-CN" sz="2000" b="1" dirty="0"/>
          </a:p>
          <a:p>
            <a:pPr lvl="1"/>
            <a:r>
              <a:rPr lang="zh-CN" altLang="en-US" sz="2000" b="1" dirty="0"/>
              <a:t>公式和表格</a:t>
            </a:r>
            <a:endParaRPr lang="en-US" altLang="zh-CN" sz="2000" b="1" dirty="0"/>
          </a:p>
          <a:p>
            <a:pPr lvl="1"/>
            <a:r>
              <a:rPr lang="zh-CN" altLang="en-US" sz="2000" b="1" dirty="0"/>
              <a:t>术语、缩略语</a:t>
            </a:r>
            <a:endParaRPr lang="en-US" altLang="zh-CN" sz="2000" b="1" dirty="0"/>
          </a:p>
          <a:p>
            <a:pPr lvl="1"/>
            <a:r>
              <a:rPr lang="zh-CN" altLang="en-US" sz="2000" b="1" dirty="0"/>
              <a:t>参考文献格式</a:t>
            </a:r>
            <a:endParaRPr lang="en-US" altLang="zh-CN" sz="2000" b="1" dirty="0"/>
          </a:p>
          <a:p>
            <a:r>
              <a:rPr lang="zh-CN" altLang="en-US" sz="2400" dirty="0"/>
              <a:t>准备投稿所需其他材料</a:t>
            </a:r>
            <a:endParaRPr lang="en-US" altLang="zh-CN" sz="2400" dirty="0"/>
          </a:p>
          <a:p>
            <a:pPr lvl="1"/>
            <a:r>
              <a:rPr lang="en-US" altLang="zh-CN" sz="2000" dirty="0"/>
              <a:t>Cover letter</a:t>
            </a:r>
            <a:endParaRPr lang="en-US" altLang="zh-CN" sz="2000" dirty="0"/>
          </a:p>
          <a:p>
            <a:pPr lvl="1"/>
            <a:r>
              <a:rPr lang="en-US" altLang="zh-CN" sz="2000" dirty="0"/>
              <a:t>Highlights</a:t>
            </a:r>
            <a:endParaRPr lang="en-US" altLang="zh-CN" sz="2000" dirty="0"/>
          </a:p>
          <a:p>
            <a:pPr lvl="1"/>
            <a:r>
              <a:rPr lang="en-US" altLang="zh-CN" sz="2000" dirty="0"/>
              <a:t>Graphic abstract</a:t>
            </a:r>
            <a:endParaRPr lang="en-US" altLang="zh-CN" sz="2000" dirty="0"/>
          </a:p>
          <a:p>
            <a:pPr lvl="1"/>
            <a:r>
              <a:rPr lang="en-US" altLang="zh-CN" sz="2000" dirty="0"/>
              <a:t>Select reviewers</a:t>
            </a:r>
            <a:endParaRPr lang="en-US" altLang="zh-CN" sz="2000"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xEl>
                                              <p:pRg st="3" end="3"/>
                                            </p:txEl>
                                          </p:spTgt>
                                        </p:tgtEl>
                                        <p:attrNameLst>
                                          <p:attrName>style.visibility</p:attrName>
                                        </p:attrNameLst>
                                      </p:cBhvr>
                                      <p:to>
                                        <p:strVal val="visible"/>
                                      </p:to>
                                    </p:set>
                                    <p:animEffect transition="in" filter="fade">
                                      <p:cBhvr>
                                        <p:cTn id="18" dur="500"/>
                                        <p:tgtEl>
                                          <p:spTgt spid="3">
                                            <p:txEl>
                                              <p:pRg st="3" end="3"/>
                                            </p:txEl>
                                          </p:spTgt>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animEffect transition="in" filter="fade">
                                      <p:cBhvr>
                                        <p:cTn id="21" dur="500"/>
                                        <p:tgtEl>
                                          <p:spTgt spid="3">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
                                            <p:txEl>
                                              <p:pRg st="5" end="5"/>
                                            </p:txEl>
                                          </p:spTgt>
                                        </p:tgtEl>
                                        <p:attrNameLst>
                                          <p:attrName>style.visibility</p:attrName>
                                        </p:attrNameLst>
                                      </p:cBhvr>
                                      <p:to>
                                        <p:strVal val="visible"/>
                                      </p:to>
                                    </p:set>
                                    <p:animEffect transition="in" filter="fade">
                                      <p:cBhvr>
                                        <p:cTn id="24" dur="500"/>
                                        <p:tgtEl>
                                          <p:spTgt spid="3">
                                            <p:txEl>
                                              <p:pRg st="5" end="5"/>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
                                            <p:txEl>
                                              <p:pRg st="6" end="6"/>
                                            </p:txEl>
                                          </p:spTgt>
                                        </p:tgtEl>
                                        <p:attrNameLst>
                                          <p:attrName>style.visibility</p:attrName>
                                        </p:attrNameLst>
                                      </p:cBhvr>
                                      <p:to>
                                        <p:strVal val="visible"/>
                                      </p:to>
                                    </p:set>
                                    <p:animEffect transition="in" filter="fade">
                                      <p:cBhvr>
                                        <p:cTn id="27" dur="500"/>
                                        <p:tgtEl>
                                          <p:spTgt spid="3">
                                            <p:txEl>
                                              <p:pRg st="6" end="6"/>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
                                            <p:txEl>
                                              <p:pRg st="7" end="7"/>
                                            </p:txEl>
                                          </p:spTgt>
                                        </p:tgtEl>
                                        <p:attrNameLst>
                                          <p:attrName>style.visibility</p:attrName>
                                        </p:attrNameLst>
                                      </p:cBhvr>
                                      <p:to>
                                        <p:strVal val="visible"/>
                                      </p:to>
                                    </p:set>
                                    <p:animEffect transition="in" filter="fade">
                                      <p:cBhvr>
                                        <p:cTn id="30" dur="500"/>
                                        <p:tgtEl>
                                          <p:spTgt spid="3">
                                            <p:txEl>
                                              <p:pRg st="7" end="7"/>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
                                            <p:txEl>
                                              <p:pRg st="8" end="8"/>
                                            </p:txEl>
                                          </p:spTgt>
                                        </p:tgtEl>
                                        <p:attrNameLst>
                                          <p:attrName>style.visibility</p:attrName>
                                        </p:attrNameLst>
                                      </p:cBhvr>
                                      <p:to>
                                        <p:strVal val="visible"/>
                                      </p:to>
                                    </p:set>
                                    <p:animEffect transition="in" filter="fade">
                                      <p:cBhvr>
                                        <p:cTn id="33" dur="500"/>
                                        <p:tgtEl>
                                          <p:spTgt spid="3">
                                            <p:txEl>
                                              <p:pRg st="8" end="8"/>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3">
                                            <p:txEl>
                                              <p:pRg st="9" end="9"/>
                                            </p:txEl>
                                          </p:spTgt>
                                        </p:tgtEl>
                                        <p:attrNameLst>
                                          <p:attrName>style.visibility</p:attrName>
                                        </p:attrNameLst>
                                      </p:cBhvr>
                                      <p:to>
                                        <p:strVal val="visible"/>
                                      </p:to>
                                    </p:set>
                                    <p:animEffect transition="in" filter="fade">
                                      <p:cBhvr>
                                        <p:cTn id="38" dur="500"/>
                                        <p:tgtEl>
                                          <p:spTgt spid="3">
                                            <p:txEl>
                                              <p:pRg st="9" end="9"/>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
                                            <p:txEl>
                                              <p:pRg st="10" end="10"/>
                                            </p:txEl>
                                          </p:spTgt>
                                        </p:tgtEl>
                                        <p:attrNameLst>
                                          <p:attrName>style.visibility</p:attrName>
                                        </p:attrNameLst>
                                      </p:cBhvr>
                                      <p:to>
                                        <p:strVal val="visible"/>
                                      </p:to>
                                    </p:set>
                                    <p:animEffect transition="in" filter="fade">
                                      <p:cBhvr>
                                        <p:cTn id="41" dur="500"/>
                                        <p:tgtEl>
                                          <p:spTgt spid="3">
                                            <p:txEl>
                                              <p:pRg st="10" end="10"/>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
                                            <p:txEl>
                                              <p:pRg st="11" end="11"/>
                                            </p:txEl>
                                          </p:spTgt>
                                        </p:tgtEl>
                                        <p:attrNameLst>
                                          <p:attrName>style.visibility</p:attrName>
                                        </p:attrNameLst>
                                      </p:cBhvr>
                                      <p:to>
                                        <p:strVal val="visible"/>
                                      </p:to>
                                    </p:set>
                                    <p:animEffect transition="in" filter="fade">
                                      <p:cBhvr>
                                        <p:cTn id="44" dur="500"/>
                                        <p:tgtEl>
                                          <p:spTgt spid="3">
                                            <p:txEl>
                                              <p:pRg st="11" end="11"/>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
                                            <p:txEl>
                                              <p:pRg st="12" end="12"/>
                                            </p:txEl>
                                          </p:spTgt>
                                        </p:tgtEl>
                                        <p:attrNameLst>
                                          <p:attrName>style.visibility</p:attrName>
                                        </p:attrNameLst>
                                      </p:cBhvr>
                                      <p:to>
                                        <p:strVal val="visible"/>
                                      </p:to>
                                    </p:set>
                                    <p:animEffect transition="in" filter="fade">
                                      <p:cBhvr>
                                        <p:cTn id="47" dur="500"/>
                                        <p:tgtEl>
                                          <p:spTgt spid="3">
                                            <p:txEl>
                                              <p:pRg st="12" end="12"/>
                                            </p:tx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
                                            <p:txEl>
                                              <p:pRg st="13" end="13"/>
                                            </p:txEl>
                                          </p:spTgt>
                                        </p:tgtEl>
                                        <p:attrNameLst>
                                          <p:attrName>style.visibility</p:attrName>
                                        </p:attrNameLst>
                                      </p:cBhvr>
                                      <p:to>
                                        <p:strVal val="visible"/>
                                      </p:to>
                                    </p:set>
                                    <p:animEffect transition="in" filter="fade">
                                      <p:cBhvr>
                                        <p:cTn id="50" dur="500"/>
                                        <p:tgtEl>
                                          <p:spTgt spid="3">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0" y="274638"/>
            <a:ext cx="8229600" cy="778098"/>
          </a:xfrm>
        </p:spPr>
        <p:txBody>
          <a:bodyPr/>
          <a:lstStyle/>
          <a:p>
            <a:r>
              <a:rPr lang="en-US" altLang="zh-CN" dirty="0">
                <a:latin typeface="Arial" panose="020B0604020202020204" pitchFamily="34" charset="0"/>
                <a:ea typeface="微软雅黑" panose="020B0503020204020204" charset="-122"/>
                <a:cs typeface="Arial" panose="020B0604020202020204" pitchFamily="34" charset="0"/>
              </a:rPr>
              <a:t>   c.</a:t>
            </a:r>
            <a:r>
              <a:rPr lang="zh-CN" altLang="en-US" dirty="0">
                <a:latin typeface="Arial" panose="020B0604020202020204" pitchFamily="34" charset="0"/>
                <a:ea typeface="微软雅黑" panose="020B0503020204020204" charset="-122"/>
                <a:cs typeface="Arial" panose="020B0604020202020204" pitchFamily="34" charset="0"/>
              </a:rPr>
              <a:t>提交论文</a:t>
            </a:r>
            <a:endParaRPr lang="zh-CN" altLang="en-US" dirty="0"/>
          </a:p>
        </p:txBody>
      </p:sp>
      <p:graphicFrame>
        <p:nvGraphicFramePr>
          <p:cNvPr id="3" name="对象 2"/>
          <p:cNvGraphicFramePr>
            <a:graphicFrameLocks noGrp="1" noChangeAspect="1"/>
          </p:cNvGraphicFramePr>
          <p:nvPr/>
        </p:nvGraphicFramePr>
        <p:xfrm>
          <a:off x="1763713" y="1144588"/>
          <a:ext cx="6048375" cy="5380037"/>
        </p:xfrm>
        <a:graphic>
          <a:graphicData uri="http://schemas.openxmlformats.org/presentationml/2006/ole">
            <mc:AlternateContent xmlns:mc="http://schemas.openxmlformats.org/markup-compatibility/2006">
              <mc:Choice xmlns:v="urn:schemas-microsoft-com:vml" Requires="v">
                <p:oleObj spid="_x0000_s1045" name="Visio" r:id="rId1" imgW="8444230" imgH="7518400" progId="Visio.Drawing.11">
                  <p:embed/>
                </p:oleObj>
              </mc:Choice>
              <mc:Fallback>
                <p:oleObj name="Visio" r:id="rId1" imgW="8444230" imgH="7518400" progId="Visio.Drawing.11">
                  <p:embed/>
                  <p:pic>
                    <p:nvPicPr>
                      <p:cNvPr id="0" name="图片 1044"/>
                      <p:cNvPicPr>
                        <a:picLocks noGrp="1"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63713" y="1144588"/>
                        <a:ext cx="6048375" cy="5380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1" name="图片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03310" y="3192365"/>
            <a:ext cx="884707" cy="884707"/>
          </a:xfrm>
          <a:prstGeom prst="rect">
            <a:avLst/>
          </a:prstGeom>
        </p:spPr>
      </p:pic>
      <p:sp>
        <p:nvSpPr>
          <p:cNvPr id="20" name="TextBox 19"/>
          <p:cNvSpPr txBox="1"/>
          <p:nvPr/>
        </p:nvSpPr>
        <p:spPr>
          <a:xfrm>
            <a:off x="6804248" y="5753988"/>
            <a:ext cx="1584176" cy="646331"/>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r>
              <a:rPr lang="zh-CN" altLang="en-US" dirty="0">
                <a:solidFill>
                  <a:srgbClr val="FFFFFF"/>
                </a:solidFill>
                <a:latin typeface="微软雅黑" panose="020B0503020204020204" charset="-122"/>
                <a:ea typeface="微软雅黑" panose="020B0503020204020204" charset="-122"/>
              </a:rPr>
              <a:t>同行评审体系论文处理流程</a:t>
            </a:r>
            <a:endParaRPr lang="zh-CN" altLang="en-US" dirty="0">
              <a:solidFill>
                <a:srgbClr val="FFFFFF"/>
              </a:solidFill>
              <a:latin typeface="微软雅黑" panose="020B0503020204020204" charset="-122"/>
              <a:ea typeface="微软雅黑" panose="020B0503020204020204" charset="-122"/>
            </a:endParaRPr>
          </a:p>
        </p:txBody>
      </p:sp>
      <p:sp>
        <p:nvSpPr>
          <p:cNvPr id="21" name="Rectangle 23"/>
          <p:cNvSpPr>
            <a:spLocks noChangeArrowheads="1"/>
          </p:cNvSpPr>
          <p:nvPr/>
        </p:nvSpPr>
        <p:spPr bwMode="auto">
          <a:xfrm>
            <a:off x="539552" y="6237312"/>
            <a:ext cx="3828506" cy="461665"/>
          </a:xfrm>
          <a:prstGeom prst="rect">
            <a:avLst/>
          </a:prstGeom>
          <a:solidFill>
            <a:srgbClr val="FFFFFF"/>
          </a:solidFill>
          <a:ln w="9525">
            <a:noFill/>
            <a:miter lim="800000"/>
          </a:ln>
        </p:spPr>
        <p:txBody>
          <a:bodyPr wrap="square">
            <a:spAutoFit/>
          </a:bodyPr>
          <a:lstStyle/>
          <a:p>
            <a:r>
              <a:rPr lang="en-US" altLang="zh-CN" sz="1200" dirty="0">
                <a:solidFill>
                  <a:srgbClr val="000000"/>
                </a:solidFill>
                <a:ea typeface="宋体" panose="02010600030101010101" pitchFamily="2" charset="-122"/>
              </a:rPr>
              <a:t>Michael </a:t>
            </a:r>
            <a:r>
              <a:rPr lang="en-US" altLang="zh-CN" sz="1200" dirty="0" err="1">
                <a:solidFill>
                  <a:srgbClr val="000000"/>
                </a:solidFill>
                <a:ea typeface="宋体" panose="02010600030101010101" pitchFamily="2" charset="-122"/>
              </a:rPr>
              <a:t>Derntl</a:t>
            </a:r>
            <a:r>
              <a:rPr lang="en-US" altLang="zh-CN" sz="1200" dirty="0">
                <a:solidFill>
                  <a:srgbClr val="000000"/>
                </a:solidFill>
                <a:ea typeface="宋体" panose="02010600030101010101" pitchFamily="2" charset="-122"/>
              </a:rPr>
              <a:t>: Basics of Research Paper Writing and Publishing. http://www.pri.univie.ac.at/~derntl/papers/meth-se.pdf </a:t>
            </a:r>
            <a:endParaRPr lang="zh-CN" altLang="en-US" sz="1200" dirty="0">
              <a:solidFill>
                <a:srgbClr val="000000"/>
              </a:solidFill>
              <a:ea typeface="宋体" panose="02010600030101010101" pitchFamily="2" charset="-122"/>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bldLvl="0" animBg="1"/>
      <p:bldP spid="21" grpId="0" bldLvl="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0" y="274638"/>
            <a:ext cx="8229600" cy="778098"/>
          </a:xfrm>
        </p:spPr>
        <p:txBody>
          <a:bodyPr/>
          <a:lstStyle/>
          <a:p>
            <a:r>
              <a:rPr lang="en-US" altLang="zh-CN" dirty="0">
                <a:latin typeface="Arial" panose="020B0604020202020204" pitchFamily="34" charset="0"/>
                <a:ea typeface="微软雅黑" panose="020B0503020204020204" charset="-122"/>
                <a:cs typeface="Arial" panose="020B0604020202020204" pitchFamily="34" charset="0"/>
              </a:rPr>
              <a:t>   d.</a:t>
            </a:r>
            <a:r>
              <a:rPr lang="zh-CN" altLang="en-US" dirty="0">
                <a:latin typeface="Arial" panose="020B0604020202020204" pitchFamily="34" charset="0"/>
                <a:ea typeface="微软雅黑" panose="020B0503020204020204" charset="-122"/>
                <a:cs typeface="Arial" panose="020B0604020202020204" pitchFamily="34" charset="0"/>
              </a:rPr>
              <a:t>检查状态</a:t>
            </a:r>
            <a:endParaRPr lang="zh-CN" altLang="en-US" dirty="0">
              <a:latin typeface="微软雅黑" panose="020B0503020204020204" charset="-122"/>
              <a:ea typeface="微软雅黑" panose="020B0503020204020204" charset="-122"/>
            </a:endParaRPr>
          </a:p>
        </p:txBody>
      </p:sp>
      <p:grpSp>
        <p:nvGrpSpPr>
          <p:cNvPr id="14" name="组合 13"/>
          <p:cNvGrpSpPr/>
          <p:nvPr/>
        </p:nvGrpSpPr>
        <p:grpSpPr>
          <a:xfrm>
            <a:off x="890163" y="1304586"/>
            <a:ext cx="7354245" cy="5076742"/>
            <a:chOff x="827584" y="1304586"/>
            <a:chExt cx="7354245" cy="5076742"/>
          </a:xfrm>
        </p:grpSpPr>
        <p:graphicFrame>
          <p:nvGraphicFramePr>
            <p:cNvPr id="3" name="图示 2"/>
            <p:cNvGraphicFramePr/>
            <p:nvPr/>
          </p:nvGraphicFramePr>
          <p:xfrm>
            <a:off x="827584" y="1304586"/>
            <a:ext cx="5776203" cy="2554396"/>
          </p:xfrm>
          <a:graphic>
            <a:graphicData uri="http://schemas.openxmlformats.org/drawingml/2006/diagram">
              <dgm:relIds xmlns:dgm="http://schemas.openxmlformats.org/drawingml/2006/diagram" xmlns:r="http://schemas.openxmlformats.org/officeDocument/2006/relationships" r:dm="rId1" r:lo="rId2" r:qs="rId3" r:cs="rId4"/>
            </a:graphicData>
          </a:graphic>
        </p:graphicFrame>
        <p:graphicFrame>
          <p:nvGraphicFramePr>
            <p:cNvPr id="4" name="图示 3"/>
            <p:cNvGraphicFramePr/>
            <p:nvPr/>
          </p:nvGraphicFramePr>
          <p:xfrm>
            <a:off x="2483768" y="3911920"/>
            <a:ext cx="5698061" cy="246940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0" name="下箭头 4"/>
            <p:cNvSpPr/>
            <p:nvPr/>
          </p:nvSpPr>
          <p:spPr>
            <a:xfrm>
              <a:off x="6326049" y="3727638"/>
              <a:ext cx="179309" cy="24532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9050" tIns="19050" rIns="19050" bIns="19050" numCol="1" spcCol="1270" anchor="ctr" anchorCtr="0">
              <a:noAutofit/>
            </a:bodyPr>
            <a:lstStyle/>
            <a:p>
              <a:pPr algn="ctr" defTabSz="666750">
                <a:lnSpc>
                  <a:spcPct val="90000"/>
                </a:lnSpc>
                <a:spcBef>
                  <a:spcPct val="0"/>
                </a:spcBef>
                <a:spcAft>
                  <a:spcPct val="35000"/>
                </a:spcAft>
              </a:pPr>
              <a:endParaRPr lang="zh-CN" altLang="en-US" sz="1500">
                <a:solidFill>
                  <a:srgbClr val="000000">
                    <a:hueOff val="0"/>
                    <a:satOff val="0"/>
                    <a:lumOff val="0"/>
                    <a:alphaOff val="0"/>
                  </a:srgbClr>
                </a:solidFill>
              </a:endParaRPr>
            </a:p>
          </p:txBody>
        </p:sp>
        <p:grpSp>
          <p:nvGrpSpPr>
            <p:cNvPr id="11" name="组合 10"/>
            <p:cNvGrpSpPr/>
            <p:nvPr/>
          </p:nvGrpSpPr>
          <p:grpSpPr>
            <a:xfrm>
              <a:off x="6311542" y="3728198"/>
              <a:ext cx="298864" cy="298864"/>
              <a:chOff x="5145206" y="1904302"/>
              <a:chExt cx="298864" cy="298864"/>
            </a:xfrm>
          </p:grpSpPr>
          <p:sp>
            <p:nvSpPr>
              <p:cNvPr id="12" name="下箭头 11"/>
              <p:cNvSpPr/>
              <p:nvPr/>
            </p:nvSpPr>
            <p:spPr>
              <a:xfrm>
                <a:off x="5145206" y="1904302"/>
                <a:ext cx="298864" cy="298864"/>
              </a:xfrm>
              <a:prstGeom prst="downArrow">
                <a:avLst>
                  <a:gd name="adj1" fmla="val 55000"/>
                  <a:gd name="adj2" fmla="val 45000"/>
                </a:avLst>
              </a:prstGeom>
            </p:spPr>
            <p:style>
              <a:lnRef idx="2">
                <a:schemeClr val="accent6">
                  <a:alpha val="90000"/>
                  <a:tint val="40000"/>
                  <a:hueOff val="0"/>
                  <a:satOff val="0"/>
                  <a:lumOff val="0"/>
                  <a:alphaOff val="0"/>
                </a:schemeClr>
              </a:lnRef>
              <a:fillRef idx="1">
                <a:schemeClr val="accent6">
                  <a:alpha val="90000"/>
                  <a:tint val="40000"/>
                  <a:hueOff val="0"/>
                  <a:satOff val="0"/>
                  <a:lumOff val="0"/>
                  <a:alphaOff val="-39993"/>
                </a:schemeClr>
              </a:fillRef>
              <a:effectRef idx="0">
                <a:schemeClr val="accent6">
                  <a:alpha val="90000"/>
                  <a:tint val="40000"/>
                  <a:hueOff val="0"/>
                  <a:satOff val="0"/>
                  <a:lumOff val="0"/>
                  <a:alphaOff val="-39993"/>
                </a:schemeClr>
              </a:effectRef>
              <a:fontRef idx="minor">
                <a:schemeClr val="dk1">
                  <a:hueOff val="0"/>
                  <a:satOff val="0"/>
                  <a:lumOff val="0"/>
                  <a:alphaOff val="0"/>
                </a:schemeClr>
              </a:fontRef>
            </p:style>
          </p:sp>
          <p:sp>
            <p:nvSpPr>
              <p:cNvPr id="13" name="下箭头 4"/>
              <p:cNvSpPr/>
              <p:nvPr/>
            </p:nvSpPr>
            <p:spPr>
              <a:xfrm>
                <a:off x="5212450" y="1904302"/>
                <a:ext cx="164376" cy="22489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7780" tIns="17780" rIns="17780" bIns="17780" numCol="1" spcCol="1270" anchor="ctr" anchorCtr="0">
                <a:noAutofit/>
              </a:bodyPr>
              <a:lstStyle/>
              <a:p>
                <a:pPr algn="ctr" defTabSz="622300">
                  <a:lnSpc>
                    <a:spcPct val="90000"/>
                  </a:lnSpc>
                  <a:spcBef>
                    <a:spcPct val="0"/>
                  </a:spcBef>
                  <a:spcAft>
                    <a:spcPct val="35000"/>
                  </a:spcAft>
                </a:pPr>
                <a:endParaRPr lang="zh-CN" altLang="en-US" sz="1400">
                  <a:solidFill>
                    <a:srgbClr val="000000">
                      <a:hueOff val="0"/>
                      <a:satOff val="0"/>
                      <a:lumOff val="0"/>
                      <a:alphaOff val="0"/>
                    </a:srgbClr>
                  </a:solidFill>
                </a:endParaRPr>
              </a:p>
            </p:txBody>
          </p:sp>
        </p:grpSp>
      </p:gr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0" y="274638"/>
            <a:ext cx="8229600" cy="778098"/>
          </a:xfrm>
        </p:spPr>
        <p:txBody>
          <a:bodyPr/>
          <a:lstStyle/>
          <a:p>
            <a:r>
              <a:rPr lang="en-US" altLang="zh-CN" dirty="0"/>
              <a:t>  Communication with Editor and Reviewers</a:t>
            </a:r>
            <a:endParaRPr lang="zh-CN" altLang="en-US" dirty="0"/>
          </a:p>
        </p:txBody>
      </p:sp>
      <p:sp>
        <p:nvSpPr>
          <p:cNvPr id="3" name="TextBox 2"/>
          <p:cNvSpPr txBox="1"/>
          <p:nvPr/>
        </p:nvSpPr>
        <p:spPr>
          <a:xfrm>
            <a:off x="971600" y="2262351"/>
            <a:ext cx="3600400" cy="2246769"/>
          </a:xfrm>
          <a:prstGeom prst="rect">
            <a:avLst/>
          </a:prstGeom>
          <a:noFill/>
        </p:spPr>
        <p:txBody>
          <a:bodyPr wrap="square" rtlCol="0">
            <a:spAutoFit/>
          </a:bodyPr>
          <a:lstStyle/>
          <a:p>
            <a:r>
              <a:rPr lang="zh-CN" altLang="en-US" sz="2000" b="1" dirty="0">
                <a:solidFill>
                  <a:srgbClr val="808080">
                    <a:lumMod val="50000"/>
                  </a:srgbClr>
                </a:solidFill>
              </a:rPr>
              <a:t>提交新稿：</a:t>
            </a:r>
            <a:r>
              <a:rPr lang="en-US" altLang="zh-CN" sz="2000" b="1" dirty="0">
                <a:solidFill>
                  <a:srgbClr val="808080">
                    <a:lumMod val="50000"/>
                  </a:srgbClr>
                </a:solidFill>
              </a:rPr>
              <a:t>Cover letter </a:t>
            </a:r>
            <a:endParaRPr lang="en-US" altLang="zh-CN" sz="2000" b="1" dirty="0">
              <a:solidFill>
                <a:srgbClr val="808080">
                  <a:lumMod val="50000"/>
                </a:srgbClr>
              </a:solidFill>
            </a:endParaRPr>
          </a:p>
          <a:p>
            <a:pPr marL="5080" lvl="1"/>
            <a:endParaRPr lang="en-US" altLang="zh-CN" sz="2000" dirty="0">
              <a:solidFill>
                <a:srgbClr val="808080">
                  <a:lumMod val="50000"/>
                </a:srgbClr>
              </a:solidFill>
            </a:endParaRPr>
          </a:p>
          <a:p>
            <a:pPr marL="5080" lvl="1"/>
            <a:r>
              <a:rPr lang="zh-CN" altLang="en-US" sz="2000" b="1" dirty="0">
                <a:solidFill>
                  <a:srgbClr val="808080">
                    <a:lumMod val="50000"/>
                  </a:srgbClr>
                </a:solidFill>
              </a:rPr>
              <a:t>提交修改稿：</a:t>
            </a:r>
            <a:r>
              <a:rPr lang="en-US" altLang="zh-CN" sz="2000" b="1" dirty="0">
                <a:solidFill>
                  <a:srgbClr val="808080">
                    <a:lumMod val="50000"/>
                  </a:srgbClr>
                </a:solidFill>
              </a:rPr>
              <a:t>Rebuttal Letter </a:t>
            </a:r>
            <a:endParaRPr lang="en-US" altLang="zh-CN" sz="2000" b="1" dirty="0">
              <a:solidFill>
                <a:srgbClr val="808080">
                  <a:lumMod val="50000"/>
                </a:srgbClr>
              </a:solidFill>
            </a:endParaRPr>
          </a:p>
          <a:p>
            <a:pPr marL="5080" lvl="1"/>
            <a:endParaRPr lang="en-US" altLang="zh-CN" sz="2000" b="1" dirty="0">
              <a:solidFill>
                <a:srgbClr val="808080">
                  <a:lumMod val="50000"/>
                </a:srgbClr>
              </a:solidFill>
            </a:endParaRPr>
          </a:p>
          <a:p>
            <a:pPr marL="5080" lvl="1"/>
            <a:r>
              <a:rPr lang="zh-CN" altLang="en-US" sz="2000" b="1" dirty="0">
                <a:solidFill>
                  <a:srgbClr val="808080">
                    <a:lumMod val="50000"/>
                  </a:srgbClr>
                </a:solidFill>
              </a:rPr>
              <a:t>被拒后：</a:t>
            </a:r>
            <a:r>
              <a:rPr lang="en-US" altLang="zh-CN" sz="2000" b="1" dirty="0">
                <a:solidFill>
                  <a:srgbClr val="808080">
                    <a:lumMod val="50000"/>
                  </a:srgbClr>
                </a:solidFill>
              </a:rPr>
              <a:t>Appeal Letter</a:t>
            </a:r>
            <a:endParaRPr lang="en-US" altLang="zh-CN" sz="2000" b="1" dirty="0">
              <a:solidFill>
                <a:srgbClr val="808080">
                  <a:lumMod val="50000"/>
                </a:srgbClr>
              </a:solidFill>
            </a:endParaRPr>
          </a:p>
          <a:p>
            <a:pPr marL="5080" lvl="1"/>
            <a:endParaRPr lang="en-US" altLang="zh-CN" sz="2000" b="1" dirty="0">
              <a:solidFill>
                <a:srgbClr val="808080">
                  <a:lumMod val="50000"/>
                </a:srgbClr>
              </a:solidFill>
            </a:endParaRPr>
          </a:p>
          <a:p>
            <a:pPr marL="5080" lvl="1"/>
            <a:r>
              <a:rPr lang="zh-CN" altLang="en-US" sz="2000" b="1" dirty="0">
                <a:solidFill>
                  <a:srgbClr val="808080">
                    <a:lumMod val="50000"/>
                  </a:srgbClr>
                </a:solidFill>
              </a:rPr>
              <a:t>提醒：</a:t>
            </a:r>
            <a:r>
              <a:rPr lang="en-US" altLang="zh-CN" sz="2000" b="1" dirty="0">
                <a:solidFill>
                  <a:srgbClr val="808080">
                    <a:lumMod val="50000"/>
                  </a:srgbClr>
                </a:solidFill>
              </a:rPr>
              <a:t>Reminder Letter</a:t>
            </a:r>
            <a:endParaRPr lang="en-US" altLang="zh-CN" sz="2000" b="1" dirty="0">
              <a:solidFill>
                <a:srgbClr val="808080">
                  <a:lumMod val="50000"/>
                </a:srgbClr>
              </a:solidFill>
            </a:endParaRPr>
          </a:p>
        </p:txBody>
      </p:sp>
      <p:pic>
        <p:nvPicPr>
          <p:cNvPr id="33794" name="Picture 2" descr="C:\Users\Sqcoco\AppData\Local\Microsoft\Windows\Temporary Internet Files\Content.IE5\Z9YRYF4S\MP900400353[1].jpg"/>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5148064" y="2413007"/>
            <a:ext cx="3037344" cy="202410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3733800" y="612775"/>
            <a:ext cx="5410200" cy="5943600"/>
            <a:chOff x="3733800" y="612775"/>
            <a:chExt cx="5410200" cy="5943600"/>
          </a:xfrm>
        </p:grpSpPr>
        <p:pic>
          <p:nvPicPr>
            <p:cNvPr id="6" name="Picture 4"/>
            <p:cNvPicPr>
              <a:picLocks noChangeAspect="1" noChangeArrowheads="1"/>
            </p:cNvPicPr>
            <p:nvPr/>
          </p:nvPicPr>
          <p:blipFill>
            <a:blip r:embed="rId1" cstate="print"/>
            <a:srcRect l="23441" t="11502" r="21097" b="7251"/>
            <a:stretch>
              <a:fillRect/>
            </a:stretch>
          </p:blipFill>
          <p:spPr bwMode="auto">
            <a:xfrm>
              <a:off x="3733800" y="612775"/>
              <a:ext cx="5410200" cy="5943600"/>
            </a:xfrm>
            <a:prstGeom prst="rect">
              <a:avLst/>
            </a:prstGeom>
            <a:ln>
              <a:noFill/>
            </a:ln>
            <a:effectLst>
              <a:outerShdw blurRad="190500" algn="tl" rotWithShape="0">
                <a:srgbClr val="000000">
                  <a:alpha val="70000"/>
                </a:srgbClr>
              </a:outerShdw>
            </a:effectLst>
          </p:spPr>
        </p:pic>
        <p:sp>
          <p:nvSpPr>
            <p:cNvPr id="20485" name="AutoShape 5"/>
            <p:cNvSpPr>
              <a:spLocks noChangeArrowheads="1"/>
            </p:cNvSpPr>
            <p:nvPr/>
          </p:nvSpPr>
          <p:spPr bwMode="auto">
            <a:xfrm>
              <a:off x="6934200" y="892175"/>
              <a:ext cx="1657350" cy="465138"/>
            </a:xfrm>
            <a:prstGeom prst="star8">
              <a:avLst>
                <a:gd name="adj" fmla="val 38250"/>
              </a:avLst>
            </a:prstGeom>
            <a:solidFill>
              <a:srgbClr val="F8F8F8">
                <a:alpha val="50195"/>
              </a:srgbClr>
            </a:solidFill>
            <a:ln w="38100" cmpd="dbl">
              <a:solidFill>
                <a:schemeClr val="bg2"/>
              </a:solidFill>
              <a:miter lim="800000"/>
            </a:ln>
          </p:spPr>
          <p:txBody>
            <a:bodyPr anchor="ctr"/>
            <a:lstStyle/>
            <a:p>
              <a:pPr algn="ctr" fontAlgn="base">
                <a:spcBef>
                  <a:spcPct val="0"/>
                </a:spcBef>
                <a:spcAft>
                  <a:spcPct val="0"/>
                </a:spcAft>
              </a:pPr>
              <a:r>
                <a:rPr lang="en-US" altLang="zh-CN" b="1">
                  <a:solidFill>
                    <a:srgbClr val="808080"/>
                  </a:solidFill>
                  <a:ea typeface="宋体" panose="02010600030101010101" pitchFamily="2" charset="-122"/>
                </a:rPr>
                <a:t>Example</a:t>
              </a:r>
              <a:endParaRPr lang="en-US" altLang="zh-CN" b="1">
                <a:solidFill>
                  <a:srgbClr val="808080"/>
                </a:solidFill>
                <a:ea typeface="宋体" panose="02010600030101010101" pitchFamily="2" charset="-122"/>
              </a:endParaRPr>
            </a:p>
          </p:txBody>
        </p:sp>
      </p:grpSp>
      <p:sp>
        <p:nvSpPr>
          <p:cNvPr id="20482" name="Rectangle 2"/>
          <p:cNvSpPr>
            <a:spLocks noGrp="1" noChangeArrowheads="1"/>
          </p:cNvSpPr>
          <p:nvPr>
            <p:ph type="title" idx="4294967295"/>
          </p:nvPr>
        </p:nvSpPr>
        <p:spPr>
          <a:xfrm>
            <a:off x="0" y="274638"/>
            <a:ext cx="8229600" cy="706437"/>
          </a:xfrm>
          <a:prstGeom prst="rect">
            <a:avLst/>
          </a:prstGeom>
        </p:spPr>
        <p:txBody>
          <a:bodyPr/>
          <a:lstStyle/>
          <a:p>
            <a:pPr eaLnBrk="1" hangingPunct="1">
              <a:buFont typeface="Wingdings" panose="05000000000000000000" pitchFamily="2" charset="2"/>
              <a:buNone/>
            </a:pPr>
            <a:r>
              <a:rPr lang="en-US" altLang="zh-CN" dirty="0">
                <a:ea typeface="宋体" panose="02010600030101010101" pitchFamily="2" charset="-122"/>
              </a:rPr>
              <a:t>      Cover Letter</a:t>
            </a:r>
            <a:endParaRPr lang="zh-CN" altLang="en-US" dirty="0">
              <a:ea typeface="宋体" panose="02010600030101010101" pitchFamily="2" charset="-122"/>
            </a:endParaRPr>
          </a:p>
        </p:txBody>
      </p:sp>
      <p:sp>
        <p:nvSpPr>
          <p:cNvPr id="1180675" name="Rectangle 3"/>
          <p:cNvSpPr>
            <a:spLocks noChangeArrowheads="1"/>
          </p:cNvSpPr>
          <p:nvPr/>
        </p:nvSpPr>
        <p:spPr bwMode="auto">
          <a:xfrm>
            <a:off x="86772" y="3412233"/>
            <a:ext cx="3735873" cy="3401143"/>
          </a:xfrm>
          <a:prstGeom prst="rect">
            <a:avLst/>
          </a:prstGeom>
          <a:noFill/>
          <a:ln w="9525">
            <a:noFill/>
            <a:miter lim="800000"/>
          </a:ln>
        </p:spPr>
        <p:txBody>
          <a:bodyPr/>
          <a:lstStyle/>
          <a:p>
            <a:pPr fontAlgn="base">
              <a:lnSpc>
                <a:spcPts val="2200"/>
              </a:lnSpc>
              <a:spcAft>
                <a:spcPct val="0"/>
              </a:spcAft>
              <a:buClr>
                <a:srgbClr val="000099"/>
              </a:buClr>
              <a:buSzPct val="70000"/>
            </a:pPr>
            <a:r>
              <a:rPr lang="en-US" altLang="zh-CN" sz="1600" b="1" dirty="0">
                <a:solidFill>
                  <a:srgbClr val="333333"/>
                </a:solidFill>
                <a:ea typeface="宋体" panose="02010600030101010101" pitchFamily="2" charset="-122"/>
              </a:rPr>
              <a:t>Basic information:</a:t>
            </a:r>
            <a:r>
              <a:rPr lang="en-US" altLang="zh-CN" dirty="0">
                <a:solidFill>
                  <a:srgbClr val="333333"/>
                </a:solidFill>
                <a:ea typeface="宋体" panose="02010600030101010101" pitchFamily="2" charset="-122"/>
              </a:rPr>
              <a:t> </a:t>
            </a:r>
            <a:endParaRPr lang="en-US" altLang="zh-CN" dirty="0">
              <a:solidFill>
                <a:srgbClr val="333333"/>
              </a:solidFill>
              <a:ea typeface="宋体" panose="02010600030101010101" pitchFamily="2" charset="-122"/>
            </a:endParaRPr>
          </a:p>
          <a:p>
            <a:pPr marL="542925" lvl="1" indent="-285750" fontAlgn="base">
              <a:lnSpc>
                <a:spcPts val="2200"/>
              </a:lnSpc>
              <a:spcAft>
                <a:spcPct val="0"/>
              </a:spcAft>
              <a:buClr>
                <a:srgbClr val="000099"/>
              </a:buClr>
              <a:buSzPct val="70000"/>
              <a:buFont typeface="Wingdings" panose="05000000000000000000" pitchFamily="2" charset="2"/>
              <a:buChar char="ü"/>
            </a:pPr>
            <a:r>
              <a:rPr lang="en-US" altLang="zh-CN" sz="1600" dirty="0">
                <a:solidFill>
                  <a:srgbClr val="333333"/>
                </a:solidFill>
                <a:ea typeface="宋体" panose="02010600030101010101" pitchFamily="2" charset="-122"/>
              </a:rPr>
              <a:t>Editor Addressing</a:t>
            </a:r>
            <a:endParaRPr lang="en-US" altLang="zh-CN" sz="1600" dirty="0">
              <a:solidFill>
                <a:srgbClr val="333333"/>
              </a:solidFill>
              <a:ea typeface="宋体" panose="02010600030101010101" pitchFamily="2" charset="-122"/>
            </a:endParaRPr>
          </a:p>
          <a:p>
            <a:pPr marL="542925" lvl="1" indent="-285750" fontAlgn="base">
              <a:lnSpc>
                <a:spcPts val="2200"/>
              </a:lnSpc>
              <a:spcAft>
                <a:spcPct val="0"/>
              </a:spcAft>
              <a:buClr>
                <a:srgbClr val="000099"/>
              </a:buClr>
              <a:buSzPct val="70000"/>
              <a:buFont typeface="Wingdings" panose="05000000000000000000" pitchFamily="2" charset="2"/>
              <a:buChar char="ü"/>
            </a:pPr>
            <a:r>
              <a:rPr lang="en-US" altLang="zh-CN" sz="1600" dirty="0">
                <a:solidFill>
                  <a:srgbClr val="333333"/>
                </a:solidFill>
                <a:ea typeface="宋体" panose="02010600030101010101" pitchFamily="2" charset="-122"/>
              </a:rPr>
              <a:t>Research originality &amp; innovation</a:t>
            </a:r>
            <a:endParaRPr lang="en-US" altLang="zh-CN" sz="1600" dirty="0">
              <a:solidFill>
                <a:srgbClr val="333333"/>
              </a:solidFill>
              <a:ea typeface="宋体" panose="02010600030101010101" pitchFamily="2" charset="-122"/>
            </a:endParaRPr>
          </a:p>
          <a:p>
            <a:pPr marL="542925" lvl="1" indent="-285750" fontAlgn="base">
              <a:lnSpc>
                <a:spcPts val="2200"/>
              </a:lnSpc>
              <a:spcAft>
                <a:spcPct val="0"/>
              </a:spcAft>
              <a:buClr>
                <a:srgbClr val="000099"/>
              </a:buClr>
              <a:buSzPct val="70000"/>
              <a:buFont typeface="Wingdings" panose="05000000000000000000" pitchFamily="2" charset="2"/>
              <a:buChar char="ü"/>
            </a:pPr>
            <a:r>
              <a:rPr lang="en-US" altLang="zh-CN" sz="1600" dirty="0">
                <a:solidFill>
                  <a:srgbClr val="333333"/>
                </a:solidFill>
                <a:ea typeface="宋体" panose="02010600030101010101" pitchFamily="2" charset="-122"/>
              </a:rPr>
              <a:t>Main conclusion</a:t>
            </a:r>
            <a:endParaRPr lang="en-US" altLang="zh-CN" sz="1600" dirty="0">
              <a:solidFill>
                <a:srgbClr val="333333"/>
              </a:solidFill>
              <a:ea typeface="宋体" panose="02010600030101010101" pitchFamily="2" charset="-122"/>
            </a:endParaRPr>
          </a:p>
          <a:p>
            <a:pPr marL="542925" lvl="1" indent="-285750" fontAlgn="base">
              <a:lnSpc>
                <a:spcPts val="2200"/>
              </a:lnSpc>
              <a:spcAft>
                <a:spcPct val="0"/>
              </a:spcAft>
              <a:buClr>
                <a:srgbClr val="000099"/>
              </a:buClr>
              <a:buSzPct val="70000"/>
              <a:buFont typeface="Wingdings" panose="05000000000000000000" pitchFamily="2" charset="2"/>
              <a:buChar char="ü"/>
            </a:pPr>
            <a:r>
              <a:rPr lang="en-US" altLang="zh-CN" sz="1600" dirty="0">
                <a:solidFill>
                  <a:srgbClr val="333333"/>
                </a:solidFill>
                <a:ea typeface="宋体" panose="02010600030101010101" pitchFamily="2" charset="-122"/>
              </a:rPr>
              <a:t>Any supportable info to your submission</a:t>
            </a:r>
            <a:endParaRPr lang="en-US" altLang="zh-CN" sz="1600" dirty="0">
              <a:solidFill>
                <a:srgbClr val="333333"/>
              </a:solidFill>
              <a:ea typeface="宋体" panose="02010600030101010101" pitchFamily="2" charset="-122"/>
            </a:endParaRPr>
          </a:p>
          <a:p>
            <a:pPr marL="542925" lvl="1" indent="-285750" fontAlgn="base">
              <a:lnSpc>
                <a:spcPts val="2200"/>
              </a:lnSpc>
              <a:spcAft>
                <a:spcPct val="0"/>
              </a:spcAft>
              <a:buClr>
                <a:srgbClr val="000099"/>
              </a:buClr>
              <a:buSzPct val="70000"/>
              <a:buFont typeface="Wingdings" panose="05000000000000000000" pitchFamily="2" charset="2"/>
              <a:buChar char="ü"/>
            </a:pPr>
            <a:r>
              <a:rPr lang="en-US" altLang="zh-CN" sz="1600" dirty="0">
                <a:solidFill>
                  <a:srgbClr val="333333"/>
                </a:solidFill>
              </a:rPr>
              <a:t>Recommended reviewer</a:t>
            </a:r>
            <a:endParaRPr lang="en-US" altLang="zh-CN" sz="1600" dirty="0">
              <a:solidFill>
                <a:srgbClr val="333333"/>
              </a:solidFill>
            </a:endParaRPr>
          </a:p>
          <a:p>
            <a:pPr marL="542925" lvl="1" indent="-285750" fontAlgn="base">
              <a:lnSpc>
                <a:spcPts val="2200"/>
              </a:lnSpc>
              <a:spcAft>
                <a:spcPct val="0"/>
              </a:spcAft>
              <a:buClr>
                <a:srgbClr val="000099"/>
              </a:buClr>
              <a:buSzPct val="70000"/>
              <a:buFont typeface="Wingdings" panose="05000000000000000000" pitchFamily="2" charset="2"/>
              <a:buChar char="ü"/>
            </a:pPr>
            <a:r>
              <a:rPr lang="en-US" altLang="zh-CN" sz="1600" dirty="0">
                <a:solidFill>
                  <a:srgbClr val="333333"/>
                </a:solidFill>
                <a:ea typeface="宋体" panose="02010600030101010101" pitchFamily="2" charset="-122"/>
              </a:rPr>
              <a:t>Any conflict of interest in producing the research</a:t>
            </a:r>
            <a:endParaRPr lang="en-US" altLang="zh-CN" sz="1600" dirty="0">
              <a:solidFill>
                <a:srgbClr val="333333"/>
              </a:solidFill>
              <a:ea typeface="宋体" panose="02010600030101010101" pitchFamily="2" charset="-122"/>
            </a:endParaRPr>
          </a:p>
          <a:p>
            <a:pPr marL="542925" lvl="1" indent="-285750" fontAlgn="base">
              <a:lnSpc>
                <a:spcPts val="2200"/>
              </a:lnSpc>
              <a:spcAft>
                <a:spcPct val="0"/>
              </a:spcAft>
              <a:buClr>
                <a:srgbClr val="000099"/>
              </a:buClr>
              <a:buSzPct val="70000"/>
              <a:buFont typeface="Wingdings" panose="05000000000000000000" pitchFamily="2" charset="2"/>
              <a:buChar char="ü"/>
            </a:pPr>
            <a:r>
              <a:rPr lang="en-US" altLang="zh-CN" sz="1600" dirty="0">
                <a:solidFill>
                  <a:srgbClr val="333333"/>
                </a:solidFill>
                <a:ea typeface="宋体" panose="02010600030101010101" pitchFamily="2" charset="-122"/>
              </a:rPr>
              <a:t>Details of any previous or concurrent submissions</a:t>
            </a:r>
            <a:endParaRPr lang="en-US" altLang="zh-CN" sz="1600" dirty="0">
              <a:solidFill>
                <a:srgbClr val="333333"/>
              </a:solidFill>
              <a:ea typeface="宋体" panose="02010600030101010101" pitchFamily="2" charset="-122"/>
            </a:endParaRPr>
          </a:p>
        </p:txBody>
      </p:sp>
      <p:sp>
        <p:nvSpPr>
          <p:cNvPr id="7" name="AutoShape 10"/>
          <p:cNvSpPr>
            <a:spLocks noChangeArrowheads="1"/>
          </p:cNvSpPr>
          <p:nvPr/>
        </p:nvSpPr>
        <p:spPr bwMode="auto">
          <a:xfrm>
            <a:off x="4572000" y="5943600"/>
            <a:ext cx="2362200" cy="419100"/>
          </a:xfrm>
          <a:prstGeom prst="wedgeRoundRectCallout">
            <a:avLst>
              <a:gd name="adj1" fmla="val 27681"/>
              <a:gd name="adj2" fmla="val -225000"/>
              <a:gd name="adj3" fmla="val 16667"/>
            </a:avLst>
          </a:prstGeom>
          <a:gradFill flip="none" rotWithShape="1">
            <a:gsLst>
              <a:gs pos="0">
                <a:srgbClr val="FF9933">
                  <a:tint val="66000"/>
                  <a:satMod val="160000"/>
                </a:srgbClr>
              </a:gs>
              <a:gs pos="50000">
                <a:srgbClr val="FF9933">
                  <a:tint val="44500"/>
                  <a:satMod val="160000"/>
                </a:srgbClr>
              </a:gs>
              <a:gs pos="100000">
                <a:srgbClr val="FF9933">
                  <a:tint val="23500"/>
                  <a:satMod val="160000"/>
                </a:srgbClr>
              </a:gs>
            </a:gsLst>
            <a:lin ang="5400000" scaled="1"/>
            <a:tileRect/>
          </a:gradFill>
          <a:ln w="38100">
            <a:solidFill>
              <a:srgbClr val="5D9A3C"/>
            </a:solidFill>
            <a:miter lim="800000"/>
          </a:ln>
        </p:spPr>
        <p:txBody>
          <a:bodyPr/>
          <a:lstStyle/>
          <a:p>
            <a:pPr algn="ctr" fontAlgn="base">
              <a:spcBef>
                <a:spcPct val="0"/>
              </a:spcBef>
              <a:spcAft>
                <a:spcPct val="0"/>
              </a:spcAft>
            </a:pPr>
            <a:r>
              <a:rPr lang="zh-CN" altLang="en-US" sz="2000" b="1" dirty="0">
                <a:solidFill>
                  <a:srgbClr val="000000"/>
                </a:solidFill>
                <a:ea typeface="宋体" panose="02010600030101010101" pitchFamily="2" charset="-122"/>
              </a:rPr>
              <a:t>推荐审稿人</a:t>
            </a:r>
            <a:endParaRPr lang="en-GB" sz="2000" b="1" dirty="0">
              <a:solidFill>
                <a:srgbClr val="000000"/>
              </a:solidFill>
              <a:ea typeface="宋体" panose="02010600030101010101" pitchFamily="2" charset="-122"/>
            </a:endParaRPr>
          </a:p>
        </p:txBody>
      </p:sp>
      <p:sp>
        <p:nvSpPr>
          <p:cNvPr id="8" name="AutoShape 7"/>
          <p:cNvSpPr>
            <a:spLocks noChangeArrowheads="1"/>
          </p:cNvSpPr>
          <p:nvPr/>
        </p:nvSpPr>
        <p:spPr bwMode="auto">
          <a:xfrm>
            <a:off x="6477000" y="4559300"/>
            <a:ext cx="2667000" cy="457200"/>
          </a:xfrm>
          <a:prstGeom prst="wedgeRoundRectCallout">
            <a:avLst>
              <a:gd name="adj1" fmla="val -29823"/>
              <a:gd name="adj2" fmla="val -207407"/>
              <a:gd name="adj3" fmla="val 16667"/>
            </a:avLst>
          </a:prstGeom>
          <a:gradFill flip="none" rotWithShape="1">
            <a:gsLst>
              <a:gs pos="0">
                <a:srgbClr val="FF9933">
                  <a:tint val="66000"/>
                  <a:satMod val="160000"/>
                </a:srgbClr>
              </a:gs>
              <a:gs pos="50000">
                <a:srgbClr val="FF9933">
                  <a:tint val="44500"/>
                  <a:satMod val="160000"/>
                </a:srgbClr>
              </a:gs>
              <a:gs pos="100000">
                <a:srgbClr val="FF9933">
                  <a:tint val="23500"/>
                  <a:satMod val="160000"/>
                </a:srgbClr>
              </a:gs>
            </a:gsLst>
            <a:lin ang="5400000" scaled="1"/>
            <a:tileRect/>
          </a:gradFill>
          <a:ln w="38100">
            <a:solidFill>
              <a:srgbClr val="5D9A3C"/>
            </a:solidFill>
            <a:miter lim="800000"/>
          </a:ln>
        </p:spPr>
        <p:txBody>
          <a:bodyPr/>
          <a:lstStyle/>
          <a:p>
            <a:pPr algn="ctr" fontAlgn="base">
              <a:spcBef>
                <a:spcPct val="0"/>
              </a:spcBef>
              <a:spcAft>
                <a:spcPct val="0"/>
              </a:spcAft>
            </a:pPr>
            <a:r>
              <a:rPr lang="zh-CN" altLang="en-US" sz="2000" b="1" dirty="0">
                <a:solidFill>
                  <a:srgbClr val="000000"/>
                </a:solidFill>
                <a:ea typeface="宋体" panose="02010600030101010101" pitchFamily="2" charset="-122"/>
              </a:rPr>
              <a:t>阐述研究的重要性</a:t>
            </a:r>
            <a:endParaRPr lang="en-GB" sz="2000" b="1" dirty="0">
              <a:solidFill>
                <a:srgbClr val="000000"/>
              </a:solidFill>
              <a:ea typeface="宋体" panose="02010600030101010101" pitchFamily="2" charset="-122"/>
            </a:endParaRPr>
          </a:p>
        </p:txBody>
      </p:sp>
      <p:sp>
        <p:nvSpPr>
          <p:cNvPr id="9" name="Line 9"/>
          <p:cNvSpPr>
            <a:spLocks noChangeShapeType="1"/>
          </p:cNvSpPr>
          <p:nvPr/>
        </p:nvSpPr>
        <p:spPr bwMode="auto">
          <a:xfrm>
            <a:off x="4100512" y="3124200"/>
            <a:ext cx="3605213" cy="0"/>
          </a:xfrm>
          <a:prstGeom prst="line">
            <a:avLst/>
          </a:prstGeom>
          <a:gradFill flip="none" rotWithShape="1">
            <a:gsLst>
              <a:gs pos="0">
                <a:srgbClr val="FF9933">
                  <a:tint val="66000"/>
                  <a:satMod val="160000"/>
                </a:srgbClr>
              </a:gs>
              <a:gs pos="50000">
                <a:srgbClr val="FF9933">
                  <a:tint val="44500"/>
                  <a:satMod val="160000"/>
                </a:srgbClr>
              </a:gs>
              <a:gs pos="100000">
                <a:srgbClr val="FF9933">
                  <a:tint val="23500"/>
                  <a:satMod val="160000"/>
                </a:srgbClr>
              </a:gs>
            </a:gsLst>
            <a:lin ang="5400000" scaled="1"/>
            <a:tileRect/>
          </a:gradFill>
          <a:ln w="38100">
            <a:solidFill>
              <a:srgbClr val="5D9A3C"/>
            </a:solidFill>
            <a:round/>
          </a:ln>
        </p:spPr>
        <p:txBody>
          <a:bodyPr wrap="square">
            <a:spAutoFit/>
          </a:bodyPr>
          <a:lstStyle/>
          <a:p>
            <a:pPr fontAlgn="base">
              <a:spcBef>
                <a:spcPct val="0"/>
              </a:spcBef>
              <a:spcAft>
                <a:spcPct val="0"/>
              </a:spcAft>
            </a:pPr>
            <a:endParaRPr lang="en-GB" sz="2400" dirty="0">
              <a:solidFill>
                <a:srgbClr val="000000"/>
              </a:solidFill>
              <a:latin typeface="Times New Roman" panose="02020603050405020304" pitchFamily="18" charset="0"/>
              <a:ea typeface="宋体" panose="02010600030101010101" pitchFamily="2" charset="-122"/>
            </a:endParaRPr>
          </a:p>
        </p:txBody>
      </p:sp>
      <p:sp>
        <p:nvSpPr>
          <p:cNvPr id="10" name="AutoShape 6"/>
          <p:cNvSpPr>
            <a:spLocks noChangeArrowheads="1"/>
          </p:cNvSpPr>
          <p:nvPr/>
        </p:nvSpPr>
        <p:spPr bwMode="auto">
          <a:xfrm>
            <a:off x="6172200" y="1628775"/>
            <a:ext cx="2771775" cy="465138"/>
          </a:xfrm>
          <a:prstGeom prst="wedgeRoundRectCallout">
            <a:avLst>
              <a:gd name="adj1" fmla="val -58590"/>
              <a:gd name="adj2" fmla="val 253286"/>
              <a:gd name="adj3" fmla="val 16667"/>
            </a:avLst>
          </a:prstGeom>
          <a:gradFill flip="none" rotWithShape="1">
            <a:gsLst>
              <a:gs pos="0">
                <a:srgbClr val="FF9933">
                  <a:tint val="66000"/>
                  <a:satMod val="160000"/>
                </a:srgbClr>
              </a:gs>
              <a:gs pos="50000">
                <a:srgbClr val="FF9933">
                  <a:tint val="44500"/>
                  <a:satMod val="160000"/>
                </a:srgbClr>
              </a:gs>
              <a:gs pos="100000">
                <a:srgbClr val="FF9933">
                  <a:tint val="23500"/>
                  <a:satMod val="160000"/>
                </a:srgbClr>
              </a:gs>
            </a:gsLst>
            <a:lin ang="5400000" scaled="1"/>
            <a:tileRect/>
          </a:gradFill>
          <a:ln w="38100">
            <a:solidFill>
              <a:srgbClr val="5D9A3C"/>
            </a:solidFill>
            <a:miter lim="800000"/>
          </a:ln>
        </p:spPr>
        <p:txBody>
          <a:bodyPr/>
          <a:lstStyle/>
          <a:p>
            <a:pPr algn="ctr" fontAlgn="base">
              <a:spcBef>
                <a:spcPct val="0"/>
              </a:spcBef>
              <a:spcAft>
                <a:spcPct val="0"/>
              </a:spcAft>
            </a:pPr>
            <a:r>
              <a:rPr lang="zh-CN" altLang="en-US" sz="2000" b="1" dirty="0">
                <a:solidFill>
                  <a:srgbClr val="000000"/>
                </a:solidFill>
                <a:ea typeface="宋体" panose="02010600030101010101" pitchFamily="2" charset="-122"/>
              </a:rPr>
              <a:t>所有作者的最终同意</a:t>
            </a:r>
            <a:endParaRPr lang="en-GB" sz="2000" b="1" dirty="0">
              <a:solidFill>
                <a:srgbClr val="000000"/>
              </a:solidFill>
              <a:ea typeface="宋体" panose="02010600030101010101" pitchFamily="2" charset="-122"/>
            </a:endParaRPr>
          </a:p>
        </p:txBody>
      </p:sp>
      <p:sp>
        <p:nvSpPr>
          <p:cNvPr id="11" name="Line 9"/>
          <p:cNvSpPr>
            <a:spLocks noChangeShapeType="1"/>
          </p:cNvSpPr>
          <p:nvPr/>
        </p:nvSpPr>
        <p:spPr bwMode="auto">
          <a:xfrm>
            <a:off x="5638800" y="3781425"/>
            <a:ext cx="3305175" cy="0"/>
          </a:xfrm>
          <a:prstGeom prst="line">
            <a:avLst/>
          </a:prstGeom>
          <a:gradFill flip="none" rotWithShape="1">
            <a:gsLst>
              <a:gs pos="0">
                <a:srgbClr val="FF9933">
                  <a:tint val="66000"/>
                  <a:satMod val="160000"/>
                </a:srgbClr>
              </a:gs>
              <a:gs pos="50000">
                <a:srgbClr val="FF9933">
                  <a:tint val="44500"/>
                  <a:satMod val="160000"/>
                </a:srgbClr>
              </a:gs>
              <a:gs pos="100000">
                <a:srgbClr val="FF9933">
                  <a:tint val="23500"/>
                  <a:satMod val="160000"/>
                </a:srgbClr>
              </a:gs>
            </a:gsLst>
            <a:lin ang="5400000" scaled="1"/>
            <a:tileRect/>
          </a:gradFill>
          <a:ln w="38100">
            <a:solidFill>
              <a:srgbClr val="5D9A3C"/>
            </a:solidFill>
            <a:round/>
          </a:ln>
        </p:spPr>
        <p:txBody>
          <a:bodyPr>
            <a:spAutoFit/>
          </a:bodyPr>
          <a:lstStyle/>
          <a:p>
            <a:pPr fontAlgn="base">
              <a:spcBef>
                <a:spcPct val="0"/>
              </a:spcBef>
              <a:spcAft>
                <a:spcPct val="0"/>
              </a:spcAft>
            </a:pPr>
            <a:endParaRPr lang="en-GB" sz="2400" dirty="0">
              <a:solidFill>
                <a:srgbClr val="000000"/>
              </a:solidFill>
              <a:latin typeface="Times New Roman" panose="02020603050405020304" pitchFamily="18" charset="0"/>
              <a:ea typeface="宋体" panose="02010600030101010101" pitchFamily="2" charset="-122"/>
            </a:endParaRPr>
          </a:p>
        </p:txBody>
      </p:sp>
      <p:sp>
        <p:nvSpPr>
          <p:cNvPr id="2" name="矩形 1"/>
          <p:cNvSpPr/>
          <p:nvPr/>
        </p:nvSpPr>
        <p:spPr>
          <a:xfrm>
            <a:off x="302796" y="1124744"/>
            <a:ext cx="3591857" cy="2308324"/>
          </a:xfrm>
          <a:prstGeom prst="rect">
            <a:avLst/>
          </a:prstGeom>
        </p:spPr>
        <p:txBody>
          <a:bodyPr wrap="square">
            <a:spAutoFit/>
          </a:bodyPr>
          <a:lstStyle/>
          <a:p>
            <a:pPr marL="285750" indent="-285750">
              <a:buFont typeface="Arial" panose="020B0604020202020204" pitchFamily="34" charset="0"/>
              <a:buChar char="•"/>
            </a:pPr>
            <a:r>
              <a:rPr lang="en-US" altLang="zh-CN" sz="1600" dirty="0">
                <a:solidFill>
                  <a:srgbClr val="333333"/>
                </a:solidFill>
              </a:rPr>
              <a:t>Read by </a:t>
            </a:r>
            <a:r>
              <a:rPr lang="en-US" altLang="zh-CN" sz="1600" b="1" dirty="0">
                <a:solidFill>
                  <a:srgbClr val="FF9900"/>
                </a:solidFill>
              </a:rPr>
              <a:t>editors</a:t>
            </a:r>
            <a:endParaRPr lang="en-US" altLang="zh-CN" sz="1600" b="1" dirty="0">
              <a:solidFill>
                <a:srgbClr val="FF9900"/>
              </a:solidFill>
            </a:endParaRPr>
          </a:p>
          <a:p>
            <a:pPr marL="285750" indent="-285750">
              <a:buFont typeface="Arial" panose="020B0604020202020204" pitchFamily="34" charset="0"/>
              <a:buChar char="•"/>
            </a:pPr>
            <a:r>
              <a:rPr lang="en-US" altLang="zh-CN" sz="1600" dirty="0">
                <a:solidFill>
                  <a:srgbClr val="333333"/>
                </a:solidFill>
              </a:rPr>
              <a:t>A</a:t>
            </a:r>
            <a:r>
              <a:rPr lang="en-US" altLang="zh-CN" sz="1600" b="1" dirty="0">
                <a:solidFill>
                  <a:srgbClr val="FF9900"/>
                </a:solidFill>
              </a:rPr>
              <a:t> crucial</a:t>
            </a:r>
            <a:r>
              <a:rPr lang="en-US" altLang="zh-CN" sz="1600" dirty="0">
                <a:solidFill>
                  <a:srgbClr val="FF9900"/>
                </a:solidFill>
              </a:rPr>
              <a:t> </a:t>
            </a:r>
            <a:r>
              <a:rPr lang="en-US" altLang="zh-CN" sz="1600" dirty="0">
                <a:solidFill>
                  <a:srgbClr val="333333"/>
                </a:solidFill>
              </a:rPr>
              <a:t>part of the manuscript submission package. </a:t>
            </a:r>
            <a:endParaRPr lang="en-US" altLang="zh-CN" sz="1600" dirty="0">
              <a:solidFill>
                <a:srgbClr val="333333"/>
              </a:solidFill>
            </a:endParaRPr>
          </a:p>
          <a:p>
            <a:pPr marL="285750" indent="-285750">
              <a:buFont typeface="Arial" panose="020B0604020202020204" pitchFamily="34" charset="0"/>
              <a:buChar char="•"/>
            </a:pPr>
            <a:r>
              <a:rPr lang="en-US" altLang="zh-CN" sz="1600" dirty="0">
                <a:solidFill>
                  <a:srgbClr val="333333"/>
                </a:solidFill>
              </a:rPr>
              <a:t>An </a:t>
            </a:r>
            <a:r>
              <a:rPr lang="en-US" altLang="zh-CN" sz="1600" b="1" dirty="0">
                <a:solidFill>
                  <a:srgbClr val="FF9900"/>
                </a:solidFill>
              </a:rPr>
              <a:t>opportunity</a:t>
            </a:r>
            <a:r>
              <a:rPr lang="en-US" altLang="zh-CN" sz="1600" dirty="0">
                <a:solidFill>
                  <a:srgbClr val="000000"/>
                </a:solidFill>
              </a:rPr>
              <a:t> </a:t>
            </a:r>
            <a:r>
              <a:rPr lang="en-US" altLang="zh-CN" sz="1600" dirty="0">
                <a:solidFill>
                  <a:srgbClr val="333333"/>
                </a:solidFill>
              </a:rPr>
              <a:t>to convey important information to the editors.</a:t>
            </a:r>
            <a:endParaRPr lang="en-US" altLang="zh-CN" sz="1600" dirty="0">
              <a:solidFill>
                <a:srgbClr val="333333"/>
              </a:solidFill>
            </a:endParaRPr>
          </a:p>
          <a:p>
            <a:pPr marL="285750" indent="-285750">
              <a:buFont typeface="Arial" panose="020B0604020202020204" pitchFamily="34" charset="0"/>
              <a:buChar char="•"/>
            </a:pPr>
            <a:r>
              <a:rPr lang="en-US" altLang="zh-CN" sz="1600" dirty="0">
                <a:solidFill>
                  <a:srgbClr val="333333"/>
                </a:solidFill>
              </a:rPr>
              <a:t>Help the editors reach a </a:t>
            </a:r>
            <a:r>
              <a:rPr lang="en-US" altLang="zh-CN" sz="1600" b="1" dirty="0">
                <a:solidFill>
                  <a:srgbClr val="FF9900"/>
                </a:solidFill>
              </a:rPr>
              <a:t>quicker decision</a:t>
            </a:r>
            <a:r>
              <a:rPr lang="en-US" altLang="zh-CN" sz="1600" dirty="0">
                <a:solidFill>
                  <a:srgbClr val="000000"/>
                </a:solidFill>
              </a:rPr>
              <a:t>.</a:t>
            </a:r>
            <a:endParaRPr lang="en-US" altLang="zh-CN" sz="1600" b="1" dirty="0">
              <a:solidFill>
                <a:srgbClr val="FF9900"/>
              </a:solidFill>
            </a:endParaRPr>
          </a:p>
          <a:p>
            <a:pPr marL="285750" indent="-285750">
              <a:buFont typeface="Arial" panose="020B0604020202020204" pitchFamily="34" charset="0"/>
              <a:buChar char="•"/>
            </a:pPr>
            <a:r>
              <a:rPr lang="en-US" altLang="zh-CN" sz="1600" dirty="0">
                <a:solidFill>
                  <a:srgbClr val="333333"/>
                </a:solidFill>
              </a:rPr>
              <a:t>Tip the balance </a:t>
            </a:r>
            <a:r>
              <a:rPr lang="en-US" altLang="zh-CN" sz="1600" b="1" dirty="0">
                <a:solidFill>
                  <a:srgbClr val="FF9900"/>
                </a:solidFill>
              </a:rPr>
              <a:t>for peer review</a:t>
            </a:r>
            <a:r>
              <a:rPr lang="en-US" altLang="zh-CN" sz="1600" dirty="0">
                <a:solidFill>
                  <a:srgbClr val="000000"/>
                </a:solidFill>
              </a:rPr>
              <a:t>.</a:t>
            </a:r>
            <a:endParaRPr lang="en-US" altLang="zh-CN" sz="1600" dirty="0">
              <a:solidFill>
                <a:srgbClr val="000000"/>
              </a:solidFill>
            </a:endParaRP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grpId="0" nodeType="clickEffect">
                                  <p:stCondLst>
                                    <p:cond delay="0"/>
                                  </p:stCondLst>
                                  <p:childTnLst>
                                    <p:set>
                                      <p:cBhvr>
                                        <p:cTn id="6" dur="1" fill="hold">
                                          <p:stCondLst>
                                            <p:cond delay="0"/>
                                          </p:stCondLst>
                                        </p:cTn>
                                        <p:tgtEl>
                                          <p:spTgt spid="1180675">
                                            <p:txEl>
                                              <p:pRg st="0" end="0"/>
                                            </p:txEl>
                                          </p:spTgt>
                                        </p:tgtEl>
                                        <p:attrNameLst>
                                          <p:attrName>style.visibility</p:attrName>
                                        </p:attrNameLst>
                                      </p:cBhvr>
                                      <p:to>
                                        <p:strVal val="visible"/>
                                      </p:to>
                                    </p:set>
                                    <p:animEffect transition="in" filter="slide(fromBottom)">
                                      <p:cBhvr>
                                        <p:cTn id="7" dur="500"/>
                                        <p:tgtEl>
                                          <p:spTgt spid="1180675">
                                            <p:txEl>
                                              <p:pRg st="0" end="0"/>
                                            </p:txEl>
                                          </p:spTgt>
                                        </p:tgtEl>
                                      </p:cBhvr>
                                    </p:animEffect>
                                  </p:childTnLst>
                                </p:cTn>
                              </p:par>
                              <p:par>
                                <p:cTn id="8" presetID="12" presetClass="entr" presetSubtype="4" fill="hold" grpId="0" nodeType="withEffect">
                                  <p:stCondLst>
                                    <p:cond delay="0"/>
                                  </p:stCondLst>
                                  <p:childTnLst>
                                    <p:set>
                                      <p:cBhvr>
                                        <p:cTn id="9" dur="1" fill="hold">
                                          <p:stCondLst>
                                            <p:cond delay="0"/>
                                          </p:stCondLst>
                                        </p:cTn>
                                        <p:tgtEl>
                                          <p:spTgt spid="1180675">
                                            <p:txEl>
                                              <p:pRg st="1" end="1"/>
                                            </p:txEl>
                                          </p:spTgt>
                                        </p:tgtEl>
                                        <p:attrNameLst>
                                          <p:attrName>style.visibility</p:attrName>
                                        </p:attrNameLst>
                                      </p:cBhvr>
                                      <p:to>
                                        <p:strVal val="visible"/>
                                      </p:to>
                                    </p:set>
                                    <p:animEffect transition="in" filter="slide(fromBottom)">
                                      <p:cBhvr>
                                        <p:cTn id="10" dur="500"/>
                                        <p:tgtEl>
                                          <p:spTgt spid="1180675">
                                            <p:txEl>
                                              <p:pRg st="1" end="1"/>
                                            </p:txEl>
                                          </p:spTgt>
                                        </p:tgtEl>
                                      </p:cBhvr>
                                    </p:animEffect>
                                  </p:childTnLst>
                                </p:cTn>
                              </p:par>
                              <p:par>
                                <p:cTn id="11" presetID="12" presetClass="entr" presetSubtype="4" fill="hold" grpId="0" nodeType="withEffect">
                                  <p:stCondLst>
                                    <p:cond delay="0"/>
                                  </p:stCondLst>
                                  <p:childTnLst>
                                    <p:set>
                                      <p:cBhvr>
                                        <p:cTn id="12" dur="1" fill="hold">
                                          <p:stCondLst>
                                            <p:cond delay="0"/>
                                          </p:stCondLst>
                                        </p:cTn>
                                        <p:tgtEl>
                                          <p:spTgt spid="1180675">
                                            <p:txEl>
                                              <p:pRg st="2" end="2"/>
                                            </p:txEl>
                                          </p:spTgt>
                                        </p:tgtEl>
                                        <p:attrNameLst>
                                          <p:attrName>style.visibility</p:attrName>
                                        </p:attrNameLst>
                                      </p:cBhvr>
                                      <p:to>
                                        <p:strVal val="visible"/>
                                      </p:to>
                                    </p:set>
                                    <p:animEffect transition="in" filter="slide(fromBottom)">
                                      <p:cBhvr>
                                        <p:cTn id="13" dur="500"/>
                                        <p:tgtEl>
                                          <p:spTgt spid="1180675">
                                            <p:txEl>
                                              <p:pRg st="2" end="2"/>
                                            </p:txEl>
                                          </p:spTgt>
                                        </p:tgtEl>
                                      </p:cBhvr>
                                    </p:animEffect>
                                  </p:childTnLst>
                                </p:cTn>
                              </p:par>
                              <p:par>
                                <p:cTn id="14" presetID="12" presetClass="entr" presetSubtype="4" fill="hold" grpId="0" nodeType="withEffect">
                                  <p:stCondLst>
                                    <p:cond delay="0"/>
                                  </p:stCondLst>
                                  <p:childTnLst>
                                    <p:set>
                                      <p:cBhvr>
                                        <p:cTn id="15" dur="1" fill="hold">
                                          <p:stCondLst>
                                            <p:cond delay="0"/>
                                          </p:stCondLst>
                                        </p:cTn>
                                        <p:tgtEl>
                                          <p:spTgt spid="1180675">
                                            <p:txEl>
                                              <p:pRg st="3" end="3"/>
                                            </p:txEl>
                                          </p:spTgt>
                                        </p:tgtEl>
                                        <p:attrNameLst>
                                          <p:attrName>style.visibility</p:attrName>
                                        </p:attrNameLst>
                                      </p:cBhvr>
                                      <p:to>
                                        <p:strVal val="visible"/>
                                      </p:to>
                                    </p:set>
                                    <p:animEffect transition="in" filter="slide(fromBottom)">
                                      <p:cBhvr>
                                        <p:cTn id="16" dur="500"/>
                                        <p:tgtEl>
                                          <p:spTgt spid="1180675">
                                            <p:txEl>
                                              <p:pRg st="3" end="3"/>
                                            </p:txEl>
                                          </p:spTgt>
                                        </p:tgtEl>
                                      </p:cBhvr>
                                    </p:animEffect>
                                  </p:childTnLst>
                                </p:cTn>
                              </p:par>
                              <p:par>
                                <p:cTn id="17" presetID="12" presetClass="entr" presetSubtype="4" fill="hold" grpId="0" nodeType="withEffect">
                                  <p:stCondLst>
                                    <p:cond delay="0"/>
                                  </p:stCondLst>
                                  <p:childTnLst>
                                    <p:set>
                                      <p:cBhvr>
                                        <p:cTn id="18" dur="1" fill="hold">
                                          <p:stCondLst>
                                            <p:cond delay="0"/>
                                          </p:stCondLst>
                                        </p:cTn>
                                        <p:tgtEl>
                                          <p:spTgt spid="1180675">
                                            <p:txEl>
                                              <p:pRg st="4" end="4"/>
                                            </p:txEl>
                                          </p:spTgt>
                                        </p:tgtEl>
                                        <p:attrNameLst>
                                          <p:attrName>style.visibility</p:attrName>
                                        </p:attrNameLst>
                                      </p:cBhvr>
                                      <p:to>
                                        <p:strVal val="visible"/>
                                      </p:to>
                                    </p:set>
                                    <p:animEffect transition="in" filter="slide(fromBottom)">
                                      <p:cBhvr>
                                        <p:cTn id="19" dur="500"/>
                                        <p:tgtEl>
                                          <p:spTgt spid="1180675">
                                            <p:txEl>
                                              <p:pRg st="4" end="4"/>
                                            </p:txEl>
                                          </p:spTgt>
                                        </p:tgtEl>
                                      </p:cBhvr>
                                    </p:animEffect>
                                  </p:childTnLst>
                                </p:cTn>
                              </p:par>
                              <p:par>
                                <p:cTn id="20" presetID="12" presetClass="entr" presetSubtype="4" fill="hold" grpId="0" nodeType="withEffect">
                                  <p:stCondLst>
                                    <p:cond delay="0"/>
                                  </p:stCondLst>
                                  <p:childTnLst>
                                    <p:set>
                                      <p:cBhvr>
                                        <p:cTn id="21" dur="1" fill="hold">
                                          <p:stCondLst>
                                            <p:cond delay="0"/>
                                          </p:stCondLst>
                                        </p:cTn>
                                        <p:tgtEl>
                                          <p:spTgt spid="1180675">
                                            <p:txEl>
                                              <p:pRg st="5" end="5"/>
                                            </p:txEl>
                                          </p:spTgt>
                                        </p:tgtEl>
                                        <p:attrNameLst>
                                          <p:attrName>style.visibility</p:attrName>
                                        </p:attrNameLst>
                                      </p:cBhvr>
                                      <p:to>
                                        <p:strVal val="visible"/>
                                      </p:to>
                                    </p:set>
                                    <p:animEffect transition="in" filter="slide(fromBottom)">
                                      <p:cBhvr>
                                        <p:cTn id="22" dur="500"/>
                                        <p:tgtEl>
                                          <p:spTgt spid="1180675">
                                            <p:txEl>
                                              <p:pRg st="5" end="5"/>
                                            </p:txEl>
                                          </p:spTgt>
                                        </p:tgtEl>
                                      </p:cBhvr>
                                    </p:animEffect>
                                  </p:childTnLst>
                                </p:cTn>
                              </p:par>
                              <p:par>
                                <p:cTn id="23" presetID="12" presetClass="entr" presetSubtype="4" fill="hold" grpId="0" nodeType="withEffect">
                                  <p:stCondLst>
                                    <p:cond delay="0"/>
                                  </p:stCondLst>
                                  <p:childTnLst>
                                    <p:set>
                                      <p:cBhvr>
                                        <p:cTn id="24" dur="1" fill="hold">
                                          <p:stCondLst>
                                            <p:cond delay="0"/>
                                          </p:stCondLst>
                                        </p:cTn>
                                        <p:tgtEl>
                                          <p:spTgt spid="1180675">
                                            <p:txEl>
                                              <p:pRg st="6" end="6"/>
                                            </p:txEl>
                                          </p:spTgt>
                                        </p:tgtEl>
                                        <p:attrNameLst>
                                          <p:attrName>style.visibility</p:attrName>
                                        </p:attrNameLst>
                                      </p:cBhvr>
                                      <p:to>
                                        <p:strVal val="visible"/>
                                      </p:to>
                                    </p:set>
                                    <p:animEffect transition="in" filter="slide(fromBottom)">
                                      <p:cBhvr>
                                        <p:cTn id="25" dur="500"/>
                                        <p:tgtEl>
                                          <p:spTgt spid="1180675">
                                            <p:txEl>
                                              <p:pRg st="6" end="6"/>
                                            </p:txEl>
                                          </p:spTgt>
                                        </p:tgtEl>
                                      </p:cBhvr>
                                    </p:animEffect>
                                  </p:childTnLst>
                                </p:cTn>
                              </p:par>
                              <p:par>
                                <p:cTn id="26" presetID="12" presetClass="entr" presetSubtype="4" fill="hold" grpId="0" nodeType="withEffect">
                                  <p:stCondLst>
                                    <p:cond delay="0"/>
                                  </p:stCondLst>
                                  <p:childTnLst>
                                    <p:set>
                                      <p:cBhvr>
                                        <p:cTn id="27" dur="1" fill="hold">
                                          <p:stCondLst>
                                            <p:cond delay="0"/>
                                          </p:stCondLst>
                                        </p:cTn>
                                        <p:tgtEl>
                                          <p:spTgt spid="1180675">
                                            <p:txEl>
                                              <p:pRg st="7" end="7"/>
                                            </p:txEl>
                                          </p:spTgt>
                                        </p:tgtEl>
                                        <p:attrNameLst>
                                          <p:attrName>style.visibility</p:attrName>
                                        </p:attrNameLst>
                                      </p:cBhvr>
                                      <p:to>
                                        <p:strVal val="visible"/>
                                      </p:to>
                                    </p:set>
                                    <p:animEffect transition="in" filter="slide(fromBottom)">
                                      <p:cBhvr>
                                        <p:cTn id="28" dur="500"/>
                                        <p:tgtEl>
                                          <p:spTgt spid="1180675">
                                            <p:txEl>
                                              <p:pRg st="7" end="7"/>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3"/>
                                        </p:tgtEl>
                                        <p:attrNameLst>
                                          <p:attrName>style.visibility</p:attrName>
                                        </p:attrNameLst>
                                      </p:cBhvr>
                                      <p:to>
                                        <p:strVal val="visible"/>
                                      </p:to>
                                    </p:set>
                                    <p:animEffect transition="in" filter="fade">
                                      <p:cBhvr>
                                        <p:cTn id="33" dur="500"/>
                                        <p:tgtEl>
                                          <p:spTgt spid="3"/>
                                        </p:tgtEl>
                                      </p:cBhvr>
                                    </p:animEffec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grpId="0" nodeType="clickEffect">
                                  <p:stCondLst>
                                    <p:cond delay="0"/>
                                  </p:stCondLst>
                                  <p:childTnLst>
                                    <p:set>
                                      <p:cBhvr>
                                        <p:cTn id="37" dur="1" fill="hold">
                                          <p:stCondLst>
                                            <p:cond delay="0"/>
                                          </p:stCondLst>
                                        </p:cTn>
                                        <p:tgtEl>
                                          <p:spTgt spid="9"/>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0"/>
                                        </p:tgtEl>
                                        <p:attrNameLst>
                                          <p:attrName>style.visibility</p:attrName>
                                        </p:attrNameLst>
                                      </p:cBhvr>
                                      <p:to>
                                        <p:strVal val="visible"/>
                                      </p:to>
                                    </p:set>
                                  </p:childTnLst>
                                </p:cTn>
                              </p:par>
                            </p:childTnLst>
                          </p:cTn>
                        </p:par>
                      </p:childTnLst>
                    </p:cTn>
                  </p:par>
                  <p:par>
                    <p:cTn id="40" fill="hold">
                      <p:stCondLst>
                        <p:cond delay="indefinite"/>
                      </p:stCondLst>
                      <p:childTnLst>
                        <p:par>
                          <p:cTn id="41" fill="hold">
                            <p:stCondLst>
                              <p:cond delay="0"/>
                            </p:stCondLst>
                            <p:childTnLst>
                              <p:par>
                                <p:cTn id="42" presetID="1" presetClass="entr" presetSubtype="0" fill="hold" grpId="0" nodeType="clickEffect">
                                  <p:stCondLst>
                                    <p:cond delay="0"/>
                                  </p:stCondLst>
                                  <p:childTnLst>
                                    <p:set>
                                      <p:cBhvr>
                                        <p:cTn id="43" dur="1" fill="hold">
                                          <p:stCondLst>
                                            <p:cond delay="0"/>
                                          </p:stCondLst>
                                        </p:cTn>
                                        <p:tgtEl>
                                          <p:spTgt spid="11"/>
                                        </p:tgtEl>
                                        <p:attrNameLst>
                                          <p:attrName>style.visibility</p:attrName>
                                        </p:attrNameLst>
                                      </p:cBhvr>
                                      <p:to>
                                        <p:strVal val="visible"/>
                                      </p:to>
                                    </p:set>
                                  </p:childTnLst>
                                </p:cTn>
                              </p:par>
                              <p:par>
                                <p:cTn id="44" presetID="1" presetClass="entr" presetSubtype="0" fill="hold" grpId="0" nodeType="withEffect">
                                  <p:stCondLst>
                                    <p:cond delay="0"/>
                                  </p:stCondLst>
                                  <p:childTnLst>
                                    <p:set>
                                      <p:cBhvr>
                                        <p:cTn id="45" dur="1" fill="hold">
                                          <p:stCondLst>
                                            <p:cond delay="0"/>
                                          </p:stCondLst>
                                        </p:cTn>
                                        <p:tgtEl>
                                          <p:spTgt spid="8"/>
                                        </p:tgtEl>
                                        <p:attrNameLst>
                                          <p:attrName>style.visibility</p:attrName>
                                        </p:attrNameLst>
                                      </p:cBhvr>
                                      <p:to>
                                        <p:strVal val="visible"/>
                                      </p:to>
                                    </p:se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grpId="0" nodeType="clickEffect">
                                  <p:stCondLst>
                                    <p:cond delay="0"/>
                                  </p:stCondLst>
                                  <p:childTnLst>
                                    <p:set>
                                      <p:cBhvr>
                                        <p:cTn id="49"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80675" grpId="0" build="allAtOnce"/>
      <p:bldP spid="7" grpId="0" bldLvl="0" animBg="1"/>
      <p:bldP spid="8" grpId="0" bldLvl="0" animBg="1"/>
      <p:bldP spid="9" grpId="0" bldLvl="0" animBg="1"/>
      <p:bldP spid="10" grpId="0" bldLvl="0" animBg="1"/>
      <p:bldP spid="11" grpId="0" bldLvl="0"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0" y="274638"/>
            <a:ext cx="8229600" cy="778098"/>
          </a:xfrm>
        </p:spPr>
        <p:txBody>
          <a:bodyPr/>
          <a:lstStyle/>
          <a:p>
            <a:r>
              <a:rPr lang="zh-CN" altLang="en-US" dirty="0">
                <a:latin typeface="微软雅黑" panose="020B0503020204020204" charset="-122"/>
                <a:ea typeface="微软雅黑" panose="020B0503020204020204" charset="-122"/>
              </a:rPr>
              <a:t>  注意事项</a:t>
            </a:r>
            <a:endParaRPr lang="zh-CN" altLang="en-US" dirty="0">
              <a:latin typeface="微软雅黑" panose="020B0503020204020204" charset="-122"/>
              <a:ea typeface="微软雅黑" panose="020B0503020204020204" charset="-122"/>
            </a:endParaRPr>
          </a:p>
        </p:txBody>
      </p:sp>
      <p:sp>
        <p:nvSpPr>
          <p:cNvPr id="3" name="内容占位符 2"/>
          <p:cNvSpPr>
            <a:spLocks noGrp="1"/>
          </p:cNvSpPr>
          <p:nvPr>
            <p:ph idx="4294967295"/>
          </p:nvPr>
        </p:nvSpPr>
        <p:spPr>
          <a:xfrm>
            <a:off x="1331640" y="1344613"/>
            <a:ext cx="6631632" cy="4724400"/>
          </a:xfrm>
        </p:spPr>
        <p:txBody>
          <a:bodyPr/>
          <a:lstStyle/>
          <a:p>
            <a:pPr>
              <a:lnSpc>
                <a:spcPct val="150000"/>
              </a:lnSpc>
            </a:pPr>
            <a:r>
              <a:rPr lang="zh-CN" altLang="en-US" sz="2400" dirty="0"/>
              <a:t>一稿多投</a:t>
            </a:r>
            <a:r>
              <a:rPr lang="en-US" altLang="zh-CN" sz="2400" dirty="0"/>
              <a:t>(multiple/simultaneous submissions)</a:t>
            </a:r>
            <a:endParaRPr lang="en-US" altLang="zh-CN" sz="2400" dirty="0"/>
          </a:p>
          <a:p>
            <a:pPr>
              <a:lnSpc>
                <a:spcPct val="150000"/>
              </a:lnSpc>
            </a:pPr>
            <a:r>
              <a:rPr lang="zh-CN" altLang="en-US" sz="2400" dirty="0"/>
              <a:t>通信作者和第一作者</a:t>
            </a:r>
            <a:endParaRPr lang="en-US" altLang="zh-CN" sz="2400" dirty="0"/>
          </a:p>
          <a:p>
            <a:pPr>
              <a:lnSpc>
                <a:spcPct val="150000"/>
              </a:lnSpc>
            </a:pPr>
            <a:r>
              <a:rPr lang="zh-CN" altLang="en-US" sz="2400" dirty="0"/>
              <a:t>合适的审稿人</a:t>
            </a:r>
            <a:endParaRPr lang="en-US" altLang="zh-CN" sz="2400" dirty="0"/>
          </a:p>
          <a:p>
            <a:pPr>
              <a:lnSpc>
                <a:spcPct val="150000"/>
              </a:lnSpc>
            </a:pPr>
            <a:r>
              <a:rPr lang="zh-CN" altLang="en-US" sz="2400" dirty="0"/>
              <a:t>论文的新意</a:t>
            </a:r>
            <a:r>
              <a:rPr lang="en-US" altLang="zh-CN" sz="2400" dirty="0"/>
              <a:t>(cover letter)</a:t>
            </a:r>
            <a:endParaRPr lang="en-US" altLang="zh-CN" sz="2400" dirty="0"/>
          </a:p>
          <a:p>
            <a:pPr>
              <a:lnSpc>
                <a:spcPct val="150000"/>
              </a:lnSpc>
            </a:pPr>
            <a:r>
              <a:rPr lang="zh-CN" altLang="en-US" sz="2400" dirty="0"/>
              <a:t>逻辑性，合理性</a:t>
            </a:r>
            <a:endParaRPr lang="en-US" altLang="zh-CN" sz="2400" dirty="0"/>
          </a:p>
          <a:p>
            <a:pPr>
              <a:lnSpc>
                <a:spcPct val="150000"/>
              </a:lnSpc>
            </a:pPr>
            <a:r>
              <a:rPr lang="zh-CN" altLang="en-US" sz="2400" dirty="0"/>
              <a:t>语言及图片的质量</a:t>
            </a:r>
            <a:endParaRPr lang="zh-CN" altLang="en-US" sz="2400"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fade">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Effect transition="in" filter="fade">
                                      <p:cBhvr>
                                        <p:cTn id="17" dur="500"/>
                                        <p:tgtEl>
                                          <p:spTgt spid="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Effect transition="in" filter="fade">
                                      <p:cBhvr>
                                        <p:cTn id="22" dur="500"/>
                                        <p:tgtEl>
                                          <p:spTgt spid="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animEffect transition="in" filter="fade">
                                      <p:cBhvr>
                                        <p:cTn id="27" dur="500"/>
                                        <p:tgtEl>
                                          <p:spTgt spid="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0" y="274638"/>
            <a:ext cx="8229600" cy="806450"/>
          </a:xfrm>
        </p:spPr>
        <p:txBody>
          <a:bodyPr/>
          <a:lstStyle/>
          <a:p>
            <a:r>
              <a:rPr lang="en-US" altLang="zh-CN" dirty="0"/>
              <a:t>  </a:t>
            </a:r>
            <a:r>
              <a:rPr lang="en-US" altLang="zh-CN" dirty="0" err="1"/>
              <a:t>CrossCheck</a:t>
            </a:r>
            <a:endParaRPr lang="zh-CN" altLang="en-US" dirty="0"/>
          </a:p>
        </p:txBody>
      </p:sp>
      <p:pic>
        <p:nvPicPr>
          <p:cNvPr id="4" name="内容占位符 3"/>
          <p:cNvPicPr>
            <a:picLocks noGrp="1" noChangeAspect="1"/>
          </p:cNvPicPr>
          <p:nvPr>
            <p:ph idx="4294967295"/>
          </p:nvPr>
        </p:nvPicPr>
        <p:blipFill>
          <a:blip r:embed="rId1">
            <a:extLst>
              <a:ext uri="{28A0092B-C50C-407E-A947-70E740481C1C}">
                <a14:useLocalDpi xmlns:a14="http://schemas.microsoft.com/office/drawing/2010/main" val="0"/>
              </a:ext>
            </a:extLst>
          </a:blip>
          <a:stretch>
            <a:fillRect/>
          </a:stretch>
        </p:blipFill>
        <p:spPr>
          <a:xfrm>
            <a:off x="0" y="1081088"/>
            <a:ext cx="7234238" cy="4724400"/>
          </a:xfrm>
          <a:prstGeom prst="rect">
            <a:avLst/>
          </a:prstGeom>
          <a:ln>
            <a:noFill/>
          </a:ln>
          <a:effectLst>
            <a:outerShdw blurRad="190500" algn="tl" rotWithShape="0">
              <a:srgbClr val="000000">
                <a:alpha val="70000"/>
              </a:srgbClr>
            </a:outerShdw>
          </a:effectLst>
        </p:spPr>
      </p:pic>
      <p:sp>
        <p:nvSpPr>
          <p:cNvPr id="5" name="TextBox 4"/>
          <p:cNvSpPr txBox="1"/>
          <p:nvPr/>
        </p:nvSpPr>
        <p:spPr>
          <a:xfrm>
            <a:off x="282455" y="5877272"/>
            <a:ext cx="8744272" cy="646331"/>
          </a:xfrm>
          <a:prstGeom prst="rect">
            <a:avLst/>
          </a:prstGeom>
        </p:spPr>
        <p:style>
          <a:lnRef idx="1">
            <a:schemeClr val="accent2"/>
          </a:lnRef>
          <a:fillRef idx="3">
            <a:schemeClr val="accent2"/>
          </a:fillRef>
          <a:effectRef idx="2">
            <a:schemeClr val="accent2"/>
          </a:effectRef>
          <a:fontRef idx="minor">
            <a:schemeClr val="lt1"/>
          </a:fontRef>
        </p:style>
        <p:txBody>
          <a:bodyPr wrap="square" rtlCol="0">
            <a:spAutoFit/>
          </a:bodyPr>
          <a:lstStyle/>
          <a:p>
            <a:pPr algn="ctr" defTabSz="914400" fontAlgn="base">
              <a:spcBef>
                <a:spcPct val="0"/>
              </a:spcBef>
              <a:spcAft>
                <a:spcPct val="0"/>
              </a:spcAft>
            </a:pPr>
            <a:r>
              <a:rPr lang="en-US" altLang="zh-CN" dirty="0">
                <a:solidFill>
                  <a:srgbClr val="FFFFFF"/>
                </a:solidFill>
              </a:rPr>
              <a:t>Compares full-text manuscripts against a database of 38+ million articles from 175,000+ journals, books from 500+ publishers, and 20+ billion webpages.</a:t>
            </a:r>
            <a:endParaRPr lang="zh-CN" altLang="en-US" dirty="0">
              <a:solidFill>
                <a:srgbClr val="FFFFFF"/>
              </a:solidFill>
            </a:endParaRPr>
          </a:p>
        </p:txBody>
      </p:sp>
      <p:pic>
        <p:nvPicPr>
          <p:cNvPr id="6" name="图片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52320" y="446921"/>
            <a:ext cx="1183433" cy="486898"/>
          </a:xfrm>
          <a:prstGeom prst="rect">
            <a:avLst/>
          </a:prstGeom>
          <a:ln>
            <a:noFill/>
          </a:ln>
          <a:effectLst>
            <a:outerShdw blurRad="190500" algn="tl" rotWithShape="0">
              <a:srgbClr val="000000">
                <a:alpha val="70000"/>
              </a:srgbClr>
            </a:outerShdw>
          </a:effectLst>
        </p:spPr>
      </p:pic>
      <p:pic>
        <p:nvPicPr>
          <p:cNvPr id="7" name="图片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89473" y="5301208"/>
            <a:ext cx="1399456" cy="430834"/>
          </a:xfrm>
          <a:prstGeom prst="rect">
            <a:avLst/>
          </a:prstGeom>
          <a:ln>
            <a:noFill/>
          </a:ln>
          <a:effectLst>
            <a:outerShdw blurRad="190500" algn="tl" rotWithShape="0">
              <a:srgbClr val="000000">
                <a:alpha val="70000"/>
              </a:srgbClr>
            </a:outerShdw>
          </a:effectLst>
        </p:spPr>
      </p:pic>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ldLvl="0" animBg="1"/>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Shape 487"/>
        <p:cNvGrpSpPr/>
        <p:nvPr/>
      </p:nvGrpSpPr>
      <p:grpSpPr>
        <a:xfrm>
          <a:off x="0" y="0"/>
          <a:ext cx="0" cy="0"/>
          <a:chOff x="0" y="0"/>
          <a:chExt cx="0" cy="0"/>
        </a:xfrm>
      </p:grpSpPr>
      <p:sp>
        <p:nvSpPr>
          <p:cNvPr id="4" name="Text Placeholder 3"/>
          <p:cNvSpPr>
            <a:spLocks noGrp="1"/>
          </p:cNvSpPr>
          <p:nvPr>
            <p:ph type="body" sz="quarter" idx="13"/>
          </p:nvPr>
        </p:nvSpPr>
        <p:spPr/>
        <p:txBody>
          <a:bodyPr/>
          <a:lstStyle/>
          <a:p>
            <a:pPr algn="ctr"/>
            <a:r>
              <a:rPr lang="en-US" dirty="0"/>
              <a:t>THANK YOU</a:t>
            </a: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1"/>
          <a:stretch>
            <a:fillRect/>
          </a:stretch>
        </p:blipFill>
        <p:spPr>
          <a:xfrm>
            <a:off x="269599" y="1659136"/>
            <a:ext cx="8544845" cy="4166774"/>
          </a:xfrm>
          <a:prstGeom prst="rect">
            <a:avLst/>
          </a:prstGeom>
        </p:spPr>
      </p:pic>
      <p:sp>
        <p:nvSpPr>
          <p:cNvPr id="5" name="Title 2"/>
          <p:cNvSpPr txBox="1"/>
          <p:nvPr/>
        </p:nvSpPr>
        <p:spPr>
          <a:xfrm>
            <a:off x="576125" y="857606"/>
            <a:ext cx="8238319" cy="418645"/>
          </a:xfrm>
          <a:prstGeom prst="rect">
            <a:avLst/>
          </a:prstGeom>
        </p:spPr>
        <p:txBody>
          <a:bodyPr vert="horz" lIns="91440" tIns="45720" rIns="91440" bIns="45720" rtlCol="0" anchor="ctr">
            <a:noAutofit/>
          </a:bodyPr>
          <a:lstStyle>
            <a:lvl1pPr algn="l" defTabSz="457200" rtl="0" eaLnBrk="1" latinLnBrk="0" hangingPunct="1">
              <a:spcBef>
                <a:spcPct val="0"/>
              </a:spcBef>
              <a:buNone/>
              <a:defRPr sz="2400" b="0" i="0" kern="1200">
                <a:solidFill>
                  <a:schemeClr val="accent1"/>
                </a:solidFill>
                <a:latin typeface="Arial Bold"/>
                <a:ea typeface="+mj-ea"/>
                <a:cs typeface="Arial Bold"/>
              </a:defRPr>
            </a:lvl1pPr>
          </a:lstStyle>
          <a:p>
            <a:r>
              <a:rPr lang="en-US"/>
              <a:t>E</a:t>
            </a:r>
            <a:r>
              <a:rPr lang="en-US" altLang="zh-CN"/>
              <a:t>lsevier</a:t>
            </a:r>
            <a:r>
              <a:rPr lang="zh-CN" altLang="en-US"/>
              <a:t>的历史与传承</a:t>
            </a:r>
            <a:endParaRPr lang="en-US" dirty="0"/>
          </a:p>
        </p:txBody>
      </p:sp>
      <p:sp>
        <p:nvSpPr>
          <p:cNvPr id="7" name="Rectangle: Rounded Corners 6"/>
          <p:cNvSpPr/>
          <p:nvPr/>
        </p:nvSpPr>
        <p:spPr>
          <a:xfrm>
            <a:off x="2763079" y="3876261"/>
            <a:ext cx="1172818" cy="225287"/>
          </a:xfrm>
          <a:prstGeom prst="round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p="http://schemas.openxmlformats.org/presentationml/2006/main">
  <p:tag name="THINKCELLSHAPEDONOTDELETE" val="tvKMGR8ReQJyxdnuZBJ7Ufw"/>
</p:tagLst>
</file>

<file path=ppt/tags/tag10.xml><?xml version="1.0" encoding="utf-8"?>
<p:tagLst xmlns:p="http://schemas.openxmlformats.org/presentationml/2006/main">
  <p:tag name="THINKCELLSHAPEDONOTDELETE" val="tVY166G28Si.kiifWyaUYQQ"/>
</p:tagLst>
</file>

<file path=ppt/tags/tag11.xml><?xml version="1.0" encoding="utf-8"?>
<p:tagLst xmlns:p="http://schemas.openxmlformats.org/presentationml/2006/main">
  <p:tag name="THINKCELLSHAPEDONOTDELETE" val="tJ1mF.wcwQbefN4FmTdisZg"/>
</p:tagLst>
</file>

<file path=ppt/tags/tag12.xml><?xml version="1.0" encoding="utf-8"?>
<p:tagLst xmlns:p="http://schemas.openxmlformats.org/presentationml/2006/main">
  <p:tag name="THINKCELLSHAPEDONOTDELETE" val="tfjrmnoFeSpG0T3EnpRNRTQ"/>
</p:tagLst>
</file>

<file path=ppt/tags/tag13.xml><?xml version="1.0" encoding="utf-8"?>
<p:tagLst xmlns:p="http://schemas.openxmlformats.org/presentationml/2006/main">
  <p:tag name="THINKCELLSHAPEDONOTDELETE" val="tOeMmjkIfSjGDvUiEV4Flvw"/>
</p:tagLst>
</file>

<file path=ppt/tags/tag14.xml><?xml version="1.0" encoding="utf-8"?>
<p:tagLst xmlns:p="http://schemas.openxmlformats.org/presentationml/2006/main">
  <p:tag name="THINKCELLSHAPEDONOTDELETE" val="tR7uqF.r3TtyvmoKkjWUa6Q"/>
</p:tagLst>
</file>

<file path=ppt/tags/tag15.xml><?xml version="1.0" encoding="utf-8"?>
<p:tagLst xmlns:p="http://schemas.openxmlformats.org/presentationml/2006/main">
  <p:tag name="THINKCELLSHAPEDONOTDELETE" val="tijaIjymXS26PNM4XYMKDlA"/>
</p:tagLst>
</file>

<file path=ppt/tags/tag16.xml><?xml version="1.0" encoding="utf-8"?>
<p:tagLst xmlns:p="http://schemas.openxmlformats.org/presentationml/2006/main">
  <p:tag name="THINKCELLSHAPEDONOTDELETE" val="tCio4bq9TRT.pJHLeJW..ig"/>
</p:tagLst>
</file>

<file path=ppt/tags/tag17.xml><?xml version="1.0" encoding="utf-8"?>
<p:tagLst xmlns:p="http://schemas.openxmlformats.org/presentationml/2006/main">
  <p:tag name="THINKCELLSHAPEDONOTDELETE" val="txrPHNh6kRP.7jF9xIRe3uw"/>
</p:tagLst>
</file>

<file path=ppt/tags/tag18.xml><?xml version="1.0" encoding="utf-8"?>
<p:tagLst xmlns:p="http://schemas.openxmlformats.org/presentationml/2006/main">
  <p:tag name="THINKCELLSHAPEDONOTDELETE" val="twkQ1Z3ifT66dWxRl78fYow"/>
</p:tagLst>
</file>

<file path=ppt/tags/tag19.xml><?xml version="1.0" encoding="utf-8"?>
<p:tagLst xmlns:p="http://schemas.openxmlformats.org/presentationml/2006/main">
  <p:tag name="THINKCELLSHAPEDONOTDELETE" val="tGrF26ogRSQq2pPf4tI_n0w"/>
</p:tagLst>
</file>

<file path=ppt/tags/tag2.xml><?xml version="1.0" encoding="utf-8"?>
<p:tagLst xmlns:p="http://schemas.openxmlformats.org/presentationml/2006/main">
  <p:tag name="THINKCELLSHAPEDONOTDELETE" val="ts3WnxvssRJqZbDeFngO4ag"/>
</p:tagLst>
</file>

<file path=ppt/tags/tag20.xml><?xml version="1.0" encoding="utf-8"?>
<p:tagLst xmlns:p="http://schemas.openxmlformats.org/presentationml/2006/main">
  <p:tag name="THINKCELLSHAPEDONOTDELETE" val="tfJ3ZcIYpTbeK8XaW5SjVyA"/>
</p:tagLst>
</file>

<file path=ppt/tags/tag21.xml><?xml version="1.0" encoding="utf-8"?>
<p:tagLst xmlns:p="http://schemas.openxmlformats.org/presentationml/2006/main">
  <p:tag name="THINKCELLSHAPEDONOTDELETE" val="tf6Bw9JORSz2sbizSs91eoQ"/>
</p:tagLst>
</file>

<file path=ppt/tags/tag22.xml><?xml version="1.0" encoding="utf-8"?>
<p:tagLst xmlns:p="http://schemas.openxmlformats.org/presentationml/2006/main">
  <p:tag name="THINKCELLSHAPEDONOTDELETE" val="tFas_p4yyR5Gg0hCXqAZb6w"/>
</p:tagLst>
</file>

<file path=ppt/tags/tag23.xml><?xml version="1.0" encoding="utf-8"?>
<p:tagLst xmlns:p="http://schemas.openxmlformats.org/presentationml/2006/main">
  <p:tag name="THINKCELLSHAPEDONOTDELETE" val="tdFEgo2_lTfW8tJ8RjNLcHQ"/>
</p:tagLst>
</file>

<file path=ppt/tags/tag24.xml><?xml version="1.0" encoding="utf-8"?>
<p:tagLst xmlns:p="http://schemas.openxmlformats.org/presentationml/2006/main">
  <p:tag name="THINKCELLSHAPEDONOTDELETE" val="tHKkZOC4UQeyaeo0n.oEz3g"/>
</p:tagLst>
</file>

<file path=ppt/tags/tag25.xml><?xml version="1.0" encoding="utf-8"?>
<p:tagLst xmlns:p="http://schemas.openxmlformats.org/presentationml/2006/main">
  <p:tag name="THINKCELLSHAPEDONOTDELETE" val="tTU2ee3MLThqQhk_.dOMbQQ"/>
</p:tagLst>
</file>

<file path=ppt/tags/tag26.xml><?xml version="1.0" encoding="utf-8"?>
<p:tagLst xmlns:p="http://schemas.openxmlformats.org/presentationml/2006/main">
  <p:tag name="THINKCELLSHAPEDONOTDELETE" val="tEgEEkkW0Q_KG7LwxCEniEQ"/>
</p:tagLst>
</file>

<file path=ppt/tags/tag27.xml><?xml version="1.0" encoding="utf-8"?>
<p:tagLst xmlns:p="http://schemas.openxmlformats.org/presentationml/2006/main">
  <p:tag name="THINKCELLSHAPEDONOTDELETE" val="tq0MUO4mrS6iQxBAHdAtRGQ"/>
</p:tagLst>
</file>

<file path=ppt/tags/tag28.xml><?xml version="1.0" encoding="utf-8"?>
<p:tagLst xmlns:p="http://schemas.openxmlformats.org/presentationml/2006/main">
  <p:tag name="THINKCELLSHAPEDONOTDELETE" val="t57Sa2csCQBeRq0EFCptwpw"/>
</p:tagLst>
</file>

<file path=ppt/tags/tag29.xml><?xml version="1.0" encoding="utf-8"?>
<p:tagLst xmlns:p="http://schemas.openxmlformats.org/presentationml/2006/main">
  <p:tag name="THINKCELLSHAPEDONOTDELETE" val="tkYm5VxVoRGypXao0Kx2wPQ"/>
</p:tagLst>
</file>

<file path=ppt/tags/tag3.xml><?xml version="1.0" encoding="utf-8"?>
<p:tagLst xmlns:p="http://schemas.openxmlformats.org/presentationml/2006/main">
  <p:tag name="THINKCELLSHAPEDONOTDELETE" val="tVC.91p5WQx.scqD_oMltYg"/>
</p:tagLst>
</file>

<file path=ppt/tags/tag30.xml><?xml version="1.0" encoding="utf-8"?>
<p:tagLst xmlns:p="http://schemas.openxmlformats.org/presentationml/2006/main">
  <p:tag name="THINKCELLSHAPEDONOTDELETE" val="tcFRouGaTQZuvCATl1tvszg"/>
</p:tagLst>
</file>

<file path=ppt/tags/tag31.xml><?xml version="1.0" encoding="utf-8"?>
<p:tagLst xmlns:p="http://schemas.openxmlformats.org/presentationml/2006/main">
  <p:tag name="THINKCELLSHAPEDONOTDELETE" val="tJV0tT2cyTi29.QV3fSIDrg"/>
</p:tagLst>
</file>

<file path=ppt/tags/tag32.xml><?xml version="1.0" encoding="utf-8"?>
<p:tagLst xmlns:p="http://schemas.openxmlformats.org/presentationml/2006/main">
  <p:tag name="THINKCELLSHAPEDONOTDELETE" val="ttsbm_f3EREKz24Seutoq2A"/>
</p:tagLst>
</file>

<file path=ppt/tags/tag33.xml><?xml version="1.0" encoding="utf-8"?>
<p:tagLst xmlns:p="http://schemas.openxmlformats.org/presentationml/2006/main">
  <p:tag name="THINKCELLSHAPEDONOTDELETE" val="tJHqVFesRSAW7FEXNIRhAQg"/>
</p:tagLst>
</file>

<file path=ppt/tags/tag34.xml><?xml version="1.0" encoding="utf-8"?>
<p:tagLst xmlns:p="http://schemas.openxmlformats.org/presentationml/2006/main">
  <p:tag name="THINKCELLSHAPEDONOTDELETE" val="t6g2kEpD4QpS0D_nL_A19tQ"/>
</p:tagLst>
</file>

<file path=ppt/tags/tag35.xml><?xml version="1.0" encoding="utf-8"?>
<p:tagLst xmlns:p="http://schemas.openxmlformats.org/presentationml/2006/main">
  <p:tag name="THINKCELLSHAPEDONOTDELETE" val="tgFbcwN4UTAmoSN8quMUDZg"/>
</p:tagLst>
</file>

<file path=ppt/tags/tag36.xml><?xml version="1.0" encoding="utf-8"?>
<p:tagLst xmlns:p="http://schemas.openxmlformats.org/presentationml/2006/main">
  <p:tag name="THINKCELLSHAPEDONOTDELETE" val="tBnqdl201Qiypmo5cjTeqEQ"/>
</p:tagLst>
</file>

<file path=ppt/tags/tag37.xml><?xml version="1.0" encoding="utf-8"?>
<p:tagLst xmlns:p="http://schemas.openxmlformats.org/presentationml/2006/main">
  <p:tag name="THINKCELLSHAPEDONOTDELETE" val="tEni.6Vm3R0GzZL282zKx2A"/>
</p:tagLst>
</file>

<file path=ppt/tags/tag38.xml><?xml version="1.0" encoding="utf-8"?>
<p:tagLst xmlns:p="http://schemas.openxmlformats.org/presentationml/2006/main">
  <p:tag name="THINKCELLSHAPEDONOTDELETE" val="trR.uimbvSFqIXw5bGhCMlw"/>
</p:tagLst>
</file>

<file path=ppt/tags/tag39.xml><?xml version="1.0" encoding="utf-8"?>
<p:tagLst xmlns:p="http://schemas.openxmlformats.org/presentationml/2006/main">
  <p:tag name="THINKCELLSHAPEDONOTDELETE" val="tIOtHPaeRSmiv_Iek75agcw"/>
</p:tagLst>
</file>

<file path=ppt/tags/tag4.xml><?xml version="1.0" encoding="utf-8"?>
<p:tagLst xmlns:p="http://schemas.openxmlformats.org/presentationml/2006/main">
  <p:tag name="THINKCELLSHAPEDONOTDELETE" val="tQS_sNZV9SDWXH3T3ZfUz8A"/>
</p:tagLst>
</file>

<file path=ppt/tags/tag40.xml><?xml version="1.0" encoding="utf-8"?>
<p:tagLst xmlns:p="http://schemas.openxmlformats.org/presentationml/2006/main">
  <p:tag name="THINKCELLSHAPEDONOTDELETE" val="tJeVGQVdJRNiAAjhGaXOLHg"/>
</p:tagLst>
</file>

<file path=ppt/tags/tag41.xml><?xml version="1.0" encoding="utf-8"?>
<p:tagLst xmlns:p="http://schemas.openxmlformats.org/presentationml/2006/main">
  <p:tag name="THINKCELLSHAPEDONOTDELETE" val="tEXUNZ1a3ShqRu5rhsX7CUA"/>
</p:tagLst>
</file>

<file path=ppt/tags/tag42.xml><?xml version="1.0" encoding="utf-8"?>
<p:tagLst xmlns:p="http://schemas.openxmlformats.org/presentationml/2006/main">
  <p:tag name="THINKCELLSHAPEDONOTDELETE" val="paDXybVfraEaH51m.ryXvkQ"/>
</p:tagLst>
</file>

<file path=ppt/tags/tag43.xml><?xml version="1.0" encoding="utf-8"?>
<p:tagLst xmlns:p="http://schemas.openxmlformats.org/presentationml/2006/main">
  <p:tag name="THINKCELLSHAPEDONOTDELETE" val="p645cR0pJ5Euw97uUTcU0qQ"/>
</p:tagLst>
</file>

<file path=ppt/tags/tag44.xml><?xml version="1.0" encoding="utf-8"?>
<p:tagLst xmlns:p="http://schemas.openxmlformats.org/presentationml/2006/main">
  <p:tag name="THINKCELLSHAPEDONOTDELETE" val="pG4iouBmOQkKe4_YmXZX_zA"/>
</p:tagLst>
</file>

<file path=ppt/tags/tag45.xml><?xml version="1.0" encoding="utf-8"?>
<p:tagLst xmlns:p="http://schemas.openxmlformats.org/presentationml/2006/main">
  <p:tag name="THINKCELLSHAPEDONOTDELETE" val="p_9eBPxsFS0qF7LysbDNOGA"/>
</p:tagLst>
</file>

<file path=ppt/tags/tag46.xml><?xml version="1.0" encoding="utf-8"?>
<p:tagLst xmlns:p="http://schemas.openxmlformats.org/presentationml/2006/main">
  <p:tag name="THINKCELLSHAPEDONOTDELETE" val="pIQkxz9iR3kqAWgKTFuIx.A"/>
</p:tagLst>
</file>

<file path=ppt/tags/tag47.xml><?xml version="1.0" encoding="utf-8"?>
<p:tagLst xmlns:p="http://schemas.openxmlformats.org/presentationml/2006/main">
  <p:tag name="THINKCELLSHAPEDONOTDELETE" val="pWTCQrBs2EkW.ev5NIdhmzw"/>
</p:tagLst>
</file>

<file path=ppt/tags/tag48.xml><?xml version="1.0" encoding="utf-8"?>
<p:tagLst xmlns:p="http://schemas.openxmlformats.org/presentationml/2006/main">
  <p:tag name="THINKCELLSHAPEDONOTDELETE" val="pRoeIB5a0MkSRWnyxwVlrYw"/>
</p:tagLst>
</file>

<file path=ppt/tags/tag49.xml><?xml version="1.0" encoding="utf-8"?>
<p:tagLst xmlns:p="http://schemas.openxmlformats.org/presentationml/2006/main">
  <p:tag name="THINKCELLSHAPEDONOTDELETE" val="pUxA_lHMuCE.gurm9n3n5Lw"/>
</p:tagLst>
</file>

<file path=ppt/tags/tag5.xml><?xml version="1.0" encoding="utf-8"?>
<p:tagLst xmlns:p="http://schemas.openxmlformats.org/presentationml/2006/main">
  <p:tag name="THINKCELLSHAPEDONOTDELETE" val="t_H5wb5wJT7aZr3C7AllMLw"/>
</p:tagLst>
</file>

<file path=ppt/tags/tag50.xml><?xml version="1.0" encoding="utf-8"?>
<p:tagLst xmlns:p="http://schemas.openxmlformats.org/presentationml/2006/main">
  <p:tag name="THINKCELLSHAPEDONOTDELETE" val="pUxA_lHMuCE.gurm9n3n5Lw"/>
</p:tagLst>
</file>

<file path=ppt/tags/tag51.xml><?xml version="1.0" encoding="utf-8"?>
<p:tagLst xmlns:p="http://schemas.openxmlformats.org/presentationml/2006/main">
  <p:tag name="THINKCELLSHAPEDONOTDELETE" val="pUxA_lHMuCE.gurm9n3n5Lw"/>
</p:tagLst>
</file>

<file path=ppt/tags/tag52.xml><?xml version="1.0" encoding="utf-8"?>
<p:tagLst xmlns:p="http://schemas.openxmlformats.org/presentationml/2006/main">
  <p:tag name="THINKCELLSHAPEDONOTDELETE" val="pUxA_lHMuCE.gurm9n3n5Lw"/>
</p:tagLst>
</file>

<file path=ppt/tags/tag53.xml><?xml version="1.0" encoding="utf-8"?>
<p:tagLst xmlns:p="http://schemas.openxmlformats.org/presentationml/2006/main">
  <p:tag name="THINKCELLSHAPEDONOTDELETE" val="pUxA_lHMuCE.gurm9n3n5Lw"/>
</p:tagLst>
</file>

<file path=ppt/tags/tag54.xml><?xml version="1.0" encoding="utf-8"?>
<p:tagLst xmlns:p="http://schemas.openxmlformats.org/presentationml/2006/main">
  <p:tag name="THINKCELLSHAPEDONOTDELETE" val="pUxA_lHMuCE.gurm9n3n5Lw"/>
</p:tagLst>
</file>

<file path=ppt/tags/tag55.xml><?xml version="1.0" encoding="utf-8"?>
<p:tagLst xmlns:p="http://schemas.openxmlformats.org/presentationml/2006/main">
  <p:tag name="THINKCELLSHAPEDONOTDELETE" val="pUxA_lHMuCE.gurm9n3n5Lw"/>
</p:tagLst>
</file>

<file path=ppt/tags/tag56.xml><?xml version="1.0" encoding="utf-8"?>
<p:tagLst xmlns:p="http://schemas.openxmlformats.org/presentationml/2006/main">
  <p:tag name="THINKCELLSHAPEDONOTDELETE" val="pUxA_lHMuCE.gurm9n3n5Lw"/>
</p:tagLst>
</file>

<file path=ppt/tags/tag57.xml><?xml version="1.0" encoding="utf-8"?>
<p:tagLst xmlns:p="http://schemas.openxmlformats.org/presentationml/2006/main">
  <p:tag name="THINKCELLSHAPEDONOTDELETE" val="pUxA_lHMuCE.gurm9n3n5Lw"/>
</p:tagLst>
</file>

<file path=ppt/tags/tag58.xml><?xml version="1.0" encoding="utf-8"?>
<p:tagLst xmlns:p="http://schemas.openxmlformats.org/presentationml/2006/main">
  <p:tag name="THINKCELLSHAPEDONOTDELETE" val="pUxA_lHMuCE.gurm9n3n5Lw"/>
</p:tagLst>
</file>

<file path=ppt/tags/tag59.xml><?xml version="1.0" encoding="utf-8"?>
<p:tagLst xmlns:p="http://schemas.openxmlformats.org/presentationml/2006/main">
  <p:tag name="THINKCELLSHAPEDONOTDELETE" val="pUxA_lHMuCE.gurm9n3n5Lw"/>
</p:tagLst>
</file>

<file path=ppt/tags/tag6.xml><?xml version="1.0" encoding="utf-8"?>
<p:tagLst xmlns:p="http://schemas.openxmlformats.org/presentationml/2006/main">
  <p:tag name="THINKCELLSHAPEDONOTDELETE" val="tvKbJEK4ZRbOVjxlJ2saRIA"/>
</p:tagLst>
</file>

<file path=ppt/tags/tag60.xml><?xml version="1.0" encoding="utf-8"?>
<p:tagLst xmlns:p="http://schemas.openxmlformats.org/presentationml/2006/main">
  <p:tag name="THINKCELLSHAPEDONOTDELETE" val="pUxA_lHMuCE.gurm9n3n5Lw"/>
</p:tagLst>
</file>

<file path=ppt/tags/tag61.xml><?xml version="1.0" encoding="utf-8"?>
<p:tagLst xmlns:p="http://schemas.openxmlformats.org/presentationml/2006/main">
  <p:tag name="THINKCELLSHAPEDONOTDELETE" val="pUxA_lHMuCE.gurm9n3n5Lw"/>
</p:tagLst>
</file>

<file path=ppt/tags/tag62.xml><?xml version="1.0" encoding="utf-8"?>
<p:tagLst xmlns:p="http://schemas.openxmlformats.org/presentationml/2006/main">
  <p:tag name="THINKCELLSHAPEDONOTDELETE" val="pUxA_lHMuCE.gurm9n3n5Lw"/>
</p:tagLst>
</file>

<file path=ppt/tags/tag63.xml><?xml version="1.0" encoding="utf-8"?>
<p:tagLst xmlns:p="http://schemas.openxmlformats.org/presentationml/2006/main">
  <p:tag name="THINKCELLSHAPEDONOTDELETE" val="p_It4uUYxykG93TPnvOhVAQ"/>
</p:tagLst>
</file>

<file path=ppt/tags/tag64.xml><?xml version="1.0" encoding="utf-8"?>
<p:tagLst xmlns:p="http://schemas.openxmlformats.org/presentationml/2006/main">
  <p:tag name="THINKCELLSHAPEDONOTDELETE" val="pcl5Ad6Tj4UmEGsC7ey5XNA"/>
</p:tagLst>
</file>

<file path=ppt/tags/tag65.xml><?xml version="1.0" encoding="utf-8"?>
<p:tagLst xmlns:p="http://schemas.openxmlformats.org/presentationml/2006/main">
  <p:tag name="THINKCELLSHAPEDONOTDELETE" val="pCSrauf6zWEOZkivi.AbEOQ"/>
</p:tagLst>
</file>

<file path=ppt/tags/tag66.xml><?xml version="1.0" encoding="utf-8"?>
<p:tagLst xmlns:p="http://schemas.openxmlformats.org/presentationml/2006/main">
  <p:tag name="THINKCELLSHAPEDONOTDELETE" val="pLdZ199RvkEqxpMsdmF8W4A"/>
</p:tagLst>
</file>

<file path=ppt/tags/tag67.xml><?xml version="1.0" encoding="utf-8"?>
<p:tagLst xmlns:p="http://schemas.openxmlformats.org/presentationml/2006/main">
  <p:tag name="THINKCELLSHAPEDONOTDELETE" val="p_2r1P0_SBUG56AbF413TjQ"/>
</p:tagLst>
</file>

<file path=ppt/tags/tag68.xml><?xml version="1.0" encoding="utf-8"?>
<p:tagLst xmlns:p="http://schemas.openxmlformats.org/presentationml/2006/main">
  <p:tag name="THINKCELLSHAPEDONOTDELETE" val="ptcNgAJB7NEyhMJOofJY7Iw"/>
</p:tagLst>
</file>

<file path=ppt/tags/tag69.xml><?xml version="1.0" encoding="utf-8"?>
<p:tagLst xmlns:p="http://schemas.openxmlformats.org/presentationml/2006/main">
  <p:tag name="THINKCELLSHAPEDONOTDELETE" val="pblioXeJRvEG.nJK3Zmg72w"/>
</p:tagLst>
</file>

<file path=ppt/tags/tag7.xml><?xml version="1.0" encoding="utf-8"?>
<p:tagLst xmlns:p="http://schemas.openxmlformats.org/presentationml/2006/main">
  <p:tag name="THINKCELLSHAPEDONOTDELETE" val="ta0IGtv3VRZu0kWzFwo6xlQ"/>
</p:tagLst>
</file>

<file path=ppt/tags/tag70.xml><?xml version="1.0" encoding="utf-8"?>
<p:tagLst xmlns:p="http://schemas.openxmlformats.org/presentationml/2006/main">
  <p:tag name="EE4P_TEMPLATESTYLE" val="5"/>
</p:tagLst>
</file>

<file path=ppt/tags/tag71.xml><?xml version="1.0" encoding="utf-8"?>
<p:tagLst xmlns:p="http://schemas.openxmlformats.org/presentationml/2006/main">
  <p:tag name="EE4P_TEMPLATESTYLE" val="5"/>
</p:tagLst>
</file>

<file path=ppt/tags/tag72.xml><?xml version="1.0" encoding="utf-8"?>
<p:tagLst xmlns:p="http://schemas.openxmlformats.org/presentationml/2006/main">
  <p:tag name="THINKCELLSHAPEDONOTDELETE" val="pUqJnK0Bc_U6.7Qoh_qFhvQ"/>
</p:tagLst>
</file>

<file path=ppt/tags/tag73.xml><?xml version="1.0" encoding="utf-8"?>
<p:tagLst xmlns:p="http://schemas.openxmlformats.org/presentationml/2006/main">
  <p:tag name="THINKCELLSHAPEDONOTDELETE" val="pUqJnK0Bc_U6.7Qoh_qFhvQ"/>
</p:tagLst>
</file>

<file path=ppt/tags/tag74.xml><?xml version="1.0" encoding="utf-8"?>
<p:tagLst xmlns:p="http://schemas.openxmlformats.org/presentationml/2006/main">
  <p:tag name="THINKCELLSHAPEDONOTDELETE" val="pUqJnK0Bc_U6.7Qoh_qFhvQ"/>
</p:tagLst>
</file>

<file path=ppt/tags/tag75.xml><?xml version="1.0" encoding="utf-8"?>
<p:tagLst xmlns:p="http://schemas.openxmlformats.org/presentationml/2006/main">
  <p:tag name="THINKCELLSHAPEDONOTDELETE" val="pUqJnK0Bc_U6.7Qoh_qFhvQ"/>
</p:tagLst>
</file>

<file path=ppt/tags/tag76.xml><?xml version="1.0" encoding="utf-8"?>
<p:tagLst xmlns:p="http://schemas.openxmlformats.org/presentationml/2006/main">
  <p:tag name="THINKCELLSHAPEDONOTDELETE" val="pUqJnK0Bc_U6.7Qoh_qFhvQ"/>
</p:tagLst>
</file>

<file path=ppt/tags/tag8.xml><?xml version="1.0" encoding="utf-8"?>
<p:tagLst xmlns:p="http://schemas.openxmlformats.org/presentationml/2006/main">
  <p:tag name="THINKCELLSHAPEDONOTDELETE" val="tt5mAFQwNQZquYF.61uLvNg"/>
</p:tagLst>
</file>

<file path=ppt/tags/tag9.xml><?xml version="1.0" encoding="utf-8"?>
<p:tagLst xmlns:p="http://schemas.openxmlformats.org/presentationml/2006/main">
  <p:tag name="THINKCELLSHAPEDONOTDELETE" val="tCLSqS8UUQGKuY8OkNj49hg"/>
</p:tagLst>
</file>

<file path=ppt/theme/theme1.xml><?xml version="1.0" encoding="utf-8"?>
<a:theme xmlns:a="http://schemas.openxmlformats.org/drawingml/2006/main" name="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lsevier">
  <a:themeElements>
    <a:clrScheme name="Custom 1">
      <a:dk1>
        <a:srgbClr val="FF8200"/>
      </a:dk1>
      <a:lt1>
        <a:sysClr val="window" lastClr="FFFFFF"/>
      </a:lt1>
      <a:dk2>
        <a:srgbClr val="53565A"/>
      </a:dk2>
      <a:lt2>
        <a:srgbClr val="FFFFFF"/>
      </a:lt2>
      <a:accent1>
        <a:srgbClr val="007398"/>
      </a:accent1>
      <a:accent2>
        <a:srgbClr val="A7A8AA"/>
      </a:accent2>
      <a:accent3>
        <a:srgbClr val="EAAA00"/>
      </a:accent3>
      <a:accent4>
        <a:srgbClr val="00966C"/>
      </a:accent4>
      <a:accent5>
        <a:srgbClr val="CBC793"/>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100" dirty="0" err="1" smtClean="0">
            <a:solidFill>
              <a:schemeClr val="tx2"/>
            </a:solidFill>
            <a:latin typeface="Arial" panose="020B0604020202020204" pitchFamily="34" charset="0"/>
            <a:cs typeface="Arial" panose="020B0604020202020204" pitchFamily="34" charset="0"/>
          </a:defRPr>
        </a:defPPr>
      </a:lstStyle>
    </a:tx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Elsevier Content Slides">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5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8_Custom Design">
  <a:themeElements>
    <a:clrScheme name="Elsevier">
      <a:dk1>
        <a:srgbClr val="53565A"/>
      </a:dk1>
      <a:lt1>
        <a:sysClr val="window" lastClr="FFFFFF"/>
      </a:lt1>
      <a:dk2>
        <a:srgbClr val="FF8200"/>
      </a:dk2>
      <a:lt2>
        <a:srgbClr val="FFFFFF"/>
      </a:lt2>
      <a:accent1>
        <a:srgbClr val="007398"/>
      </a:accent1>
      <a:accent2>
        <a:srgbClr val="53565A"/>
      </a:accent2>
      <a:accent3>
        <a:srgbClr val="53565A"/>
      </a:accent3>
      <a:accent4>
        <a:srgbClr val="53565A"/>
      </a:accent4>
      <a:accent5>
        <a:srgbClr val="53565A"/>
      </a:accent5>
      <a:accent6>
        <a:srgbClr val="53565A"/>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Elsevier Master Brand">
    <a:dk1>
      <a:srgbClr val="53565A"/>
    </a:dk1>
    <a:lt1>
      <a:srgbClr val="FFFFFF"/>
    </a:lt1>
    <a:dk2>
      <a:srgbClr val="FF8200"/>
    </a:dk2>
    <a:lt2>
      <a:srgbClr val="A7A8AA"/>
    </a:lt2>
    <a:accent1>
      <a:srgbClr val="FF8200"/>
    </a:accent1>
    <a:accent2>
      <a:srgbClr val="53565A"/>
    </a:accent2>
    <a:accent3>
      <a:srgbClr val="A7A8AA"/>
    </a:accent3>
    <a:accent4>
      <a:srgbClr val="007398"/>
    </a:accent4>
    <a:accent5>
      <a:srgbClr val="FFFFFF"/>
    </a:accent5>
    <a:accent6>
      <a:srgbClr val="EAAA00"/>
    </a:accent6>
    <a:hlink>
      <a:srgbClr val="FFFFFF"/>
    </a:hlink>
    <a:folHlink>
      <a:srgbClr val="FFFFFF"/>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13131</Words>
  <Application>WPS 演示</Application>
  <PresentationFormat>On-screen Show (4:3)</PresentationFormat>
  <Paragraphs>1314</Paragraphs>
  <Slides>88</Slides>
  <Notes>32</Notes>
  <HiddenSlides>0</HiddenSlides>
  <MMClips>0</MMClips>
  <ScaleCrop>false</ScaleCrop>
  <HeadingPairs>
    <vt:vector size="8" baseType="variant">
      <vt:variant>
        <vt:lpstr>已用的字体</vt:lpstr>
      </vt:variant>
      <vt:variant>
        <vt:i4>29</vt:i4>
      </vt:variant>
      <vt:variant>
        <vt:lpstr>主题</vt:lpstr>
      </vt:variant>
      <vt:variant>
        <vt:i4>7</vt:i4>
      </vt:variant>
      <vt:variant>
        <vt:lpstr>嵌入 OLE 服务器</vt:lpstr>
      </vt:variant>
      <vt:variant>
        <vt:i4>1</vt:i4>
      </vt:variant>
      <vt:variant>
        <vt:lpstr>幻灯片标题</vt:lpstr>
      </vt:variant>
      <vt:variant>
        <vt:i4>88</vt:i4>
      </vt:variant>
    </vt:vector>
  </HeadingPairs>
  <TitlesOfParts>
    <vt:vector size="125" baseType="lpstr">
      <vt:lpstr>Arial</vt:lpstr>
      <vt:lpstr>宋体</vt:lpstr>
      <vt:lpstr>Wingdings</vt:lpstr>
      <vt:lpstr>Arial Bold</vt:lpstr>
      <vt:lpstr>Arial</vt:lpstr>
      <vt:lpstr>Lucida Grande</vt:lpstr>
      <vt:lpstr>Lucida Sans Unicode</vt:lpstr>
      <vt:lpstr>Verdana</vt:lpstr>
      <vt:lpstr>Courier New</vt:lpstr>
      <vt:lpstr>Courier New</vt:lpstr>
      <vt:lpstr>Calibri</vt:lpstr>
      <vt:lpstr>Microsoft YaHei UI</vt:lpstr>
      <vt:lpstr>Arial Bold</vt:lpstr>
      <vt:lpstr>黑体</vt:lpstr>
      <vt:lpstr>微软雅黑</vt:lpstr>
      <vt:lpstr>Arial Unicode MS</vt:lpstr>
      <vt:lpstr>方正兰亭特黑简体</vt:lpstr>
      <vt:lpstr>ヒラギノ角ゴ Pro W3</vt:lpstr>
      <vt:lpstr>Roboto Condensed Bold Italic</vt:lpstr>
      <vt:lpstr>Helvetica</vt:lpstr>
      <vt:lpstr>Times New Roman</vt:lpstr>
      <vt:lpstr>Georgia</vt:lpstr>
      <vt:lpstr>Microsoft JhengHei</vt:lpstr>
      <vt:lpstr>Calibri</vt:lpstr>
      <vt:lpstr>Nexus</vt:lpstr>
      <vt:lpstr>LucidaGrande</vt:lpstr>
      <vt:lpstr>MS Mincho</vt:lpstr>
      <vt:lpstr>Roboto</vt:lpstr>
      <vt:lpstr>Segoe Print</vt:lpstr>
      <vt:lpstr>Custom Design</vt:lpstr>
      <vt:lpstr>Elsevier</vt:lpstr>
      <vt:lpstr>1_Custom Design</vt:lpstr>
      <vt:lpstr>Elsevier Content Slides</vt:lpstr>
      <vt:lpstr>2_Custom Design</vt:lpstr>
      <vt:lpstr>5_Custom Design</vt:lpstr>
      <vt:lpstr>8_Custom Design</vt:lpstr>
      <vt:lpstr>Visio.Drawing.11</vt:lpstr>
      <vt:lpstr>通过ScienceDirect建立高效的文献阅读习惯</vt:lpstr>
      <vt:lpstr>The Value of  ScienceDirect</vt:lpstr>
      <vt:lpstr>The Value of  ScienceDirect</vt:lpstr>
      <vt:lpstr>Elsevier的历史与传承</vt:lpstr>
      <vt:lpstr>Unbiased, comprehensive journal coverage with titles from many reputable scholarly publishers</vt:lpstr>
      <vt:lpstr>动态增长的高质量期刊内容</vt:lpstr>
      <vt:lpstr>爱思唯尔拥有世界最好的期刊</vt:lpstr>
      <vt:lpstr>爱思唯尔拥有最具影响力的作者</vt:lpstr>
      <vt:lpstr>PowerPoint 演示文稿</vt:lpstr>
      <vt:lpstr>PowerPoint 演示文稿</vt:lpstr>
      <vt:lpstr>The Value of ScienceDirect</vt:lpstr>
      <vt:lpstr>科学研究流程——阅读文献贯穿始终</vt:lpstr>
      <vt:lpstr>文献类型、特点与使用目的</vt:lpstr>
      <vt:lpstr>文献阅读贯穿科研流程始终</vt:lpstr>
      <vt:lpstr>在各个学科领域使用Elsevier回溯期刊的情况</vt:lpstr>
      <vt:lpstr>电子书和期刊交叉使用</vt:lpstr>
      <vt:lpstr>电子书和期刊交叉使用</vt:lpstr>
      <vt:lpstr>The Value of ScienceDirect</vt:lpstr>
      <vt:lpstr>PowerPoint 演示文稿</vt:lpstr>
      <vt:lpstr>PowerPoint 演示文稿</vt:lpstr>
      <vt:lpstr>全学科全文数据库 ScienceDirect</vt:lpstr>
      <vt:lpstr>ScienceDirect 促进全球研究</vt:lpstr>
      <vt:lpstr>PowerPoint 演示文稿</vt:lpstr>
      <vt:lpstr>PowerPoint 演示文稿</vt:lpstr>
      <vt:lpstr>PowerPoint 演示文稿</vt:lpstr>
      <vt:lpstr>检索结果列表——特定主体</vt:lpstr>
      <vt:lpstr>PowerPoint 演示文稿</vt:lpstr>
      <vt:lpstr>PowerPoint 演示文稿</vt:lpstr>
      <vt:lpstr>PowerPoint 演示文稿</vt:lpstr>
      <vt:lpstr>PowerPoint 演示文稿</vt:lpstr>
      <vt:lpstr>PowerPoint 演示文稿</vt:lpstr>
      <vt:lpstr>…SD 经典高级搜索使用效率</vt:lpstr>
      <vt:lpstr>PowerPoint 演示文稿</vt:lpstr>
      <vt:lpstr>The Value of ScienceDirect</vt:lpstr>
      <vt:lpstr>PowerPoint 演示文稿</vt:lpstr>
      <vt:lpstr>PowerPoint 演示文稿</vt:lpstr>
      <vt:lpstr>PowerPoint 演示文稿</vt:lpstr>
      <vt:lpstr>PowerPoint 演示文稿</vt:lpstr>
      <vt:lpstr>PowerPoint 演示文稿</vt:lpstr>
      <vt:lpstr>或在Mendeley中进行文献的阅读和管理</vt:lpstr>
      <vt:lpstr>Mendeley中进行文献阅读，标注和评论。以及查看文献的书目信息</vt:lpstr>
      <vt:lpstr>将文献通过Mendeley引用至您的手稿中</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 打开SD主页，用自己的用户名密码登录后，下方Activate remote access按钮</vt:lpstr>
      <vt:lpstr>进入到Submit Your Email界面输入所属单位邮箱并点Continue</vt:lpstr>
      <vt:lpstr>成功发送confirmation email到输入的邮箱</vt:lpstr>
      <vt:lpstr>到邮箱里点击Activate my remote access now激活Remote Access</vt:lpstr>
      <vt:lpstr>Remote Access成功设置</vt:lpstr>
      <vt:lpstr>PowerPoint 演示文稿</vt:lpstr>
      <vt:lpstr>PowerPoint 演示文稿</vt:lpstr>
      <vt:lpstr>PowerPoint 演示文稿</vt:lpstr>
      <vt:lpstr>现代研究人员对科研工具的依赖性不断增加</vt:lpstr>
      <vt:lpstr>PowerPoint 演示文稿</vt:lpstr>
      <vt:lpstr>PowerPoint 演示文稿</vt:lpstr>
      <vt:lpstr>PowerPoint 演示文稿</vt:lpstr>
      <vt:lpstr>PowerPoint 演示文稿</vt:lpstr>
      <vt:lpstr>PowerPoint 演示文稿</vt:lpstr>
      <vt:lpstr>PowerPoint 演示文稿</vt:lpstr>
      <vt:lpstr>ScienceDirect创新功能 Giving access to the detail </vt:lpstr>
      <vt:lpstr>全文界面：互动3D模型</vt:lpstr>
      <vt:lpstr>PowerPoint 演示文稿</vt:lpstr>
      <vt:lpstr>全文界面：互动坐标图</vt:lpstr>
      <vt:lpstr>最新出版趋势– Audio/Video</vt:lpstr>
      <vt:lpstr>研究人员通过SD创新功能将自己的研究成果发布在社交平台上 </vt:lpstr>
      <vt:lpstr>The Value of ScienceDirect</vt:lpstr>
      <vt:lpstr>Elsevier 开展GOA（金色开放获取）计划</vt:lpstr>
      <vt:lpstr>GOA 文章</vt:lpstr>
      <vt:lpstr>ScienceDirect 确保来自世界的研究成果被世界可见</vt:lpstr>
      <vt:lpstr>ScienceDirect 确保世界研究可见</vt:lpstr>
      <vt:lpstr>The Value of ScienceDirect</vt:lpstr>
      <vt:lpstr>高效能的论文写作注意以下事项</vt:lpstr>
      <vt:lpstr>   a.寻找合适的期刊</vt:lpstr>
      <vt:lpstr>文章撰写与投稿的实用工具</vt:lpstr>
      <vt:lpstr>   b.准备论文</vt:lpstr>
      <vt:lpstr>   c.提交论文</vt:lpstr>
      <vt:lpstr>   d.检查状态</vt:lpstr>
      <vt:lpstr>  Communication with Editor and Reviewers</vt:lpstr>
      <vt:lpstr>      Cover Letter</vt:lpstr>
      <vt:lpstr>  注意事项</vt:lpstr>
      <vt:lpstr>  CrossCheck</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tt McT</dc:creator>
  <cp:lastModifiedBy>Administrator</cp:lastModifiedBy>
  <cp:revision>921</cp:revision>
  <cp:lastPrinted>2017-09-24T11:02:00Z</cp:lastPrinted>
  <dcterms:created xsi:type="dcterms:W3CDTF">2014-03-28T20:29:00Z</dcterms:created>
  <dcterms:modified xsi:type="dcterms:W3CDTF">2017-10-26T01:16: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7815DCDC76E5A47A176FB52CE6ED02E</vt:lpwstr>
  </property>
  <property fmtid="{D5CDD505-2E9C-101B-9397-08002B2CF9AE}" pid="3" name="KSOProductBuildVer">
    <vt:lpwstr>2052-10.1.0.6875</vt:lpwstr>
  </property>
</Properties>
</file>